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ags/tag1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heme/theme2.xml" ContentType="application/vnd.openxmlformats-officedocument.theme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theme/theme3.xml" ContentType="application/vnd.openxmlformats-officedocument.theme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heme/theme4.xml" ContentType="application/vnd.openxmlformats-officedocument.theme+xml"/>
  <Override PartName="/ppt/slideLayouts/slideLayout242.xml" ContentType="application/vnd.openxmlformats-officedocument.presentationml.slideLayout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theme/theme5.xml" ContentType="application/vnd.openxmlformats-officedocument.theme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theme/theme6.xml" ContentType="application/vnd.openxmlformats-officedocument.theme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slideLayouts/slideLayout378.xml" ContentType="application/vnd.openxmlformats-officedocument.presentationml.slideLayout+xml"/>
  <Override PartName="/ppt/slideLayouts/slideLayout379.xml" ContentType="application/vnd.openxmlformats-officedocument.presentationml.slideLayout+xml"/>
  <Override PartName="/ppt/slideLayouts/slideLayout380.xml" ContentType="application/vnd.openxmlformats-officedocument.presentationml.slideLayout+xml"/>
  <Override PartName="/ppt/slideLayouts/slideLayout381.xml" ContentType="application/vnd.openxmlformats-officedocument.presentationml.slideLayout+xml"/>
  <Override PartName="/ppt/slideLayouts/slideLayout382.xml" ContentType="application/vnd.openxmlformats-officedocument.presentationml.slideLayout+xml"/>
  <Override PartName="/ppt/slideLayouts/slideLayout383.xml" ContentType="application/vnd.openxmlformats-officedocument.presentationml.slideLayout+xml"/>
  <Override PartName="/ppt/slideLayouts/slideLayout384.xml" ContentType="application/vnd.openxmlformats-officedocument.presentationml.slideLayout+xml"/>
  <Override PartName="/ppt/slideLayouts/slideLayout385.xml" ContentType="application/vnd.openxmlformats-officedocument.presentationml.slideLayout+xml"/>
  <Override PartName="/ppt/slideLayouts/slideLayout386.xml" ContentType="application/vnd.openxmlformats-officedocument.presentationml.slideLayout+xml"/>
  <Override PartName="/ppt/slideLayouts/slideLayout387.xml" ContentType="application/vnd.openxmlformats-officedocument.presentationml.slideLayout+xml"/>
  <Override PartName="/ppt/slideLayouts/slideLayout388.xml" ContentType="application/vnd.openxmlformats-officedocument.presentationml.slideLayout+xml"/>
  <Override PartName="/ppt/slideLayouts/slideLayout389.xml" ContentType="application/vnd.openxmlformats-officedocument.presentationml.slideLayout+xml"/>
  <Override PartName="/ppt/slideLayouts/slideLayout390.xml" ContentType="application/vnd.openxmlformats-officedocument.presentationml.slideLayout+xml"/>
  <Override PartName="/ppt/slideLayouts/slideLayout391.xml" ContentType="application/vnd.openxmlformats-officedocument.presentationml.slideLayout+xml"/>
  <Override PartName="/ppt/slideLayouts/slideLayout392.xml" ContentType="application/vnd.openxmlformats-officedocument.presentationml.slideLayout+xml"/>
  <Override PartName="/ppt/slideLayouts/slideLayout393.xml" ContentType="application/vnd.openxmlformats-officedocument.presentationml.slideLayout+xml"/>
  <Override PartName="/ppt/slideLayouts/slideLayout394.xml" ContentType="application/vnd.openxmlformats-officedocument.presentationml.slideLayout+xml"/>
  <Override PartName="/ppt/slideLayouts/slideLayout395.xml" ContentType="application/vnd.openxmlformats-officedocument.presentationml.slideLayout+xml"/>
  <Override PartName="/ppt/slideLayouts/slideLayout396.xml" ContentType="application/vnd.openxmlformats-officedocument.presentationml.slideLayout+xml"/>
  <Override PartName="/ppt/theme/theme7.xml" ContentType="application/vnd.openxmlformats-officedocument.theme+xml"/>
  <Override PartName="/ppt/slideLayouts/slideLayout397.xml" ContentType="application/vnd.openxmlformats-officedocument.presentationml.slideLayout+xml"/>
  <Override PartName="/ppt/slideLayouts/slideLayout398.xml" ContentType="application/vnd.openxmlformats-officedocument.presentationml.slideLayout+xml"/>
  <Override PartName="/ppt/slideLayouts/slideLayout399.xml" ContentType="application/vnd.openxmlformats-officedocument.presentationml.slideLayout+xml"/>
  <Override PartName="/ppt/slideLayouts/slideLayout400.xml" ContentType="application/vnd.openxmlformats-officedocument.presentationml.slideLayout+xml"/>
  <Override PartName="/ppt/slideLayouts/slideLayout401.xml" ContentType="application/vnd.openxmlformats-officedocument.presentationml.slideLayout+xml"/>
  <Override PartName="/ppt/slideLayouts/slideLayout402.xml" ContentType="application/vnd.openxmlformats-officedocument.presentationml.slideLayout+xml"/>
  <Override PartName="/ppt/slideLayouts/slideLayout403.xml" ContentType="application/vnd.openxmlformats-officedocument.presentationml.slideLayout+xml"/>
  <Override PartName="/ppt/slideLayouts/slideLayout404.xml" ContentType="application/vnd.openxmlformats-officedocument.presentationml.slideLayout+xml"/>
  <Override PartName="/ppt/slideLayouts/slideLayout405.xml" ContentType="application/vnd.openxmlformats-officedocument.presentationml.slideLayout+xml"/>
  <Override PartName="/ppt/slideLayouts/slideLayout406.xml" ContentType="application/vnd.openxmlformats-officedocument.presentationml.slideLayout+xml"/>
  <Override PartName="/ppt/slideLayouts/slideLayout407.xml" ContentType="application/vnd.openxmlformats-officedocument.presentationml.slideLayout+xml"/>
  <Override PartName="/ppt/slideLayouts/slideLayout408.xml" ContentType="application/vnd.openxmlformats-officedocument.presentationml.slideLayout+xml"/>
  <Override PartName="/ppt/slideLayouts/slideLayout409.xml" ContentType="application/vnd.openxmlformats-officedocument.presentationml.slideLayout+xml"/>
  <Override PartName="/ppt/slideLayouts/slideLayout410.xml" ContentType="application/vnd.openxmlformats-officedocument.presentationml.slideLayout+xml"/>
  <Override PartName="/ppt/slideLayouts/slideLayout411.xml" ContentType="application/vnd.openxmlformats-officedocument.presentationml.slideLayout+xml"/>
  <Override PartName="/ppt/slideLayouts/slideLayout412.xml" ContentType="application/vnd.openxmlformats-officedocument.presentationml.slideLayout+xml"/>
  <Override PartName="/ppt/slideLayouts/slideLayout413.xml" ContentType="application/vnd.openxmlformats-officedocument.presentationml.slideLayout+xml"/>
  <Override PartName="/ppt/slideLayouts/slideLayout414.xml" ContentType="application/vnd.openxmlformats-officedocument.presentationml.slideLayout+xml"/>
  <Override PartName="/ppt/slideLayouts/slideLayout415.xml" ContentType="application/vnd.openxmlformats-officedocument.presentationml.slideLayout+xml"/>
  <Override PartName="/ppt/slideLayouts/slideLayout416.xml" ContentType="application/vnd.openxmlformats-officedocument.presentationml.slideLayout+xml"/>
  <Override PartName="/ppt/slideLayouts/slideLayout417.xml" ContentType="application/vnd.openxmlformats-officedocument.presentationml.slideLayout+xml"/>
  <Override PartName="/ppt/slideLayouts/slideLayout418.xml" ContentType="application/vnd.openxmlformats-officedocument.presentationml.slideLayout+xml"/>
  <Override PartName="/ppt/slideLayouts/slideLayout419.xml" ContentType="application/vnd.openxmlformats-officedocument.presentationml.slideLayout+xml"/>
  <Override PartName="/ppt/slideLayouts/slideLayout420.xml" ContentType="application/vnd.openxmlformats-officedocument.presentationml.slideLayout+xml"/>
  <Override PartName="/ppt/slideLayouts/slideLayout421.xml" ContentType="application/vnd.openxmlformats-officedocument.presentationml.slideLayout+xml"/>
  <Override PartName="/ppt/slideLayouts/slideLayout422.xml" ContentType="application/vnd.openxmlformats-officedocument.presentationml.slideLayout+xml"/>
  <Override PartName="/ppt/slideLayouts/slideLayout423.xml" ContentType="application/vnd.openxmlformats-officedocument.presentationml.slideLayout+xml"/>
  <Override PartName="/ppt/slideLayouts/slideLayout424.xml" ContentType="application/vnd.openxmlformats-officedocument.presentationml.slideLayout+xml"/>
  <Override PartName="/ppt/slideLayouts/slideLayout425.xml" ContentType="application/vnd.openxmlformats-officedocument.presentationml.slideLayout+xml"/>
  <Override PartName="/ppt/slideLayouts/slideLayout426.xml" ContentType="application/vnd.openxmlformats-officedocument.presentationml.slideLayout+xml"/>
  <Override PartName="/ppt/slideLayouts/slideLayout427.xml" ContentType="application/vnd.openxmlformats-officedocument.presentationml.slideLayout+xml"/>
  <Override PartName="/ppt/slideLayouts/slideLayout428.xml" ContentType="application/vnd.openxmlformats-officedocument.presentationml.slideLayout+xml"/>
  <Override PartName="/ppt/slideLayouts/slideLayout429.xml" ContentType="application/vnd.openxmlformats-officedocument.presentationml.slideLayout+xml"/>
  <Override PartName="/ppt/slideLayouts/slideLayout430.xml" ContentType="application/vnd.openxmlformats-officedocument.presentationml.slideLayout+xml"/>
  <Override PartName="/ppt/slideLayouts/slideLayout431.xml" ContentType="application/vnd.openxmlformats-officedocument.presentationml.slideLayout+xml"/>
  <Override PartName="/ppt/slideLayouts/slideLayout432.xml" ContentType="application/vnd.openxmlformats-officedocument.presentationml.slideLayout+xml"/>
  <Override PartName="/ppt/slideLayouts/slideLayout433.xml" ContentType="application/vnd.openxmlformats-officedocument.presentationml.slideLayout+xml"/>
  <Override PartName="/ppt/slideLayouts/slideLayout434.xml" ContentType="application/vnd.openxmlformats-officedocument.presentationml.slideLayout+xml"/>
  <Override PartName="/ppt/slideLayouts/slideLayout435.xml" ContentType="application/vnd.openxmlformats-officedocument.presentationml.slideLayout+xml"/>
  <Override PartName="/ppt/slideLayouts/slideLayout436.xml" ContentType="application/vnd.openxmlformats-officedocument.presentationml.slideLayout+xml"/>
  <Override PartName="/ppt/slideLayouts/slideLayout437.xml" ContentType="application/vnd.openxmlformats-officedocument.presentationml.slideLayout+xml"/>
  <Override PartName="/ppt/slideLayouts/slideLayout438.xml" ContentType="application/vnd.openxmlformats-officedocument.presentationml.slideLayout+xml"/>
  <Override PartName="/ppt/slideLayouts/slideLayout439.xml" ContentType="application/vnd.openxmlformats-officedocument.presentationml.slideLayout+xml"/>
  <Override PartName="/ppt/slideLayouts/slideLayout440.xml" ContentType="application/vnd.openxmlformats-officedocument.presentationml.slideLayout+xml"/>
  <Override PartName="/ppt/slideLayouts/slideLayout441.xml" ContentType="application/vnd.openxmlformats-officedocument.presentationml.slideLayout+xml"/>
  <Override PartName="/ppt/slideLayouts/slideLayout442.xml" ContentType="application/vnd.openxmlformats-officedocument.presentationml.slideLayout+xml"/>
  <Override PartName="/ppt/slideLayouts/slideLayout443.xml" ContentType="application/vnd.openxmlformats-officedocument.presentationml.slideLayout+xml"/>
  <Override PartName="/ppt/slideLayouts/slideLayout444.xml" ContentType="application/vnd.openxmlformats-officedocument.presentationml.slideLayout+xml"/>
  <Override PartName="/ppt/slideLayouts/slideLayout445.xml" ContentType="application/vnd.openxmlformats-officedocument.presentationml.slideLayout+xml"/>
  <Override PartName="/ppt/slideLayouts/slideLayout446.xml" ContentType="application/vnd.openxmlformats-officedocument.presentationml.slideLayout+xml"/>
  <Override PartName="/ppt/slideLayouts/slideLayout447.xml" ContentType="application/vnd.openxmlformats-officedocument.presentationml.slideLayout+xml"/>
  <Override PartName="/ppt/slideLayouts/slideLayout448.xml" ContentType="application/vnd.openxmlformats-officedocument.presentationml.slideLayout+xml"/>
  <Override PartName="/ppt/slideLayouts/slideLayout449.xml" ContentType="application/vnd.openxmlformats-officedocument.presentationml.slideLayout+xml"/>
  <Override PartName="/ppt/slideLayouts/slideLayout450.xml" ContentType="application/vnd.openxmlformats-officedocument.presentationml.slideLayout+xml"/>
  <Override PartName="/ppt/theme/theme8.xml" ContentType="application/vnd.openxmlformats-officedocument.theme+xml"/>
  <Override PartName="/ppt/slideLayouts/slideLayout451.xml" ContentType="application/vnd.openxmlformats-officedocument.presentationml.slideLayout+xml"/>
  <Override PartName="/ppt/slideLayouts/slideLayout452.xml" ContentType="application/vnd.openxmlformats-officedocument.presentationml.slideLayout+xml"/>
  <Override PartName="/ppt/slideLayouts/slideLayout453.xml" ContentType="application/vnd.openxmlformats-officedocument.presentationml.slideLayout+xml"/>
  <Override PartName="/ppt/slideLayouts/slideLayout454.xml" ContentType="application/vnd.openxmlformats-officedocument.presentationml.slideLayout+xml"/>
  <Override PartName="/ppt/slideLayouts/slideLayout455.xml" ContentType="application/vnd.openxmlformats-officedocument.presentationml.slideLayout+xml"/>
  <Override PartName="/ppt/slideLayouts/slideLayout456.xml" ContentType="application/vnd.openxmlformats-officedocument.presentationml.slideLayout+xml"/>
  <Override PartName="/ppt/slideLayouts/slideLayout457.xml" ContentType="application/vnd.openxmlformats-officedocument.presentationml.slideLayout+xml"/>
  <Override PartName="/ppt/slideLayouts/slideLayout458.xml" ContentType="application/vnd.openxmlformats-officedocument.presentationml.slideLayout+xml"/>
  <Override PartName="/ppt/slideLayouts/slideLayout459.xml" ContentType="application/vnd.openxmlformats-officedocument.presentationml.slideLayout+xml"/>
  <Override PartName="/ppt/slideLayouts/slideLayout460.xml" ContentType="application/vnd.openxmlformats-officedocument.presentationml.slideLayout+xml"/>
  <Override PartName="/ppt/slideLayouts/slideLayout461.xml" ContentType="application/vnd.openxmlformats-officedocument.presentationml.slideLayout+xml"/>
  <Override PartName="/ppt/slideLayouts/slideLayout462.xml" ContentType="application/vnd.openxmlformats-officedocument.presentationml.slideLayout+xml"/>
  <Override PartName="/ppt/slideLayouts/slideLayout463.xml" ContentType="application/vnd.openxmlformats-officedocument.presentationml.slideLayout+xml"/>
  <Override PartName="/ppt/slideLayouts/slideLayout464.xml" ContentType="application/vnd.openxmlformats-officedocument.presentationml.slideLayout+xml"/>
  <Override PartName="/ppt/slideLayouts/slideLayout465.xml" ContentType="application/vnd.openxmlformats-officedocument.presentationml.slideLayout+xml"/>
  <Override PartName="/ppt/slideLayouts/slideLayout466.xml" ContentType="application/vnd.openxmlformats-officedocument.presentationml.slideLayout+xml"/>
  <Override PartName="/ppt/slideLayouts/slideLayout467.xml" ContentType="application/vnd.openxmlformats-officedocument.presentationml.slideLayout+xml"/>
  <Override PartName="/ppt/slideLayouts/slideLayout468.xml" ContentType="application/vnd.openxmlformats-officedocument.presentationml.slideLayout+xml"/>
  <Override PartName="/ppt/slideLayouts/slideLayout469.xml" ContentType="application/vnd.openxmlformats-officedocument.presentationml.slideLayout+xml"/>
  <Override PartName="/ppt/slideLayouts/slideLayout470.xml" ContentType="application/vnd.openxmlformats-officedocument.presentationml.slideLayout+xml"/>
  <Override PartName="/ppt/slideLayouts/slideLayout471.xml" ContentType="application/vnd.openxmlformats-officedocument.presentationml.slideLayout+xml"/>
  <Override PartName="/ppt/slideLayouts/slideLayout472.xml" ContentType="application/vnd.openxmlformats-officedocument.presentationml.slideLayout+xml"/>
  <Override PartName="/ppt/slideLayouts/slideLayout473.xml" ContentType="application/vnd.openxmlformats-officedocument.presentationml.slideLayout+xml"/>
  <Override PartName="/ppt/slideLayouts/slideLayout474.xml" ContentType="application/vnd.openxmlformats-officedocument.presentationml.slideLayout+xml"/>
  <Override PartName="/ppt/slideLayouts/slideLayout475.xml" ContentType="application/vnd.openxmlformats-officedocument.presentationml.slideLayout+xml"/>
  <Override PartName="/ppt/slideLayouts/slideLayout476.xml" ContentType="application/vnd.openxmlformats-officedocument.presentationml.slideLayout+xml"/>
  <Override PartName="/ppt/slideLayouts/slideLayout477.xml" ContentType="application/vnd.openxmlformats-officedocument.presentationml.slideLayout+xml"/>
  <Override PartName="/ppt/slideLayouts/slideLayout478.xml" ContentType="application/vnd.openxmlformats-officedocument.presentationml.slideLayout+xml"/>
  <Override PartName="/ppt/slideLayouts/slideLayout479.xml" ContentType="application/vnd.openxmlformats-officedocument.presentationml.slideLayout+xml"/>
  <Override PartName="/ppt/slideLayouts/slideLayout480.xml" ContentType="application/vnd.openxmlformats-officedocument.presentationml.slideLayout+xml"/>
  <Override PartName="/ppt/slideLayouts/slideLayout481.xml" ContentType="application/vnd.openxmlformats-officedocument.presentationml.slideLayout+xml"/>
  <Override PartName="/ppt/slideLayouts/slideLayout482.xml" ContentType="application/vnd.openxmlformats-officedocument.presentationml.slideLayout+xml"/>
  <Override PartName="/ppt/slideLayouts/slideLayout483.xml" ContentType="application/vnd.openxmlformats-officedocument.presentationml.slideLayout+xml"/>
  <Override PartName="/ppt/slideLayouts/slideLayout484.xml" ContentType="application/vnd.openxmlformats-officedocument.presentationml.slideLayout+xml"/>
  <Override PartName="/ppt/slideLayouts/slideLayout485.xml" ContentType="application/vnd.openxmlformats-officedocument.presentationml.slideLayout+xml"/>
  <Override PartName="/ppt/slideLayouts/slideLayout486.xml" ContentType="application/vnd.openxmlformats-officedocument.presentationml.slideLayout+xml"/>
  <Override PartName="/ppt/slideLayouts/slideLayout487.xml" ContentType="application/vnd.openxmlformats-officedocument.presentationml.slideLayout+xml"/>
  <Override PartName="/ppt/slideLayouts/slideLayout488.xml" ContentType="application/vnd.openxmlformats-officedocument.presentationml.slideLayout+xml"/>
  <Override PartName="/ppt/slideLayouts/slideLayout489.xml" ContentType="application/vnd.openxmlformats-officedocument.presentationml.slideLayout+xml"/>
  <Override PartName="/ppt/slideLayouts/slideLayout490.xml" ContentType="application/vnd.openxmlformats-officedocument.presentationml.slideLayout+xml"/>
  <Override PartName="/ppt/slideLayouts/slideLayout491.xml" ContentType="application/vnd.openxmlformats-officedocument.presentationml.slideLayout+xml"/>
  <Override PartName="/ppt/slideLayouts/slideLayout492.xml" ContentType="application/vnd.openxmlformats-officedocument.presentationml.slideLayout+xml"/>
  <Override PartName="/ppt/slideLayouts/slideLayout493.xml" ContentType="application/vnd.openxmlformats-officedocument.presentationml.slideLayout+xml"/>
  <Override PartName="/ppt/slideLayouts/slideLayout494.xml" ContentType="application/vnd.openxmlformats-officedocument.presentationml.slideLayout+xml"/>
  <Override PartName="/ppt/slideLayouts/slideLayout495.xml" ContentType="application/vnd.openxmlformats-officedocument.presentationml.slideLayout+xml"/>
  <Override PartName="/ppt/slideLayouts/slideLayout496.xml" ContentType="application/vnd.openxmlformats-officedocument.presentationml.slideLayout+xml"/>
  <Override PartName="/ppt/slideLayouts/slideLayout497.xml" ContentType="application/vnd.openxmlformats-officedocument.presentationml.slideLayout+xml"/>
  <Override PartName="/ppt/slideLayouts/slideLayout498.xml" ContentType="application/vnd.openxmlformats-officedocument.presentationml.slideLayout+xml"/>
  <Override PartName="/ppt/slideLayouts/slideLayout499.xml" ContentType="application/vnd.openxmlformats-officedocument.presentationml.slideLayout+xml"/>
  <Override PartName="/ppt/slideLayouts/slideLayout500.xml" ContentType="application/vnd.openxmlformats-officedocument.presentationml.slideLayout+xml"/>
  <Override PartName="/ppt/slideLayouts/slideLayout501.xml" ContentType="application/vnd.openxmlformats-officedocument.presentationml.slideLayout+xml"/>
  <Override PartName="/ppt/slideLayouts/slideLayout502.xml" ContentType="application/vnd.openxmlformats-officedocument.presentationml.slideLayout+xml"/>
  <Override PartName="/ppt/slideLayouts/slideLayout503.xml" ContentType="application/vnd.openxmlformats-officedocument.presentationml.slideLayout+xml"/>
  <Override PartName="/ppt/theme/theme9.xml" ContentType="application/vnd.openxmlformats-officedocument.theme+xml"/>
  <Override PartName="/ppt/slideLayouts/slideLayout504.xml" ContentType="application/vnd.openxmlformats-officedocument.presentationml.slideLayout+xml"/>
  <Override PartName="/ppt/slideLayouts/slideLayout505.xml" ContentType="application/vnd.openxmlformats-officedocument.presentationml.slideLayout+xml"/>
  <Override PartName="/ppt/slideLayouts/slideLayout506.xml" ContentType="application/vnd.openxmlformats-officedocument.presentationml.slideLayout+xml"/>
  <Override PartName="/ppt/slideLayouts/slideLayout507.xml" ContentType="application/vnd.openxmlformats-officedocument.presentationml.slideLayout+xml"/>
  <Override PartName="/ppt/slideLayouts/slideLayout508.xml" ContentType="application/vnd.openxmlformats-officedocument.presentationml.slideLayout+xml"/>
  <Override PartName="/ppt/slideLayouts/slideLayout509.xml" ContentType="application/vnd.openxmlformats-officedocument.presentationml.slideLayout+xml"/>
  <Override PartName="/ppt/slideLayouts/slideLayout510.xml" ContentType="application/vnd.openxmlformats-officedocument.presentationml.slideLayout+xml"/>
  <Override PartName="/ppt/slideLayouts/slideLayout511.xml" ContentType="application/vnd.openxmlformats-officedocument.presentationml.slideLayout+xml"/>
  <Override PartName="/ppt/slideLayouts/slideLayout512.xml" ContentType="application/vnd.openxmlformats-officedocument.presentationml.slideLayout+xml"/>
  <Override PartName="/ppt/slideLayouts/slideLayout513.xml" ContentType="application/vnd.openxmlformats-officedocument.presentationml.slideLayout+xml"/>
  <Override PartName="/ppt/slideLayouts/slideLayout514.xml" ContentType="application/vnd.openxmlformats-officedocument.presentationml.slideLayout+xml"/>
  <Override PartName="/ppt/slideLayouts/slideLayout515.xml" ContentType="application/vnd.openxmlformats-officedocument.presentationml.slideLayout+xml"/>
  <Override PartName="/ppt/slideLayouts/slideLayout516.xml" ContentType="application/vnd.openxmlformats-officedocument.presentationml.slideLayout+xml"/>
  <Override PartName="/ppt/slideLayouts/slideLayout517.xml" ContentType="application/vnd.openxmlformats-officedocument.presentationml.slideLayout+xml"/>
  <Override PartName="/ppt/slideLayouts/slideLayout518.xml" ContentType="application/vnd.openxmlformats-officedocument.presentationml.slideLayout+xml"/>
  <Override PartName="/ppt/slideLayouts/slideLayout519.xml" ContentType="application/vnd.openxmlformats-officedocument.presentationml.slideLayout+xml"/>
  <Override PartName="/ppt/slideLayouts/slideLayout520.xml" ContentType="application/vnd.openxmlformats-officedocument.presentationml.slideLayout+xml"/>
  <Override PartName="/ppt/slideLayouts/slideLayout521.xml" ContentType="application/vnd.openxmlformats-officedocument.presentationml.slideLayout+xml"/>
  <Override PartName="/ppt/slideLayouts/slideLayout522.xml" ContentType="application/vnd.openxmlformats-officedocument.presentationml.slideLayout+xml"/>
  <Override PartName="/ppt/slideLayouts/slideLayout523.xml" ContentType="application/vnd.openxmlformats-officedocument.presentationml.slideLayout+xml"/>
  <Override PartName="/ppt/slideLayouts/slideLayout524.xml" ContentType="application/vnd.openxmlformats-officedocument.presentationml.slideLayout+xml"/>
  <Override PartName="/ppt/slideLayouts/slideLayout525.xml" ContentType="application/vnd.openxmlformats-officedocument.presentationml.slideLayout+xml"/>
  <Override PartName="/ppt/slideLayouts/slideLayout526.xml" ContentType="application/vnd.openxmlformats-officedocument.presentationml.slideLayout+xml"/>
  <Override PartName="/ppt/slideLayouts/slideLayout527.xml" ContentType="application/vnd.openxmlformats-officedocument.presentationml.slideLayout+xml"/>
  <Override PartName="/ppt/slideLayouts/slideLayout528.xml" ContentType="application/vnd.openxmlformats-officedocument.presentationml.slideLayout+xml"/>
  <Override PartName="/ppt/slideLayouts/slideLayout529.xml" ContentType="application/vnd.openxmlformats-officedocument.presentationml.slideLayout+xml"/>
  <Override PartName="/ppt/slideLayouts/slideLayout530.xml" ContentType="application/vnd.openxmlformats-officedocument.presentationml.slideLayout+xml"/>
  <Override PartName="/ppt/slideLayouts/slideLayout531.xml" ContentType="application/vnd.openxmlformats-officedocument.presentationml.slideLayout+xml"/>
  <Override PartName="/ppt/slideLayouts/slideLayout532.xml" ContentType="application/vnd.openxmlformats-officedocument.presentationml.slideLayout+xml"/>
  <Override PartName="/ppt/slideLayouts/slideLayout533.xml" ContentType="application/vnd.openxmlformats-officedocument.presentationml.slideLayout+xml"/>
  <Override PartName="/ppt/slideLayouts/slideLayout534.xml" ContentType="application/vnd.openxmlformats-officedocument.presentationml.slideLayout+xml"/>
  <Override PartName="/ppt/slideLayouts/slideLayout535.xml" ContentType="application/vnd.openxmlformats-officedocument.presentationml.slideLayout+xml"/>
  <Override PartName="/ppt/slideLayouts/slideLayout536.xml" ContentType="application/vnd.openxmlformats-officedocument.presentationml.slideLayout+xml"/>
  <Override PartName="/ppt/slideLayouts/slideLayout537.xml" ContentType="application/vnd.openxmlformats-officedocument.presentationml.slideLayout+xml"/>
  <Override PartName="/ppt/slideLayouts/slideLayout538.xml" ContentType="application/vnd.openxmlformats-officedocument.presentationml.slideLayout+xml"/>
  <Override PartName="/ppt/slideLayouts/slideLayout539.xml" ContentType="application/vnd.openxmlformats-officedocument.presentationml.slideLayout+xml"/>
  <Override PartName="/ppt/slideLayouts/slideLayout540.xml" ContentType="application/vnd.openxmlformats-officedocument.presentationml.slideLayout+xml"/>
  <Override PartName="/ppt/slideLayouts/slideLayout541.xml" ContentType="application/vnd.openxmlformats-officedocument.presentationml.slideLayout+xml"/>
  <Override PartName="/ppt/slideLayouts/slideLayout542.xml" ContentType="application/vnd.openxmlformats-officedocument.presentationml.slideLayout+xml"/>
  <Override PartName="/ppt/slideLayouts/slideLayout543.xml" ContentType="application/vnd.openxmlformats-officedocument.presentationml.slideLayout+xml"/>
  <Override PartName="/ppt/slideLayouts/slideLayout544.xml" ContentType="application/vnd.openxmlformats-officedocument.presentationml.slideLayout+xml"/>
  <Override PartName="/ppt/slideLayouts/slideLayout545.xml" ContentType="application/vnd.openxmlformats-officedocument.presentationml.slideLayout+xml"/>
  <Override PartName="/ppt/slideLayouts/slideLayout546.xml" ContentType="application/vnd.openxmlformats-officedocument.presentationml.slideLayout+xml"/>
  <Override PartName="/ppt/slideLayouts/slideLayout547.xml" ContentType="application/vnd.openxmlformats-officedocument.presentationml.slideLayout+xml"/>
  <Override PartName="/ppt/slideLayouts/slideLayout548.xml" ContentType="application/vnd.openxmlformats-officedocument.presentationml.slideLayout+xml"/>
  <Override PartName="/ppt/slideLayouts/slideLayout549.xml" ContentType="application/vnd.openxmlformats-officedocument.presentationml.slideLayout+xml"/>
  <Override PartName="/ppt/slideLayouts/slideLayout550.xml" ContentType="application/vnd.openxmlformats-officedocument.presentationml.slideLayout+xml"/>
  <Override PartName="/ppt/slideLayouts/slideLayout551.xml" ContentType="application/vnd.openxmlformats-officedocument.presentationml.slideLayout+xml"/>
  <Override PartName="/ppt/slideLayouts/slideLayout552.xml" ContentType="application/vnd.openxmlformats-officedocument.presentationml.slideLayout+xml"/>
  <Override PartName="/ppt/slideLayouts/slideLayout553.xml" ContentType="application/vnd.openxmlformats-officedocument.presentationml.slideLayout+xml"/>
  <Override PartName="/ppt/slideLayouts/slideLayout554.xml" ContentType="application/vnd.openxmlformats-officedocument.presentationml.slideLayout+xml"/>
  <Override PartName="/ppt/slideLayouts/slideLayout555.xml" ContentType="application/vnd.openxmlformats-officedocument.presentationml.slideLayout+xml"/>
  <Override PartName="/ppt/slideLayouts/slideLayout556.xml" ContentType="application/vnd.openxmlformats-officedocument.presentationml.slideLayout+xml"/>
  <Override PartName="/ppt/slideLayouts/slideLayout557.xml" ContentType="application/vnd.openxmlformats-officedocument.presentationml.slideLayout+xml"/>
  <Override PartName="/ppt/slideLayouts/slideLayout558.xml" ContentType="application/vnd.openxmlformats-officedocument.presentationml.slideLayout+xml"/>
  <Override PartName="/ppt/slideLayouts/slideLayout559.xml" ContentType="application/vnd.openxmlformats-officedocument.presentationml.slideLayout+xml"/>
  <Override PartName="/ppt/slideLayouts/slideLayout560.xml" ContentType="application/vnd.openxmlformats-officedocument.presentationml.slideLayout+xml"/>
  <Override PartName="/ppt/slideLayouts/slideLayout561.xml" ContentType="application/vnd.openxmlformats-officedocument.presentationml.slideLayout+xml"/>
  <Override PartName="/ppt/slideLayouts/slideLayout562.xml" ContentType="application/vnd.openxmlformats-officedocument.presentationml.slideLayout+xml"/>
  <Override PartName="/ppt/slideLayouts/slideLayout563.xml" ContentType="application/vnd.openxmlformats-officedocument.presentationml.slideLayout+xml"/>
  <Override PartName="/ppt/slideLayouts/slideLayout564.xml" ContentType="application/vnd.openxmlformats-officedocument.presentationml.slideLayout+xml"/>
  <Override PartName="/ppt/slideLayouts/slideLayout565.xml" ContentType="application/vnd.openxmlformats-officedocument.presentationml.slideLayout+xml"/>
  <Override PartName="/ppt/theme/theme10.xml" ContentType="application/vnd.openxmlformats-officedocument.theme+xml"/>
  <Override PartName="/ppt/slideLayouts/slideLayout566.xml" ContentType="application/vnd.openxmlformats-officedocument.presentationml.slideLayout+xml"/>
  <Override PartName="/ppt/slideLayouts/slideLayout567.xml" ContentType="application/vnd.openxmlformats-officedocument.presentationml.slideLayout+xml"/>
  <Override PartName="/ppt/slideLayouts/slideLayout568.xml" ContentType="application/vnd.openxmlformats-officedocument.presentationml.slideLayout+xml"/>
  <Override PartName="/ppt/slideLayouts/slideLayout569.xml" ContentType="application/vnd.openxmlformats-officedocument.presentationml.slideLayout+xml"/>
  <Override PartName="/ppt/slideLayouts/slideLayout570.xml" ContentType="application/vnd.openxmlformats-officedocument.presentationml.slideLayout+xml"/>
  <Override PartName="/ppt/slideLayouts/slideLayout571.xml" ContentType="application/vnd.openxmlformats-officedocument.presentationml.slideLayout+xml"/>
  <Override PartName="/ppt/slideLayouts/slideLayout572.xml" ContentType="application/vnd.openxmlformats-officedocument.presentationml.slideLayout+xml"/>
  <Override PartName="/ppt/slideLayouts/slideLayout573.xml" ContentType="application/vnd.openxmlformats-officedocument.presentationml.slideLayout+xml"/>
  <Override PartName="/ppt/slideLayouts/slideLayout574.xml" ContentType="application/vnd.openxmlformats-officedocument.presentationml.slideLayout+xml"/>
  <Override PartName="/ppt/slideLayouts/slideLayout575.xml" ContentType="application/vnd.openxmlformats-officedocument.presentationml.slideLayout+xml"/>
  <Override PartName="/ppt/slideLayouts/slideLayout576.xml" ContentType="application/vnd.openxmlformats-officedocument.presentationml.slideLayout+xml"/>
  <Override PartName="/ppt/slideLayouts/slideLayout577.xml" ContentType="application/vnd.openxmlformats-officedocument.presentationml.slideLayout+xml"/>
  <Override PartName="/ppt/slideLayouts/slideLayout578.xml" ContentType="application/vnd.openxmlformats-officedocument.presentationml.slideLayout+xml"/>
  <Override PartName="/ppt/slideLayouts/slideLayout579.xml" ContentType="application/vnd.openxmlformats-officedocument.presentationml.slideLayout+xml"/>
  <Override PartName="/ppt/slideLayouts/slideLayout580.xml" ContentType="application/vnd.openxmlformats-officedocument.presentationml.slideLayout+xml"/>
  <Override PartName="/ppt/slideLayouts/slideLayout581.xml" ContentType="application/vnd.openxmlformats-officedocument.presentationml.slideLayout+xml"/>
  <Override PartName="/ppt/slideLayouts/slideLayout582.xml" ContentType="application/vnd.openxmlformats-officedocument.presentationml.slideLayout+xml"/>
  <Override PartName="/ppt/slideLayouts/slideLayout583.xml" ContentType="application/vnd.openxmlformats-officedocument.presentationml.slideLayout+xml"/>
  <Override PartName="/ppt/slideLayouts/slideLayout584.xml" ContentType="application/vnd.openxmlformats-officedocument.presentationml.slideLayout+xml"/>
  <Override PartName="/ppt/slideLayouts/slideLayout585.xml" ContentType="application/vnd.openxmlformats-officedocument.presentationml.slideLayout+xml"/>
  <Override PartName="/ppt/slideLayouts/slideLayout586.xml" ContentType="application/vnd.openxmlformats-officedocument.presentationml.slideLayout+xml"/>
  <Override PartName="/ppt/slideLayouts/slideLayout587.xml" ContentType="application/vnd.openxmlformats-officedocument.presentationml.slideLayout+xml"/>
  <Override PartName="/ppt/slideLayouts/slideLayout588.xml" ContentType="application/vnd.openxmlformats-officedocument.presentationml.slideLayout+xml"/>
  <Override PartName="/ppt/slideLayouts/slideLayout589.xml" ContentType="application/vnd.openxmlformats-officedocument.presentationml.slideLayout+xml"/>
  <Override PartName="/ppt/slideLayouts/slideLayout590.xml" ContentType="application/vnd.openxmlformats-officedocument.presentationml.slideLayout+xml"/>
  <Override PartName="/ppt/slideLayouts/slideLayout591.xml" ContentType="application/vnd.openxmlformats-officedocument.presentationml.slideLayout+xml"/>
  <Override PartName="/ppt/slideLayouts/slideLayout592.xml" ContentType="application/vnd.openxmlformats-officedocument.presentationml.slideLayout+xml"/>
  <Override PartName="/ppt/slideLayouts/slideLayout593.xml" ContentType="application/vnd.openxmlformats-officedocument.presentationml.slideLayout+xml"/>
  <Override PartName="/ppt/slideLayouts/slideLayout594.xml" ContentType="application/vnd.openxmlformats-officedocument.presentationml.slideLayout+xml"/>
  <Override PartName="/ppt/slideLayouts/slideLayout595.xml" ContentType="application/vnd.openxmlformats-officedocument.presentationml.slideLayout+xml"/>
  <Override PartName="/ppt/slideLayouts/slideLayout596.xml" ContentType="application/vnd.openxmlformats-officedocument.presentationml.slideLayout+xml"/>
  <Override PartName="/ppt/slideLayouts/slideLayout597.xml" ContentType="application/vnd.openxmlformats-officedocument.presentationml.slideLayout+xml"/>
  <Override PartName="/ppt/slideLayouts/slideLayout598.xml" ContentType="application/vnd.openxmlformats-officedocument.presentationml.slideLayout+xml"/>
  <Override PartName="/ppt/slideLayouts/slideLayout599.xml" ContentType="application/vnd.openxmlformats-officedocument.presentationml.slideLayout+xml"/>
  <Override PartName="/ppt/slideLayouts/slideLayout600.xml" ContentType="application/vnd.openxmlformats-officedocument.presentationml.slideLayout+xml"/>
  <Override PartName="/ppt/slideLayouts/slideLayout601.xml" ContentType="application/vnd.openxmlformats-officedocument.presentationml.slideLayout+xml"/>
  <Override PartName="/ppt/slideLayouts/slideLayout602.xml" ContentType="application/vnd.openxmlformats-officedocument.presentationml.slideLayout+xml"/>
  <Override PartName="/ppt/slideLayouts/slideLayout603.xml" ContentType="application/vnd.openxmlformats-officedocument.presentationml.slideLayout+xml"/>
  <Override PartName="/ppt/slideLayouts/slideLayout604.xml" ContentType="application/vnd.openxmlformats-officedocument.presentationml.slideLayout+xml"/>
  <Override PartName="/ppt/slideLayouts/slideLayout605.xml" ContentType="application/vnd.openxmlformats-officedocument.presentationml.slideLayout+xml"/>
  <Override PartName="/ppt/slideLayouts/slideLayout606.xml" ContentType="application/vnd.openxmlformats-officedocument.presentationml.slideLayout+xml"/>
  <Override PartName="/ppt/slideLayouts/slideLayout607.xml" ContentType="application/vnd.openxmlformats-officedocument.presentationml.slideLayout+xml"/>
  <Override PartName="/ppt/slideLayouts/slideLayout608.xml" ContentType="application/vnd.openxmlformats-officedocument.presentationml.slideLayout+xml"/>
  <Override PartName="/ppt/slideLayouts/slideLayout609.xml" ContentType="application/vnd.openxmlformats-officedocument.presentationml.slideLayout+xml"/>
  <Override PartName="/ppt/slideLayouts/slideLayout610.xml" ContentType="application/vnd.openxmlformats-officedocument.presentationml.slideLayout+xml"/>
  <Override PartName="/ppt/slideLayouts/slideLayout611.xml" ContentType="application/vnd.openxmlformats-officedocument.presentationml.slideLayout+xml"/>
  <Override PartName="/ppt/slideLayouts/slideLayout612.xml" ContentType="application/vnd.openxmlformats-officedocument.presentationml.slideLayout+xml"/>
  <Override PartName="/ppt/slideLayouts/slideLayout613.xml" ContentType="application/vnd.openxmlformats-officedocument.presentationml.slideLayout+xml"/>
  <Override PartName="/ppt/slideLayouts/slideLayout614.xml" ContentType="application/vnd.openxmlformats-officedocument.presentationml.slideLayout+xml"/>
  <Override PartName="/ppt/slideLayouts/slideLayout615.xml" ContentType="application/vnd.openxmlformats-officedocument.presentationml.slideLayout+xml"/>
  <Override PartName="/ppt/slideLayouts/slideLayout616.xml" ContentType="application/vnd.openxmlformats-officedocument.presentationml.slideLayout+xml"/>
  <Override PartName="/ppt/slideLayouts/slideLayout617.xml" ContentType="application/vnd.openxmlformats-officedocument.presentationml.slideLayout+xml"/>
  <Override PartName="/ppt/slideLayouts/slideLayout618.xml" ContentType="application/vnd.openxmlformats-officedocument.presentationml.slideLayout+xml"/>
  <Override PartName="/ppt/slideLayouts/slideLayout619.xml" ContentType="application/vnd.openxmlformats-officedocument.presentationml.slideLayout+xml"/>
  <Override PartName="/ppt/slideLayouts/slideLayout620.xml" ContentType="application/vnd.openxmlformats-officedocument.presentationml.slideLayout+xml"/>
  <Override PartName="/ppt/slideLayouts/slideLayout621.xml" ContentType="application/vnd.openxmlformats-officedocument.presentationml.slideLayout+xml"/>
  <Override PartName="/ppt/slideLayouts/slideLayout622.xml" ContentType="application/vnd.openxmlformats-officedocument.presentationml.slideLayout+xml"/>
  <Override PartName="/ppt/slideLayouts/slideLayout623.xml" ContentType="application/vnd.openxmlformats-officedocument.presentationml.slideLayout+xml"/>
  <Override PartName="/ppt/slideLayouts/slideLayout624.xml" ContentType="application/vnd.openxmlformats-officedocument.presentationml.slideLayout+xml"/>
  <Override PartName="/ppt/slideLayouts/slideLayout625.xml" ContentType="application/vnd.openxmlformats-officedocument.presentationml.slideLayout+xml"/>
  <Override PartName="/ppt/slideLayouts/slideLayout626.xml" ContentType="application/vnd.openxmlformats-officedocument.presentationml.slideLayout+xml"/>
  <Override PartName="/ppt/slideLayouts/slideLayout627.xml" ContentType="application/vnd.openxmlformats-officedocument.presentationml.slideLayout+xml"/>
  <Override PartName="/ppt/slideLayouts/slideLayout628.xml" ContentType="application/vnd.openxmlformats-officedocument.presentationml.slideLayout+xml"/>
  <Override PartName="/ppt/theme/theme11.xml" ContentType="application/vnd.openxmlformats-officedocument.theme+xml"/>
  <Override PartName="/ppt/slideLayouts/slideLayout629.xml" ContentType="application/vnd.openxmlformats-officedocument.presentationml.slideLayout+xml"/>
  <Override PartName="/ppt/slideLayouts/slideLayout630.xml" ContentType="application/vnd.openxmlformats-officedocument.presentationml.slideLayout+xml"/>
  <Override PartName="/ppt/slideLayouts/slideLayout631.xml" ContentType="application/vnd.openxmlformats-officedocument.presentationml.slideLayout+xml"/>
  <Override PartName="/ppt/slideLayouts/slideLayout632.xml" ContentType="application/vnd.openxmlformats-officedocument.presentationml.slideLayout+xml"/>
  <Override PartName="/ppt/slideLayouts/slideLayout633.xml" ContentType="application/vnd.openxmlformats-officedocument.presentationml.slideLayout+xml"/>
  <Override PartName="/ppt/slideLayouts/slideLayout634.xml" ContentType="application/vnd.openxmlformats-officedocument.presentationml.slideLayout+xml"/>
  <Override PartName="/ppt/slideLayouts/slideLayout635.xml" ContentType="application/vnd.openxmlformats-officedocument.presentationml.slideLayout+xml"/>
  <Override PartName="/ppt/slideLayouts/slideLayout636.xml" ContentType="application/vnd.openxmlformats-officedocument.presentationml.slideLayout+xml"/>
  <Override PartName="/ppt/slideLayouts/slideLayout637.xml" ContentType="application/vnd.openxmlformats-officedocument.presentationml.slideLayout+xml"/>
  <Override PartName="/ppt/slideLayouts/slideLayout638.xml" ContentType="application/vnd.openxmlformats-officedocument.presentationml.slideLayout+xml"/>
  <Override PartName="/ppt/slideLayouts/slideLayout639.xml" ContentType="application/vnd.openxmlformats-officedocument.presentationml.slideLayout+xml"/>
  <Override PartName="/ppt/slideLayouts/slideLayout640.xml" ContentType="application/vnd.openxmlformats-officedocument.presentationml.slideLayout+xml"/>
  <Override PartName="/ppt/slideLayouts/slideLayout641.xml" ContentType="application/vnd.openxmlformats-officedocument.presentationml.slideLayout+xml"/>
  <Override PartName="/ppt/slideLayouts/slideLayout642.xml" ContentType="application/vnd.openxmlformats-officedocument.presentationml.slideLayout+xml"/>
  <Override PartName="/ppt/slideLayouts/slideLayout643.xml" ContentType="application/vnd.openxmlformats-officedocument.presentationml.slideLayout+xml"/>
  <Override PartName="/ppt/slideLayouts/slideLayout644.xml" ContentType="application/vnd.openxmlformats-officedocument.presentationml.slideLayout+xml"/>
  <Override PartName="/ppt/slideLayouts/slideLayout645.xml" ContentType="application/vnd.openxmlformats-officedocument.presentationml.slideLayout+xml"/>
  <Override PartName="/ppt/slideLayouts/slideLayout646.xml" ContentType="application/vnd.openxmlformats-officedocument.presentationml.slideLayout+xml"/>
  <Override PartName="/ppt/slideLayouts/slideLayout647.xml" ContentType="application/vnd.openxmlformats-officedocument.presentationml.slideLayout+xml"/>
  <Override PartName="/ppt/slideLayouts/slideLayout648.xml" ContentType="application/vnd.openxmlformats-officedocument.presentationml.slideLayout+xml"/>
  <Override PartName="/ppt/slideLayouts/slideLayout649.xml" ContentType="application/vnd.openxmlformats-officedocument.presentationml.slideLayout+xml"/>
  <Override PartName="/ppt/slideLayouts/slideLayout650.xml" ContentType="application/vnd.openxmlformats-officedocument.presentationml.slideLayout+xml"/>
  <Override PartName="/ppt/slideLayouts/slideLayout651.xml" ContentType="application/vnd.openxmlformats-officedocument.presentationml.slideLayout+xml"/>
  <Override PartName="/ppt/slideLayouts/slideLayout652.xml" ContentType="application/vnd.openxmlformats-officedocument.presentationml.slideLayout+xml"/>
  <Override PartName="/ppt/slideLayouts/slideLayout653.xml" ContentType="application/vnd.openxmlformats-officedocument.presentationml.slideLayout+xml"/>
  <Override PartName="/ppt/slideLayouts/slideLayout654.xml" ContentType="application/vnd.openxmlformats-officedocument.presentationml.slideLayout+xml"/>
  <Override PartName="/ppt/slideLayouts/slideLayout655.xml" ContentType="application/vnd.openxmlformats-officedocument.presentationml.slideLayout+xml"/>
  <Override PartName="/ppt/slideLayouts/slideLayout656.xml" ContentType="application/vnd.openxmlformats-officedocument.presentationml.slideLayout+xml"/>
  <Override PartName="/ppt/theme/theme12.xml" ContentType="application/vnd.openxmlformats-officedocument.theme+xml"/>
  <Override PartName="/ppt/slideLayouts/slideLayout657.xml" ContentType="application/vnd.openxmlformats-officedocument.presentationml.slideLayout+xml"/>
  <Override PartName="/ppt/slideLayouts/slideLayout658.xml" ContentType="application/vnd.openxmlformats-officedocument.presentationml.slideLayout+xml"/>
  <Override PartName="/ppt/slideLayouts/slideLayout659.xml" ContentType="application/vnd.openxmlformats-officedocument.presentationml.slideLayout+xml"/>
  <Override PartName="/ppt/slideLayouts/slideLayout660.xml" ContentType="application/vnd.openxmlformats-officedocument.presentationml.slideLayout+xml"/>
  <Override PartName="/ppt/slideLayouts/slideLayout661.xml" ContentType="application/vnd.openxmlformats-officedocument.presentationml.slideLayout+xml"/>
  <Override PartName="/ppt/slideLayouts/slideLayout662.xml" ContentType="application/vnd.openxmlformats-officedocument.presentationml.slideLayout+xml"/>
  <Override PartName="/ppt/slideLayouts/slideLayout663.xml" ContentType="application/vnd.openxmlformats-officedocument.presentationml.slideLayout+xml"/>
  <Override PartName="/ppt/slideLayouts/slideLayout664.xml" ContentType="application/vnd.openxmlformats-officedocument.presentationml.slideLayout+xml"/>
  <Override PartName="/ppt/slideLayouts/slideLayout665.xml" ContentType="application/vnd.openxmlformats-officedocument.presentationml.slideLayout+xml"/>
  <Override PartName="/ppt/slideLayouts/slideLayout666.xml" ContentType="application/vnd.openxmlformats-officedocument.presentationml.slideLayout+xml"/>
  <Override PartName="/ppt/slideLayouts/slideLayout667.xml" ContentType="application/vnd.openxmlformats-officedocument.presentationml.slideLayout+xml"/>
  <Override PartName="/ppt/slideLayouts/slideLayout668.xml" ContentType="application/vnd.openxmlformats-officedocument.presentationml.slideLayout+xml"/>
  <Override PartName="/ppt/slideLayouts/slideLayout669.xml" ContentType="application/vnd.openxmlformats-officedocument.presentationml.slideLayout+xml"/>
  <Override PartName="/ppt/slideLayouts/slideLayout670.xml" ContentType="application/vnd.openxmlformats-officedocument.presentationml.slideLayout+xml"/>
  <Override PartName="/ppt/slideLayouts/slideLayout671.xml" ContentType="application/vnd.openxmlformats-officedocument.presentationml.slideLayout+xml"/>
  <Override PartName="/ppt/slideLayouts/slideLayout672.xml" ContentType="application/vnd.openxmlformats-officedocument.presentationml.slideLayout+xml"/>
  <Override PartName="/ppt/slideLayouts/slideLayout673.xml" ContentType="application/vnd.openxmlformats-officedocument.presentationml.slideLayout+xml"/>
  <Override PartName="/ppt/slideLayouts/slideLayout674.xml" ContentType="application/vnd.openxmlformats-officedocument.presentationml.slideLayout+xml"/>
  <Override PartName="/ppt/slideLayouts/slideLayout675.xml" ContentType="application/vnd.openxmlformats-officedocument.presentationml.slideLayout+xml"/>
  <Override PartName="/ppt/slideLayouts/slideLayout676.xml" ContentType="application/vnd.openxmlformats-officedocument.presentationml.slideLayout+xml"/>
  <Override PartName="/ppt/slideLayouts/slideLayout677.xml" ContentType="application/vnd.openxmlformats-officedocument.presentationml.slideLayout+xml"/>
  <Override PartName="/ppt/slideLayouts/slideLayout678.xml" ContentType="application/vnd.openxmlformats-officedocument.presentationml.slideLayout+xml"/>
  <Override PartName="/ppt/slideLayouts/slideLayout679.xml" ContentType="application/vnd.openxmlformats-officedocument.presentationml.slideLayout+xml"/>
  <Override PartName="/ppt/slideLayouts/slideLayout680.xml" ContentType="application/vnd.openxmlformats-officedocument.presentationml.slideLayout+xml"/>
  <Override PartName="/ppt/slideLayouts/slideLayout681.xml" ContentType="application/vnd.openxmlformats-officedocument.presentationml.slideLayout+xml"/>
  <Override PartName="/ppt/slideLayouts/slideLayout682.xml" ContentType="application/vnd.openxmlformats-officedocument.presentationml.slideLayout+xml"/>
  <Override PartName="/ppt/slideLayouts/slideLayout683.xml" ContentType="application/vnd.openxmlformats-officedocument.presentationml.slideLayout+xml"/>
  <Override PartName="/ppt/slideLayouts/slideLayout684.xml" ContentType="application/vnd.openxmlformats-officedocument.presentationml.slideLayout+xml"/>
  <Override PartName="/ppt/slideLayouts/slideLayout685.xml" ContentType="application/vnd.openxmlformats-officedocument.presentationml.slideLayout+xml"/>
  <Override PartName="/ppt/slideLayouts/slideLayout686.xml" ContentType="application/vnd.openxmlformats-officedocument.presentationml.slideLayout+xml"/>
  <Override PartName="/ppt/slideLayouts/slideLayout687.xml" ContentType="application/vnd.openxmlformats-officedocument.presentationml.slideLayout+xml"/>
  <Override PartName="/ppt/slideLayouts/slideLayout688.xml" ContentType="application/vnd.openxmlformats-officedocument.presentationml.slideLayout+xml"/>
  <Override PartName="/ppt/slideLayouts/slideLayout689.xml" ContentType="application/vnd.openxmlformats-officedocument.presentationml.slideLayout+xml"/>
  <Override PartName="/ppt/slideLayouts/slideLayout690.xml" ContentType="application/vnd.openxmlformats-officedocument.presentationml.slideLayout+xml"/>
  <Override PartName="/ppt/slideLayouts/slideLayout691.xml" ContentType="application/vnd.openxmlformats-officedocument.presentationml.slideLayout+xml"/>
  <Override PartName="/ppt/slideLayouts/slideLayout692.xml" ContentType="application/vnd.openxmlformats-officedocument.presentationml.slideLayout+xml"/>
  <Override PartName="/ppt/slideLayouts/slideLayout693.xml" ContentType="application/vnd.openxmlformats-officedocument.presentationml.slideLayout+xml"/>
  <Override PartName="/ppt/slideLayouts/slideLayout694.xml" ContentType="application/vnd.openxmlformats-officedocument.presentationml.slideLayout+xml"/>
  <Override PartName="/ppt/slideLayouts/slideLayout695.xml" ContentType="application/vnd.openxmlformats-officedocument.presentationml.slideLayout+xml"/>
  <Override PartName="/ppt/theme/theme13.xml" ContentType="application/vnd.openxmlformats-officedocument.theme+xml"/>
  <Override PartName="/ppt/slideLayouts/slideLayout696.xml" ContentType="application/vnd.openxmlformats-officedocument.presentationml.slideLayout+xml"/>
  <Override PartName="/ppt/slideLayouts/slideLayout697.xml" ContentType="application/vnd.openxmlformats-officedocument.presentationml.slideLayout+xml"/>
  <Override PartName="/ppt/slideLayouts/slideLayout698.xml" ContentType="application/vnd.openxmlformats-officedocument.presentationml.slideLayout+xml"/>
  <Override PartName="/ppt/slideLayouts/slideLayout699.xml" ContentType="application/vnd.openxmlformats-officedocument.presentationml.slideLayout+xml"/>
  <Override PartName="/ppt/slideLayouts/slideLayout700.xml" ContentType="application/vnd.openxmlformats-officedocument.presentationml.slideLayout+xml"/>
  <Override PartName="/ppt/slideLayouts/slideLayout701.xml" ContentType="application/vnd.openxmlformats-officedocument.presentationml.slideLayout+xml"/>
  <Override PartName="/ppt/slideLayouts/slideLayout702.xml" ContentType="application/vnd.openxmlformats-officedocument.presentationml.slideLayout+xml"/>
  <Override PartName="/ppt/slideLayouts/slideLayout703.xml" ContentType="application/vnd.openxmlformats-officedocument.presentationml.slideLayout+xml"/>
  <Override PartName="/ppt/slideLayouts/slideLayout704.xml" ContentType="application/vnd.openxmlformats-officedocument.presentationml.slideLayout+xml"/>
  <Override PartName="/ppt/slideLayouts/slideLayout705.xml" ContentType="application/vnd.openxmlformats-officedocument.presentationml.slideLayout+xml"/>
  <Override PartName="/ppt/slideLayouts/slideLayout706.xml" ContentType="application/vnd.openxmlformats-officedocument.presentationml.slideLayout+xml"/>
  <Override PartName="/ppt/slideLayouts/slideLayout707.xml" ContentType="application/vnd.openxmlformats-officedocument.presentationml.slideLayout+xml"/>
  <Override PartName="/ppt/slideLayouts/slideLayout708.xml" ContentType="application/vnd.openxmlformats-officedocument.presentationml.slideLayout+xml"/>
  <Override PartName="/ppt/slideLayouts/slideLayout709.xml" ContentType="application/vnd.openxmlformats-officedocument.presentationml.slideLayout+xml"/>
  <Override PartName="/ppt/slideLayouts/slideLayout710.xml" ContentType="application/vnd.openxmlformats-officedocument.presentationml.slideLayout+xml"/>
  <Override PartName="/ppt/slideLayouts/slideLayout711.xml" ContentType="application/vnd.openxmlformats-officedocument.presentationml.slideLayout+xml"/>
  <Override PartName="/ppt/slideLayouts/slideLayout712.xml" ContentType="application/vnd.openxmlformats-officedocument.presentationml.slideLayout+xml"/>
  <Override PartName="/ppt/slideLayouts/slideLayout713.xml" ContentType="application/vnd.openxmlformats-officedocument.presentationml.slideLayout+xml"/>
  <Override PartName="/ppt/slideLayouts/slideLayout714.xml" ContentType="application/vnd.openxmlformats-officedocument.presentationml.slideLayout+xml"/>
  <Override PartName="/ppt/slideLayouts/slideLayout715.xml" ContentType="application/vnd.openxmlformats-officedocument.presentationml.slideLayout+xml"/>
  <Override PartName="/ppt/slideLayouts/slideLayout716.xml" ContentType="application/vnd.openxmlformats-officedocument.presentationml.slideLayout+xml"/>
  <Override PartName="/ppt/slideLayouts/slideLayout717.xml" ContentType="application/vnd.openxmlformats-officedocument.presentationml.slideLayout+xml"/>
  <Override PartName="/ppt/slideLayouts/slideLayout718.xml" ContentType="application/vnd.openxmlformats-officedocument.presentationml.slideLayout+xml"/>
  <Override PartName="/ppt/slideLayouts/slideLayout719.xml" ContentType="application/vnd.openxmlformats-officedocument.presentationml.slideLayout+xml"/>
  <Override PartName="/ppt/slideLayouts/slideLayout720.xml" ContentType="application/vnd.openxmlformats-officedocument.presentationml.slideLayout+xml"/>
  <Override PartName="/ppt/slideLayouts/slideLayout721.xml" ContentType="application/vnd.openxmlformats-officedocument.presentationml.slideLayout+xml"/>
  <Override PartName="/ppt/slideLayouts/slideLayout722.xml" ContentType="application/vnd.openxmlformats-officedocument.presentationml.slideLayout+xml"/>
  <Override PartName="/ppt/slideLayouts/slideLayout723.xml" ContentType="application/vnd.openxmlformats-officedocument.presentationml.slideLayout+xml"/>
  <Override PartName="/ppt/slideLayouts/slideLayout724.xml" ContentType="application/vnd.openxmlformats-officedocument.presentationml.slideLayout+xml"/>
  <Override PartName="/ppt/slideLayouts/slideLayout725.xml" ContentType="application/vnd.openxmlformats-officedocument.presentationml.slideLayout+xml"/>
  <Override PartName="/ppt/slideLayouts/slideLayout726.xml" ContentType="application/vnd.openxmlformats-officedocument.presentationml.slideLayout+xml"/>
  <Override PartName="/ppt/slideLayouts/slideLayout727.xml" ContentType="application/vnd.openxmlformats-officedocument.presentationml.slideLayout+xml"/>
  <Override PartName="/ppt/slideLayouts/slideLayout728.xml" ContentType="application/vnd.openxmlformats-officedocument.presentationml.slideLayout+xml"/>
  <Override PartName="/ppt/slideLayouts/slideLayout729.xml" ContentType="application/vnd.openxmlformats-officedocument.presentationml.slideLayout+xml"/>
  <Override PartName="/ppt/slideLayouts/slideLayout730.xml" ContentType="application/vnd.openxmlformats-officedocument.presentationml.slideLayout+xml"/>
  <Override PartName="/ppt/slideLayouts/slideLayout731.xml" ContentType="application/vnd.openxmlformats-officedocument.presentationml.slideLayout+xml"/>
  <Override PartName="/ppt/slideLayouts/slideLayout732.xml" ContentType="application/vnd.openxmlformats-officedocument.presentationml.slideLayout+xml"/>
  <Override PartName="/ppt/slideLayouts/slideLayout733.xml" ContentType="application/vnd.openxmlformats-officedocument.presentationml.slideLayout+xml"/>
  <Override PartName="/ppt/slideLayouts/slideLayout734.xml" ContentType="application/vnd.openxmlformats-officedocument.presentationml.slideLayout+xml"/>
  <Override PartName="/ppt/slideLayouts/slideLayout735.xml" ContentType="application/vnd.openxmlformats-officedocument.presentationml.slideLayout+xml"/>
  <Override PartName="/ppt/slideLayouts/slideLayout736.xml" ContentType="application/vnd.openxmlformats-officedocument.presentationml.slideLayout+xml"/>
  <Override PartName="/ppt/slideLayouts/slideLayout737.xml" ContentType="application/vnd.openxmlformats-officedocument.presentationml.slideLayout+xml"/>
  <Override PartName="/ppt/slideLayouts/slideLayout738.xml" ContentType="application/vnd.openxmlformats-officedocument.presentationml.slideLayout+xml"/>
  <Override PartName="/ppt/slideLayouts/slideLayout739.xml" ContentType="application/vnd.openxmlformats-officedocument.presentationml.slideLayout+xml"/>
  <Override PartName="/ppt/slideLayouts/slideLayout740.xml" ContentType="application/vnd.openxmlformats-officedocument.presentationml.slideLayout+xml"/>
  <Override PartName="/ppt/slideLayouts/slideLayout741.xml" ContentType="application/vnd.openxmlformats-officedocument.presentationml.slideLayout+xml"/>
  <Override PartName="/ppt/slideLayouts/slideLayout742.xml" ContentType="application/vnd.openxmlformats-officedocument.presentationml.slideLayout+xml"/>
  <Override PartName="/ppt/slideLayouts/slideLayout743.xml" ContentType="application/vnd.openxmlformats-officedocument.presentationml.slideLayout+xml"/>
  <Override PartName="/ppt/slideLayouts/slideLayout744.xml" ContentType="application/vnd.openxmlformats-officedocument.presentationml.slideLayout+xml"/>
  <Override PartName="/ppt/slideLayouts/slideLayout745.xml" ContentType="application/vnd.openxmlformats-officedocument.presentationml.slideLayout+xml"/>
  <Override PartName="/ppt/slideLayouts/slideLayout746.xml" ContentType="application/vnd.openxmlformats-officedocument.presentationml.slideLayout+xml"/>
  <Override PartName="/ppt/slideLayouts/slideLayout747.xml" ContentType="application/vnd.openxmlformats-officedocument.presentationml.slideLayout+xml"/>
  <Override PartName="/ppt/slideLayouts/slideLayout748.xml" ContentType="application/vnd.openxmlformats-officedocument.presentationml.slideLayout+xml"/>
  <Override PartName="/ppt/slideLayouts/slideLayout749.xml" ContentType="application/vnd.openxmlformats-officedocument.presentationml.slideLayout+xml"/>
  <Override PartName="/ppt/slideLayouts/slideLayout750.xml" ContentType="application/vnd.openxmlformats-officedocument.presentationml.slideLayout+xml"/>
  <Override PartName="/ppt/slideLayouts/slideLayout751.xml" ContentType="application/vnd.openxmlformats-officedocument.presentationml.slideLayout+xml"/>
  <Override PartName="/ppt/theme/theme14.xml" ContentType="application/vnd.openxmlformats-officedocument.theme+xml"/>
  <Override PartName="/ppt/slideLayouts/slideLayout752.xml" ContentType="application/vnd.openxmlformats-officedocument.presentationml.slideLayout+xml"/>
  <Override PartName="/ppt/slideLayouts/slideLayout753.xml" ContentType="application/vnd.openxmlformats-officedocument.presentationml.slideLayout+xml"/>
  <Override PartName="/ppt/slideLayouts/slideLayout754.xml" ContentType="application/vnd.openxmlformats-officedocument.presentationml.slideLayout+xml"/>
  <Override PartName="/ppt/slideLayouts/slideLayout755.xml" ContentType="application/vnd.openxmlformats-officedocument.presentationml.slideLayout+xml"/>
  <Override PartName="/ppt/slideLayouts/slideLayout756.xml" ContentType="application/vnd.openxmlformats-officedocument.presentationml.slideLayout+xml"/>
  <Override PartName="/ppt/slideLayouts/slideLayout757.xml" ContentType="application/vnd.openxmlformats-officedocument.presentationml.slideLayout+xml"/>
  <Override PartName="/ppt/slideLayouts/slideLayout758.xml" ContentType="application/vnd.openxmlformats-officedocument.presentationml.slideLayout+xml"/>
  <Override PartName="/ppt/slideLayouts/slideLayout759.xml" ContentType="application/vnd.openxmlformats-officedocument.presentationml.slideLayout+xml"/>
  <Override PartName="/ppt/slideLayouts/slideLayout760.xml" ContentType="application/vnd.openxmlformats-officedocument.presentationml.slideLayout+xml"/>
  <Override PartName="/ppt/slideLayouts/slideLayout761.xml" ContentType="application/vnd.openxmlformats-officedocument.presentationml.slideLayout+xml"/>
  <Override PartName="/ppt/slideLayouts/slideLayout762.xml" ContentType="application/vnd.openxmlformats-officedocument.presentationml.slideLayout+xml"/>
  <Override PartName="/ppt/slideLayouts/slideLayout763.xml" ContentType="application/vnd.openxmlformats-officedocument.presentationml.slideLayout+xml"/>
  <Override PartName="/ppt/slideLayouts/slideLayout764.xml" ContentType="application/vnd.openxmlformats-officedocument.presentationml.slideLayout+xml"/>
  <Override PartName="/ppt/slideLayouts/slideLayout765.xml" ContentType="application/vnd.openxmlformats-officedocument.presentationml.slideLayout+xml"/>
  <Override PartName="/ppt/slideLayouts/slideLayout766.xml" ContentType="application/vnd.openxmlformats-officedocument.presentationml.slideLayout+xml"/>
  <Override PartName="/ppt/slideLayouts/slideLayout767.xml" ContentType="application/vnd.openxmlformats-officedocument.presentationml.slideLayout+xml"/>
  <Override PartName="/ppt/slideLayouts/slideLayout768.xml" ContentType="application/vnd.openxmlformats-officedocument.presentationml.slideLayout+xml"/>
  <Override PartName="/ppt/slideLayouts/slideLayout769.xml" ContentType="application/vnd.openxmlformats-officedocument.presentationml.slideLayout+xml"/>
  <Override PartName="/ppt/slideLayouts/slideLayout770.xml" ContentType="application/vnd.openxmlformats-officedocument.presentationml.slideLayout+xml"/>
  <Override PartName="/ppt/slideLayouts/slideLayout771.xml" ContentType="application/vnd.openxmlformats-officedocument.presentationml.slideLayout+xml"/>
  <Override PartName="/ppt/slideLayouts/slideLayout772.xml" ContentType="application/vnd.openxmlformats-officedocument.presentationml.slideLayout+xml"/>
  <Override PartName="/ppt/slideLayouts/slideLayout773.xml" ContentType="application/vnd.openxmlformats-officedocument.presentationml.slideLayout+xml"/>
  <Override PartName="/ppt/slideLayouts/slideLayout774.xml" ContentType="application/vnd.openxmlformats-officedocument.presentationml.slideLayout+xml"/>
  <Override PartName="/ppt/slideLayouts/slideLayout775.xml" ContentType="application/vnd.openxmlformats-officedocument.presentationml.slideLayout+xml"/>
  <Override PartName="/ppt/slideLayouts/slideLayout776.xml" ContentType="application/vnd.openxmlformats-officedocument.presentationml.slideLayout+xml"/>
  <Override PartName="/ppt/slideLayouts/slideLayout777.xml" ContentType="application/vnd.openxmlformats-officedocument.presentationml.slideLayout+xml"/>
  <Override PartName="/ppt/slideLayouts/slideLayout778.xml" ContentType="application/vnd.openxmlformats-officedocument.presentationml.slideLayout+xml"/>
  <Override PartName="/ppt/slideLayouts/slideLayout779.xml" ContentType="application/vnd.openxmlformats-officedocument.presentationml.slideLayout+xml"/>
  <Override PartName="/ppt/slideLayouts/slideLayout780.xml" ContentType="application/vnd.openxmlformats-officedocument.presentationml.slideLayout+xml"/>
  <Override PartName="/ppt/slideLayouts/slideLayout781.xml" ContentType="application/vnd.openxmlformats-officedocument.presentationml.slideLayout+xml"/>
  <Override PartName="/ppt/slideLayouts/slideLayout782.xml" ContentType="application/vnd.openxmlformats-officedocument.presentationml.slideLayout+xml"/>
  <Override PartName="/ppt/slideLayouts/slideLayout783.xml" ContentType="application/vnd.openxmlformats-officedocument.presentationml.slideLayout+xml"/>
  <Override PartName="/ppt/slideLayouts/slideLayout784.xml" ContentType="application/vnd.openxmlformats-officedocument.presentationml.slideLayout+xml"/>
  <Override PartName="/ppt/slideLayouts/slideLayout785.xml" ContentType="application/vnd.openxmlformats-officedocument.presentationml.slideLayout+xml"/>
  <Override PartName="/ppt/slideLayouts/slideLayout786.xml" ContentType="application/vnd.openxmlformats-officedocument.presentationml.slideLayout+xml"/>
  <Override PartName="/ppt/slideLayouts/slideLayout787.xml" ContentType="application/vnd.openxmlformats-officedocument.presentationml.slideLayout+xml"/>
  <Override PartName="/ppt/slideLayouts/slideLayout788.xml" ContentType="application/vnd.openxmlformats-officedocument.presentationml.slideLayout+xml"/>
  <Override PartName="/ppt/slideLayouts/slideLayout789.xml" ContentType="application/vnd.openxmlformats-officedocument.presentationml.slideLayout+xml"/>
  <Override PartName="/ppt/slideLayouts/slideLayout790.xml" ContentType="application/vnd.openxmlformats-officedocument.presentationml.slideLayout+xml"/>
  <Override PartName="/ppt/slideLayouts/slideLayout791.xml" ContentType="application/vnd.openxmlformats-officedocument.presentationml.slideLayout+xml"/>
  <Override PartName="/ppt/slideLayouts/slideLayout792.xml" ContentType="application/vnd.openxmlformats-officedocument.presentationml.slideLayout+xml"/>
  <Override PartName="/ppt/slideLayouts/slideLayout793.xml" ContentType="application/vnd.openxmlformats-officedocument.presentationml.slideLayout+xml"/>
  <Override PartName="/ppt/slideLayouts/slideLayout794.xml" ContentType="application/vnd.openxmlformats-officedocument.presentationml.slideLayout+xml"/>
  <Override PartName="/ppt/slideLayouts/slideLayout795.xml" ContentType="application/vnd.openxmlformats-officedocument.presentationml.slideLayout+xml"/>
  <Override PartName="/ppt/slideLayouts/slideLayout796.xml" ContentType="application/vnd.openxmlformats-officedocument.presentationml.slideLayout+xml"/>
  <Override PartName="/ppt/slideLayouts/slideLayout797.xml" ContentType="application/vnd.openxmlformats-officedocument.presentationml.slideLayout+xml"/>
  <Override PartName="/ppt/slideLayouts/slideLayout798.xml" ContentType="application/vnd.openxmlformats-officedocument.presentationml.slideLayout+xml"/>
  <Override PartName="/ppt/slideLayouts/slideLayout799.xml" ContentType="application/vnd.openxmlformats-officedocument.presentationml.slideLayout+xml"/>
  <Override PartName="/ppt/slideLayouts/slideLayout800.xml" ContentType="application/vnd.openxmlformats-officedocument.presentationml.slideLayout+xml"/>
  <Override PartName="/ppt/slideLayouts/slideLayout801.xml" ContentType="application/vnd.openxmlformats-officedocument.presentationml.slideLayout+xml"/>
  <Override PartName="/ppt/slideLayouts/slideLayout802.xml" ContentType="application/vnd.openxmlformats-officedocument.presentationml.slideLayout+xml"/>
  <Override PartName="/ppt/slideLayouts/slideLayout803.xml" ContentType="application/vnd.openxmlformats-officedocument.presentationml.slideLayout+xml"/>
  <Override PartName="/ppt/slideLayouts/slideLayout804.xml" ContentType="application/vnd.openxmlformats-officedocument.presentationml.slideLayout+xml"/>
  <Override PartName="/ppt/slideLayouts/slideLayout805.xml" ContentType="application/vnd.openxmlformats-officedocument.presentationml.slideLayout+xml"/>
  <Override PartName="/ppt/slideLayouts/slideLayout806.xml" ContentType="application/vnd.openxmlformats-officedocument.presentationml.slideLayout+xml"/>
  <Override PartName="/ppt/slideLayouts/slideLayout807.xml" ContentType="application/vnd.openxmlformats-officedocument.presentationml.slideLayout+xml"/>
  <Override PartName="/ppt/slideLayouts/slideLayout808.xml" ContentType="application/vnd.openxmlformats-officedocument.presentationml.slideLayout+xml"/>
  <Override PartName="/ppt/slideLayouts/slideLayout809.xml" ContentType="application/vnd.openxmlformats-officedocument.presentationml.slideLayout+xml"/>
  <Override PartName="/ppt/slideLayouts/slideLayout810.xml" ContentType="application/vnd.openxmlformats-officedocument.presentationml.slideLayout+xml"/>
  <Override PartName="/ppt/slideLayouts/slideLayout811.xml" ContentType="application/vnd.openxmlformats-officedocument.presentationml.slideLayout+xml"/>
  <Override PartName="/ppt/slideLayouts/slideLayout812.xml" ContentType="application/vnd.openxmlformats-officedocument.presentationml.slideLayout+xml"/>
  <Override PartName="/ppt/slideLayouts/slideLayout813.xml" ContentType="application/vnd.openxmlformats-officedocument.presentationml.slideLayout+xml"/>
  <Override PartName="/ppt/slideLayouts/slideLayout814.xml" ContentType="application/vnd.openxmlformats-officedocument.presentationml.slideLayout+xml"/>
  <Override PartName="/ppt/slideLayouts/slideLayout815.xml" ContentType="application/vnd.openxmlformats-officedocument.presentationml.slideLayout+xml"/>
  <Override PartName="/ppt/slideLayouts/slideLayout816.xml" ContentType="application/vnd.openxmlformats-officedocument.presentationml.slideLayout+xml"/>
  <Override PartName="/ppt/slideLayouts/slideLayout817.xml" ContentType="application/vnd.openxmlformats-officedocument.presentationml.slideLayout+xml"/>
  <Override PartName="/ppt/slideLayouts/slideLayout818.xml" ContentType="application/vnd.openxmlformats-officedocument.presentationml.slideLayout+xml"/>
  <Override PartName="/ppt/slideLayouts/slideLayout819.xml" ContentType="application/vnd.openxmlformats-officedocument.presentationml.slideLayout+xml"/>
  <Override PartName="/ppt/slideLayouts/slideLayout820.xml" ContentType="application/vnd.openxmlformats-officedocument.presentationml.slideLayout+xml"/>
  <Override PartName="/ppt/theme/theme15.xml" ContentType="application/vnd.openxmlformats-officedocument.theme+xml"/>
  <Override PartName="/ppt/tags/tag2.xml" ContentType="application/vnd.openxmlformats-officedocument.presentationml.tags+xml"/>
  <Override PartName="/ppt/slideLayouts/slideLayout821.xml" ContentType="application/vnd.openxmlformats-officedocument.presentationml.slideLayout+xml"/>
  <Override PartName="/ppt/slideLayouts/slideLayout822.xml" ContentType="application/vnd.openxmlformats-officedocument.presentationml.slideLayout+xml"/>
  <Override PartName="/ppt/slideLayouts/slideLayout823.xml" ContentType="application/vnd.openxmlformats-officedocument.presentationml.slideLayout+xml"/>
  <Override PartName="/ppt/slideLayouts/slideLayout824.xml" ContentType="application/vnd.openxmlformats-officedocument.presentationml.slideLayout+xml"/>
  <Override PartName="/ppt/slideLayouts/slideLayout825.xml" ContentType="application/vnd.openxmlformats-officedocument.presentationml.slideLayout+xml"/>
  <Override PartName="/ppt/slideLayouts/slideLayout826.xml" ContentType="application/vnd.openxmlformats-officedocument.presentationml.slideLayout+xml"/>
  <Override PartName="/ppt/slideLayouts/slideLayout827.xml" ContentType="application/vnd.openxmlformats-officedocument.presentationml.slideLayout+xml"/>
  <Override PartName="/ppt/slideLayouts/slideLayout828.xml" ContentType="application/vnd.openxmlformats-officedocument.presentationml.slideLayout+xml"/>
  <Override PartName="/ppt/slideLayouts/slideLayout829.xml" ContentType="application/vnd.openxmlformats-officedocument.presentationml.slideLayout+xml"/>
  <Override PartName="/ppt/slideLayouts/slideLayout830.xml" ContentType="application/vnd.openxmlformats-officedocument.presentationml.slideLayout+xml"/>
  <Override PartName="/ppt/slideLayouts/slideLayout831.xml" ContentType="application/vnd.openxmlformats-officedocument.presentationml.slideLayout+xml"/>
  <Override PartName="/ppt/slideLayouts/slideLayout832.xml" ContentType="application/vnd.openxmlformats-officedocument.presentationml.slideLayout+xml"/>
  <Override PartName="/ppt/slideLayouts/slideLayout833.xml" ContentType="application/vnd.openxmlformats-officedocument.presentationml.slideLayout+xml"/>
  <Override PartName="/ppt/slideLayouts/slideLayout834.xml" ContentType="application/vnd.openxmlformats-officedocument.presentationml.slideLayout+xml"/>
  <Override PartName="/ppt/slideLayouts/slideLayout835.xml" ContentType="application/vnd.openxmlformats-officedocument.presentationml.slideLayout+xml"/>
  <Override PartName="/ppt/slideLayouts/slideLayout836.xml" ContentType="application/vnd.openxmlformats-officedocument.presentationml.slideLayout+xml"/>
  <Override PartName="/ppt/slideLayouts/slideLayout837.xml" ContentType="application/vnd.openxmlformats-officedocument.presentationml.slideLayout+xml"/>
  <Override PartName="/ppt/slideLayouts/slideLayout838.xml" ContentType="application/vnd.openxmlformats-officedocument.presentationml.slideLayout+xml"/>
  <Override PartName="/ppt/slideLayouts/slideLayout839.xml" ContentType="application/vnd.openxmlformats-officedocument.presentationml.slideLayout+xml"/>
  <Override PartName="/ppt/slideLayouts/slideLayout840.xml" ContentType="application/vnd.openxmlformats-officedocument.presentationml.slideLayout+xml"/>
  <Override PartName="/ppt/slideLayouts/slideLayout841.xml" ContentType="application/vnd.openxmlformats-officedocument.presentationml.slideLayout+xml"/>
  <Override PartName="/ppt/slideLayouts/slideLayout842.xml" ContentType="application/vnd.openxmlformats-officedocument.presentationml.slideLayout+xml"/>
  <Override PartName="/ppt/slideLayouts/slideLayout843.xml" ContentType="application/vnd.openxmlformats-officedocument.presentationml.slideLayout+xml"/>
  <Override PartName="/ppt/slideLayouts/slideLayout844.xml" ContentType="application/vnd.openxmlformats-officedocument.presentationml.slideLayout+xml"/>
  <Override PartName="/ppt/slideLayouts/slideLayout845.xml" ContentType="application/vnd.openxmlformats-officedocument.presentationml.slideLayout+xml"/>
  <Override PartName="/ppt/slideLayouts/slideLayout846.xml" ContentType="application/vnd.openxmlformats-officedocument.presentationml.slideLayout+xml"/>
  <Override PartName="/ppt/slideLayouts/slideLayout847.xml" ContentType="application/vnd.openxmlformats-officedocument.presentationml.slideLayout+xml"/>
  <Override PartName="/ppt/slideLayouts/slideLayout848.xml" ContentType="application/vnd.openxmlformats-officedocument.presentationml.slideLayout+xml"/>
  <Override PartName="/ppt/slideLayouts/slideLayout849.xml" ContentType="application/vnd.openxmlformats-officedocument.presentationml.slideLayout+xml"/>
  <Override PartName="/ppt/slideLayouts/slideLayout850.xml" ContentType="application/vnd.openxmlformats-officedocument.presentationml.slideLayout+xml"/>
  <Override PartName="/ppt/slideLayouts/slideLayout851.xml" ContentType="application/vnd.openxmlformats-officedocument.presentationml.slideLayout+xml"/>
  <Override PartName="/ppt/slideLayouts/slideLayout852.xml" ContentType="application/vnd.openxmlformats-officedocument.presentationml.slideLayout+xml"/>
  <Override PartName="/ppt/slideLayouts/slideLayout853.xml" ContentType="application/vnd.openxmlformats-officedocument.presentationml.slideLayout+xml"/>
  <Override PartName="/ppt/slideLayouts/slideLayout854.xml" ContentType="application/vnd.openxmlformats-officedocument.presentationml.slideLayout+xml"/>
  <Override PartName="/ppt/slideLayouts/slideLayout855.xml" ContentType="application/vnd.openxmlformats-officedocument.presentationml.slideLayout+xml"/>
  <Override PartName="/ppt/slideLayouts/slideLayout856.xml" ContentType="application/vnd.openxmlformats-officedocument.presentationml.slideLayout+xml"/>
  <Override PartName="/ppt/slideLayouts/slideLayout857.xml" ContentType="application/vnd.openxmlformats-officedocument.presentationml.slideLayout+xml"/>
  <Override PartName="/ppt/slideLayouts/slideLayout858.xml" ContentType="application/vnd.openxmlformats-officedocument.presentationml.slideLayout+xml"/>
  <Override PartName="/ppt/slideLayouts/slideLayout859.xml" ContentType="application/vnd.openxmlformats-officedocument.presentationml.slideLayout+xml"/>
  <Override PartName="/ppt/slideLayouts/slideLayout860.xml" ContentType="application/vnd.openxmlformats-officedocument.presentationml.slideLayout+xml"/>
  <Override PartName="/ppt/slideLayouts/slideLayout861.xml" ContentType="application/vnd.openxmlformats-officedocument.presentationml.slideLayout+xml"/>
  <Override PartName="/ppt/slideLayouts/slideLayout862.xml" ContentType="application/vnd.openxmlformats-officedocument.presentationml.slideLayout+xml"/>
  <Override PartName="/ppt/slideLayouts/slideLayout863.xml" ContentType="application/vnd.openxmlformats-officedocument.presentationml.slideLayout+xml"/>
  <Override PartName="/ppt/slideLayouts/slideLayout864.xml" ContentType="application/vnd.openxmlformats-officedocument.presentationml.slideLayout+xml"/>
  <Override PartName="/ppt/slideLayouts/slideLayout865.xml" ContentType="application/vnd.openxmlformats-officedocument.presentationml.slideLayout+xml"/>
  <Override PartName="/ppt/slideLayouts/slideLayout866.xml" ContentType="application/vnd.openxmlformats-officedocument.presentationml.slideLayout+xml"/>
  <Override PartName="/ppt/slideLayouts/slideLayout867.xml" ContentType="application/vnd.openxmlformats-officedocument.presentationml.slideLayout+xml"/>
  <Override PartName="/ppt/slideLayouts/slideLayout868.xml" ContentType="application/vnd.openxmlformats-officedocument.presentationml.slideLayout+xml"/>
  <Override PartName="/ppt/slideLayouts/slideLayout869.xml" ContentType="application/vnd.openxmlformats-officedocument.presentationml.slideLayout+xml"/>
  <Override PartName="/ppt/slideLayouts/slideLayout870.xml" ContentType="application/vnd.openxmlformats-officedocument.presentationml.slideLayout+xml"/>
  <Override PartName="/ppt/slideLayouts/slideLayout871.xml" ContentType="application/vnd.openxmlformats-officedocument.presentationml.slideLayout+xml"/>
  <Override PartName="/ppt/slideLayouts/slideLayout872.xml" ContentType="application/vnd.openxmlformats-officedocument.presentationml.slideLayout+xml"/>
  <Override PartName="/ppt/slideLayouts/slideLayout873.xml" ContentType="application/vnd.openxmlformats-officedocument.presentationml.slideLayout+xml"/>
  <Override PartName="/ppt/slideLayouts/slideLayout874.xml" ContentType="application/vnd.openxmlformats-officedocument.presentationml.slideLayout+xml"/>
  <Override PartName="/ppt/theme/theme16.xml" ContentType="application/vnd.openxmlformats-officedocument.theme+xml"/>
  <Override PartName="/ppt/slideLayouts/slideLayout875.xml" ContentType="application/vnd.openxmlformats-officedocument.presentationml.slideLayout+xml"/>
  <Override PartName="/ppt/slideLayouts/slideLayout876.xml" ContentType="application/vnd.openxmlformats-officedocument.presentationml.slideLayout+xml"/>
  <Override PartName="/ppt/slideLayouts/slideLayout877.xml" ContentType="application/vnd.openxmlformats-officedocument.presentationml.slideLayout+xml"/>
  <Override PartName="/ppt/slideLayouts/slideLayout878.xml" ContentType="application/vnd.openxmlformats-officedocument.presentationml.slideLayout+xml"/>
  <Override PartName="/ppt/slideLayouts/slideLayout879.xml" ContentType="application/vnd.openxmlformats-officedocument.presentationml.slideLayout+xml"/>
  <Override PartName="/ppt/slideLayouts/slideLayout880.xml" ContentType="application/vnd.openxmlformats-officedocument.presentationml.slideLayout+xml"/>
  <Override PartName="/ppt/slideLayouts/slideLayout881.xml" ContentType="application/vnd.openxmlformats-officedocument.presentationml.slideLayout+xml"/>
  <Override PartName="/ppt/slideLayouts/slideLayout882.xml" ContentType="application/vnd.openxmlformats-officedocument.presentationml.slideLayout+xml"/>
  <Override PartName="/ppt/slideLayouts/slideLayout883.xml" ContentType="application/vnd.openxmlformats-officedocument.presentationml.slideLayout+xml"/>
  <Override PartName="/ppt/slideLayouts/slideLayout884.xml" ContentType="application/vnd.openxmlformats-officedocument.presentationml.slideLayout+xml"/>
  <Override PartName="/ppt/slideLayouts/slideLayout885.xml" ContentType="application/vnd.openxmlformats-officedocument.presentationml.slideLayout+xml"/>
  <Override PartName="/ppt/slideLayouts/slideLayout886.xml" ContentType="application/vnd.openxmlformats-officedocument.presentationml.slideLayout+xml"/>
  <Override PartName="/ppt/slideLayouts/slideLayout887.xml" ContentType="application/vnd.openxmlformats-officedocument.presentationml.slideLayout+xml"/>
  <Override PartName="/ppt/slideLayouts/slideLayout888.xml" ContentType="application/vnd.openxmlformats-officedocument.presentationml.slideLayout+xml"/>
  <Override PartName="/ppt/slideLayouts/slideLayout889.xml" ContentType="application/vnd.openxmlformats-officedocument.presentationml.slideLayout+xml"/>
  <Override PartName="/ppt/slideLayouts/slideLayout890.xml" ContentType="application/vnd.openxmlformats-officedocument.presentationml.slideLayout+xml"/>
  <Override PartName="/ppt/slideLayouts/slideLayout891.xml" ContentType="application/vnd.openxmlformats-officedocument.presentationml.slideLayout+xml"/>
  <Override PartName="/ppt/slideLayouts/slideLayout892.xml" ContentType="application/vnd.openxmlformats-officedocument.presentationml.slideLayout+xml"/>
  <Override PartName="/ppt/slideLayouts/slideLayout893.xml" ContentType="application/vnd.openxmlformats-officedocument.presentationml.slideLayout+xml"/>
  <Override PartName="/ppt/slideLayouts/slideLayout894.xml" ContentType="application/vnd.openxmlformats-officedocument.presentationml.slideLayout+xml"/>
  <Override PartName="/ppt/slideLayouts/slideLayout895.xml" ContentType="application/vnd.openxmlformats-officedocument.presentationml.slideLayout+xml"/>
  <Override PartName="/ppt/slideLayouts/slideLayout896.xml" ContentType="application/vnd.openxmlformats-officedocument.presentationml.slideLayout+xml"/>
  <Override PartName="/ppt/slideLayouts/slideLayout897.xml" ContentType="application/vnd.openxmlformats-officedocument.presentationml.slideLayout+xml"/>
  <Override PartName="/ppt/slideLayouts/slideLayout898.xml" ContentType="application/vnd.openxmlformats-officedocument.presentationml.slideLayout+xml"/>
  <Override PartName="/ppt/slideLayouts/slideLayout899.xml" ContentType="application/vnd.openxmlformats-officedocument.presentationml.slideLayout+xml"/>
  <Override PartName="/ppt/slideLayouts/slideLayout900.xml" ContentType="application/vnd.openxmlformats-officedocument.presentationml.slideLayout+xml"/>
  <Override PartName="/ppt/slideLayouts/slideLayout901.xml" ContentType="application/vnd.openxmlformats-officedocument.presentationml.slideLayout+xml"/>
  <Override PartName="/ppt/slideLayouts/slideLayout902.xml" ContentType="application/vnd.openxmlformats-officedocument.presentationml.slideLayout+xml"/>
  <Override PartName="/ppt/slideLayouts/slideLayout903.xml" ContentType="application/vnd.openxmlformats-officedocument.presentationml.slideLayout+xml"/>
  <Override PartName="/ppt/slideLayouts/slideLayout904.xml" ContentType="application/vnd.openxmlformats-officedocument.presentationml.slideLayout+xml"/>
  <Override PartName="/ppt/slideLayouts/slideLayout905.xml" ContentType="application/vnd.openxmlformats-officedocument.presentationml.slideLayout+xml"/>
  <Override PartName="/ppt/slideLayouts/slideLayout906.xml" ContentType="application/vnd.openxmlformats-officedocument.presentationml.slideLayout+xml"/>
  <Override PartName="/ppt/slideLayouts/slideLayout907.xml" ContentType="application/vnd.openxmlformats-officedocument.presentationml.slideLayout+xml"/>
  <Override PartName="/ppt/slideLayouts/slideLayout908.xml" ContentType="application/vnd.openxmlformats-officedocument.presentationml.slideLayout+xml"/>
  <Override PartName="/ppt/slideLayouts/slideLayout909.xml" ContentType="application/vnd.openxmlformats-officedocument.presentationml.slideLayout+xml"/>
  <Override PartName="/ppt/slideLayouts/slideLayout910.xml" ContentType="application/vnd.openxmlformats-officedocument.presentationml.slideLayout+xml"/>
  <Override PartName="/ppt/slideLayouts/slideLayout911.xml" ContentType="application/vnd.openxmlformats-officedocument.presentationml.slideLayout+xml"/>
  <Override PartName="/ppt/theme/theme17.xml" ContentType="application/vnd.openxmlformats-officedocument.theme+xml"/>
  <Override PartName="/ppt/slideLayouts/slideLayout912.xml" ContentType="application/vnd.openxmlformats-officedocument.presentationml.slideLayout+xml"/>
  <Override PartName="/ppt/slideLayouts/slideLayout913.xml" ContentType="application/vnd.openxmlformats-officedocument.presentationml.slideLayout+xml"/>
  <Override PartName="/ppt/slideLayouts/slideLayout914.xml" ContentType="application/vnd.openxmlformats-officedocument.presentationml.slideLayout+xml"/>
  <Override PartName="/ppt/slideLayouts/slideLayout915.xml" ContentType="application/vnd.openxmlformats-officedocument.presentationml.slideLayout+xml"/>
  <Override PartName="/ppt/slideLayouts/slideLayout916.xml" ContentType="application/vnd.openxmlformats-officedocument.presentationml.slideLayout+xml"/>
  <Override PartName="/ppt/slideLayouts/slideLayout917.xml" ContentType="application/vnd.openxmlformats-officedocument.presentationml.slideLayout+xml"/>
  <Override PartName="/ppt/slideLayouts/slideLayout918.xml" ContentType="application/vnd.openxmlformats-officedocument.presentationml.slideLayout+xml"/>
  <Override PartName="/ppt/slideLayouts/slideLayout919.xml" ContentType="application/vnd.openxmlformats-officedocument.presentationml.slideLayout+xml"/>
  <Override PartName="/ppt/slideLayouts/slideLayout920.xml" ContentType="application/vnd.openxmlformats-officedocument.presentationml.slideLayout+xml"/>
  <Override PartName="/ppt/slideLayouts/slideLayout921.xml" ContentType="application/vnd.openxmlformats-officedocument.presentationml.slideLayout+xml"/>
  <Override PartName="/ppt/slideLayouts/slideLayout922.xml" ContentType="application/vnd.openxmlformats-officedocument.presentationml.slideLayout+xml"/>
  <Override PartName="/ppt/slideLayouts/slideLayout923.xml" ContentType="application/vnd.openxmlformats-officedocument.presentationml.slideLayout+xml"/>
  <Override PartName="/ppt/slideLayouts/slideLayout924.xml" ContentType="application/vnd.openxmlformats-officedocument.presentationml.slideLayout+xml"/>
  <Override PartName="/ppt/slideLayouts/slideLayout925.xml" ContentType="application/vnd.openxmlformats-officedocument.presentationml.slideLayout+xml"/>
  <Override PartName="/ppt/slideLayouts/slideLayout926.xml" ContentType="application/vnd.openxmlformats-officedocument.presentationml.slideLayout+xml"/>
  <Override PartName="/ppt/slideLayouts/slideLayout927.xml" ContentType="application/vnd.openxmlformats-officedocument.presentationml.slideLayout+xml"/>
  <Override PartName="/ppt/slideLayouts/slideLayout928.xml" ContentType="application/vnd.openxmlformats-officedocument.presentationml.slideLayout+xml"/>
  <Override PartName="/ppt/slideLayouts/slideLayout929.xml" ContentType="application/vnd.openxmlformats-officedocument.presentationml.slideLayout+xml"/>
  <Override PartName="/ppt/slideLayouts/slideLayout930.xml" ContentType="application/vnd.openxmlformats-officedocument.presentationml.slideLayout+xml"/>
  <Override PartName="/ppt/slideLayouts/slideLayout931.xml" ContentType="application/vnd.openxmlformats-officedocument.presentationml.slideLayout+xml"/>
  <Override PartName="/ppt/slideLayouts/slideLayout932.xml" ContentType="application/vnd.openxmlformats-officedocument.presentationml.slideLayout+xml"/>
  <Override PartName="/ppt/slideLayouts/slideLayout933.xml" ContentType="application/vnd.openxmlformats-officedocument.presentationml.slideLayout+xml"/>
  <Override PartName="/ppt/slideLayouts/slideLayout934.xml" ContentType="application/vnd.openxmlformats-officedocument.presentationml.slideLayout+xml"/>
  <Override PartName="/ppt/slideLayouts/slideLayout935.xml" ContentType="application/vnd.openxmlformats-officedocument.presentationml.slideLayout+xml"/>
  <Override PartName="/ppt/slideLayouts/slideLayout936.xml" ContentType="application/vnd.openxmlformats-officedocument.presentationml.slideLayout+xml"/>
  <Override PartName="/ppt/slideLayouts/slideLayout937.xml" ContentType="application/vnd.openxmlformats-officedocument.presentationml.slideLayout+xml"/>
  <Override PartName="/ppt/slideLayouts/slideLayout938.xml" ContentType="application/vnd.openxmlformats-officedocument.presentationml.slideLayout+xml"/>
  <Override PartName="/ppt/slideLayouts/slideLayout939.xml" ContentType="application/vnd.openxmlformats-officedocument.presentationml.slideLayout+xml"/>
  <Override PartName="/ppt/slideLayouts/slideLayout940.xml" ContentType="application/vnd.openxmlformats-officedocument.presentationml.slideLayout+xml"/>
  <Override PartName="/ppt/slideLayouts/slideLayout941.xml" ContentType="application/vnd.openxmlformats-officedocument.presentationml.slideLayout+xml"/>
  <Override PartName="/ppt/theme/theme18.xml" ContentType="application/vnd.openxmlformats-officedocument.theme+xml"/>
  <Override PartName="/ppt/slideLayouts/slideLayout942.xml" ContentType="application/vnd.openxmlformats-officedocument.presentationml.slideLayout+xml"/>
  <Override PartName="/ppt/slideLayouts/slideLayout943.xml" ContentType="application/vnd.openxmlformats-officedocument.presentationml.slideLayout+xml"/>
  <Override PartName="/ppt/slideLayouts/slideLayout944.xml" ContentType="application/vnd.openxmlformats-officedocument.presentationml.slideLayout+xml"/>
  <Override PartName="/ppt/slideLayouts/slideLayout945.xml" ContentType="application/vnd.openxmlformats-officedocument.presentationml.slideLayout+xml"/>
  <Override PartName="/ppt/slideLayouts/slideLayout946.xml" ContentType="application/vnd.openxmlformats-officedocument.presentationml.slideLayout+xml"/>
  <Override PartName="/ppt/slideLayouts/slideLayout947.xml" ContentType="application/vnd.openxmlformats-officedocument.presentationml.slideLayout+xml"/>
  <Override PartName="/ppt/slideLayouts/slideLayout948.xml" ContentType="application/vnd.openxmlformats-officedocument.presentationml.slideLayout+xml"/>
  <Override PartName="/ppt/slideLayouts/slideLayout949.xml" ContentType="application/vnd.openxmlformats-officedocument.presentationml.slideLayout+xml"/>
  <Override PartName="/ppt/slideLayouts/slideLayout950.xml" ContentType="application/vnd.openxmlformats-officedocument.presentationml.slideLayout+xml"/>
  <Override PartName="/ppt/slideLayouts/slideLayout951.xml" ContentType="application/vnd.openxmlformats-officedocument.presentationml.slideLayout+xml"/>
  <Override PartName="/ppt/slideLayouts/slideLayout952.xml" ContentType="application/vnd.openxmlformats-officedocument.presentationml.slideLayout+xml"/>
  <Override PartName="/ppt/slideLayouts/slideLayout953.xml" ContentType="application/vnd.openxmlformats-officedocument.presentationml.slideLayout+xml"/>
  <Override PartName="/ppt/slideLayouts/slideLayout954.xml" ContentType="application/vnd.openxmlformats-officedocument.presentationml.slideLayout+xml"/>
  <Override PartName="/ppt/slideLayouts/slideLayout955.xml" ContentType="application/vnd.openxmlformats-officedocument.presentationml.slideLayout+xml"/>
  <Override PartName="/ppt/slideLayouts/slideLayout956.xml" ContentType="application/vnd.openxmlformats-officedocument.presentationml.slideLayout+xml"/>
  <Override PartName="/ppt/slideLayouts/slideLayout957.xml" ContentType="application/vnd.openxmlformats-officedocument.presentationml.slideLayout+xml"/>
  <Override PartName="/ppt/slideLayouts/slideLayout958.xml" ContentType="application/vnd.openxmlformats-officedocument.presentationml.slideLayout+xml"/>
  <Override PartName="/ppt/theme/theme19.xml" ContentType="application/vnd.openxmlformats-officedocument.theme+xml"/>
  <Override PartName="/ppt/slideLayouts/slideLayout959.xml" ContentType="application/vnd.openxmlformats-officedocument.presentationml.slideLayout+xml"/>
  <Override PartName="/ppt/slideLayouts/slideLayout960.xml" ContentType="application/vnd.openxmlformats-officedocument.presentationml.slideLayout+xml"/>
  <Override PartName="/ppt/slideLayouts/slideLayout961.xml" ContentType="application/vnd.openxmlformats-officedocument.presentationml.slideLayout+xml"/>
  <Override PartName="/ppt/slideLayouts/slideLayout962.xml" ContentType="application/vnd.openxmlformats-officedocument.presentationml.slideLayout+xml"/>
  <Override PartName="/ppt/slideLayouts/slideLayout963.xml" ContentType="application/vnd.openxmlformats-officedocument.presentationml.slideLayout+xml"/>
  <Override PartName="/ppt/slideLayouts/slideLayout964.xml" ContentType="application/vnd.openxmlformats-officedocument.presentationml.slideLayout+xml"/>
  <Override PartName="/ppt/slideLayouts/slideLayout965.xml" ContentType="application/vnd.openxmlformats-officedocument.presentationml.slideLayout+xml"/>
  <Override PartName="/ppt/slideLayouts/slideLayout966.xml" ContentType="application/vnd.openxmlformats-officedocument.presentationml.slideLayout+xml"/>
  <Override PartName="/ppt/slideLayouts/slideLayout967.xml" ContentType="application/vnd.openxmlformats-officedocument.presentationml.slideLayout+xml"/>
  <Override PartName="/ppt/slideLayouts/slideLayout968.xml" ContentType="application/vnd.openxmlformats-officedocument.presentationml.slideLayout+xml"/>
  <Override PartName="/ppt/slideLayouts/slideLayout969.xml" ContentType="application/vnd.openxmlformats-officedocument.presentationml.slideLayout+xml"/>
  <Override PartName="/ppt/slideLayouts/slideLayout970.xml" ContentType="application/vnd.openxmlformats-officedocument.presentationml.slideLayout+xml"/>
  <Override PartName="/ppt/slideLayouts/slideLayout971.xml" ContentType="application/vnd.openxmlformats-officedocument.presentationml.slideLayout+xml"/>
  <Override PartName="/ppt/slideLayouts/slideLayout972.xml" ContentType="application/vnd.openxmlformats-officedocument.presentationml.slideLayout+xml"/>
  <Override PartName="/ppt/slideLayouts/slideLayout973.xml" ContentType="application/vnd.openxmlformats-officedocument.presentationml.slideLayout+xml"/>
  <Override PartName="/ppt/slideLayouts/slideLayout974.xml" ContentType="application/vnd.openxmlformats-officedocument.presentationml.slideLayout+xml"/>
  <Override PartName="/ppt/slideLayouts/slideLayout975.xml" ContentType="application/vnd.openxmlformats-officedocument.presentationml.slideLayout+xml"/>
  <Override PartName="/ppt/slideLayouts/slideLayout976.xml" ContentType="application/vnd.openxmlformats-officedocument.presentationml.slideLayout+xml"/>
  <Override PartName="/ppt/slideLayouts/slideLayout977.xml" ContentType="application/vnd.openxmlformats-officedocument.presentationml.slideLayout+xml"/>
  <Override PartName="/ppt/slideLayouts/slideLayout978.xml" ContentType="application/vnd.openxmlformats-officedocument.presentationml.slideLayout+xml"/>
  <Override PartName="/ppt/slideLayouts/slideLayout979.xml" ContentType="application/vnd.openxmlformats-officedocument.presentationml.slideLayout+xml"/>
  <Override PartName="/ppt/slideLayouts/slideLayout980.xml" ContentType="application/vnd.openxmlformats-officedocument.presentationml.slideLayout+xml"/>
  <Override PartName="/ppt/slideLayouts/slideLayout981.xml" ContentType="application/vnd.openxmlformats-officedocument.presentationml.slideLayout+xml"/>
  <Override PartName="/ppt/slideLayouts/slideLayout982.xml" ContentType="application/vnd.openxmlformats-officedocument.presentationml.slideLayout+xml"/>
  <Override PartName="/ppt/slideLayouts/slideLayout983.xml" ContentType="application/vnd.openxmlformats-officedocument.presentationml.slideLayout+xml"/>
  <Override PartName="/ppt/slideLayouts/slideLayout984.xml" ContentType="application/vnd.openxmlformats-officedocument.presentationml.slideLayout+xml"/>
  <Override PartName="/ppt/slideLayouts/slideLayout985.xml" ContentType="application/vnd.openxmlformats-officedocument.presentationml.slideLayout+xml"/>
  <Override PartName="/ppt/slideLayouts/slideLayout986.xml" ContentType="application/vnd.openxmlformats-officedocument.presentationml.slideLayout+xml"/>
  <Override PartName="/ppt/slideLayouts/slideLayout987.xml" ContentType="application/vnd.openxmlformats-officedocument.presentationml.slideLayout+xml"/>
  <Override PartName="/ppt/slideLayouts/slideLayout988.xml" ContentType="application/vnd.openxmlformats-officedocument.presentationml.slideLayout+xml"/>
  <Override PartName="/ppt/slideLayouts/slideLayout989.xml" ContentType="application/vnd.openxmlformats-officedocument.presentationml.slideLayout+xml"/>
  <Override PartName="/ppt/slideLayouts/slideLayout990.xml" ContentType="application/vnd.openxmlformats-officedocument.presentationml.slideLayout+xml"/>
  <Override PartName="/ppt/slideLayouts/slideLayout991.xml" ContentType="application/vnd.openxmlformats-officedocument.presentationml.slideLayout+xml"/>
  <Override PartName="/ppt/slideLayouts/slideLayout992.xml" ContentType="application/vnd.openxmlformats-officedocument.presentationml.slideLayout+xml"/>
  <Override PartName="/ppt/slideLayouts/slideLayout993.xml" ContentType="application/vnd.openxmlformats-officedocument.presentationml.slideLayout+xml"/>
  <Override PartName="/ppt/slideLayouts/slideLayout994.xml" ContentType="application/vnd.openxmlformats-officedocument.presentationml.slideLayout+xml"/>
  <Override PartName="/ppt/slideLayouts/slideLayout995.xml" ContentType="application/vnd.openxmlformats-officedocument.presentationml.slideLayout+xml"/>
  <Override PartName="/ppt/slideLayouts/slideLayout996.xml" ContentType="application/vnd.openxmlformats-officedocument.presentationml.slideLayout+xml"/>
  <Override PartName="/ppt/slideLayouts/slideLayout997.xml" ContentType="application/vnd.openxmlformats-officedocument.presentationml.slideLayout+xml"/>
  <Override PartName="/ppt/theme/theme20.xml" ContentType="application/vnd.openxmlformats-officedocument.theme+xml"/>
  <Override PartName="/ppt/slideLayouts/slideLayout998.xml" ContentType="application/vnd.openxmlformats-officedocument.presentationml.slideLayout+xml"/>
  <Override PartName="/ppt/slideLayouts/slideLayout999.xml" ContentType="application/vnd.openxmlformats-officedocument.presentationml.slideLayout+xml"/>
  <Override PartName="/ppt/slideLayouts/slideLayout1000.xml" ContentType="application/vnd.openxmlformats-officedocument.presentationml.slideLayout+xml"/>
  <Override PartName="/ppt/slideLayouts/slideLayout1001.xml" ContentType="application/vnd.openxmlformats-officedocument.presentationml.slideLayout+xml"/>
  <Override PartName="/ppt/slideLayouts/slideLayout1002.xml" ContentType="application/vnd.openxmlformats-officedocument.presentationml.slideLayout+xml"/>
  <Override PartName="/ppt/slideLayouts/slideLayout1003.xml" ContentType="application/vnd.openxmlformats-officedocument.presentationml.slideLayout+xml"/>
  <Override PartName="/ppt/slideLayouts/slideLayout1004.xml" ContentType="application/vnd.openxmlformats-officedocument.presentationml.slideLayout+xml"/>
  <Override PartName="/ppt/slideLayouts/slideLayout1005.xml" ContentType="application/vnd.openxmlformats-officedocument.presentationml.slideLayout+xml"/>
  <Override PartName="/ppt/slideLayouts/slideLayout1006.xml" ContentType="application/vnd.openxmlformats-officedocument.presentationml.slideLayout+xml"/>
  <Override PartName="/ppt/slideLayouts/slideLayout1007.xml" ContentType="application/vnd.openxmlformats-officedocument.presentationml.slideLayout+xml"/>
  <Override PartName="/ppt/slideLayouts/slideLayout1008.xml" ContentType="application/vnd.openxmlformats-officedocument.presentationml.slideLayout+xml"/>
  <Override PartName="/ppt/slideLayouts/slideLayout1009.xml" ContentType="application/vnd.openxmlformats-officedocument.presentationml.slideLayout+xml"/>
  <Override PartName="/ppt/slideLayouts/slideLayout1010.xml" ContentType="application/vnd.openxmlformats-officedocument.presentationml.slideLayout+xml"/>
  <Override PartName="/ppt/slideLayouts/slideLayout1011.xml" ContentType="application/vnd.openxmlformats-officedocument.presentationml.slideLayout+xml"/>
  <Override PartName="/ppt/slideLayouts/slideLayout1012.xml" ContentType="application/vnd.openxmlformats-officedocument.presentationml.slideLayout+xml"/>
  <Override PartName="/ppt/slideLayouts/slideLayout1013.xml" ContentType="application/vnd.openxmlformats-officedocument.presentationml.slideLayout+xml"/>
  <Override PartName="/ppt/slideLayouts/slideLayout1014.xml" ContentType="application/vnd.openxmlformats-officedocument.presentationml.slideLayout+xml"/>
  <Override PartName="/ppt/slideLayouts/slideLayout1015.xml" ContentType="application/vnd.openxmlformats-officedocument.presentationml.slideLayout+xml"/>
  <Override PartName="/ppt/slideLayouts/slideLayout1016.xml" ContentType="application/vnd.openxmlformats-officedocument.presentationml.slideLayout+xml"/>
  <Override PartName="/ppt/slideLayouts/slideLayout1017.xml" ContentType="application/vnd.openxmlformats-officedocument.presentationml.slideLayout+xml"/>
  <Override PartName="/ppt/slideLayouts/slideLayout1018.xml" ContentType="application/vnd.openxmlformats-officedocument.presentationml.slideLayout+xml"/>
  <Override PartName="/ppt/slideLayouts/slideLayout1019.xml" ContentType="application/vnd.openxmlformats-officedocument.presentationml.slideLayout+xml"/>
  <Override PartName="/ppt/slideLayouts/slideLayout1020.xml" ContentType="application/vnd.openxmlformats-officedocument.presentationml.slideLayout+xml"/>
  <Override PartName="/ppt/slideLayouts/slideLayout1021.xml" ContentType="application/vnd.openxmlformats-officedocument.presentationml.slideLayout+xml"/>
  <Override PartName="/ppt/slideLayouts/slideLayout1022.xml" ContentType="application/vnd.openxmlformats-officedocument.presentationml.slideLayout+xml"/>
  <Override PartName="/ppt/slideLayouts/slideLayout1023.xml" ContentType="application/vnd.openxmlformats-officedocument.presentationml.slideLayout+xml"/>
  <Override PartName="/ppt/slideLayouts/slideLayout1024.xml" ContentType="application/vnd.openxmlformats-officedocument.presentationml.slideLayout+xml"/>
  <Override PartName="/ppt/slideLayouts/slideLayout1025.xml" ContentType="application/vnd.openxmlformats-officedocument.presentationml.slideLayout+xml"/>
  <Override PartName="/ppt/slideLayouts/slideLayout1026.xml" ContentType="application/vnd.openxmlformats-officedocument.presentationml.slideLayout+xml"/>
  <Override PartName="/ppt/slideLayouts/slideLayout1027.xml" ContentType="application/vnd.openxmlformats-officedocument.presentationml.slideLayout+xml"/>
  <Override PartName="/ppt/slideLayouts/slideLayout1028.xml" ContentType="application/vnd.openxmlformats-officedocument.presentationml.slideLayout+xml"/>
  <Override PartName="/ppt/slideLayouts/slideLayout1029.xml" ContentType="application/vnd.openxmlformats-officedocument.presentationml.slideLayout+xml"/>
  <Override PartName="/ppt/slideLayouts/slideLayout1030.xml" ContentType="application/vnd.openxmlformats-officedocument.presentationml.slideLayout+xml"/>
  <Override PartName="/ppt/slideLayouts/slideLayout1031.xml" ContentType="application/vnd.openxmlformats-officedocument.presentationml.slideLayout+xml"/>
  <Override PartName="/ppt/slideLayouts/slideLayout1032.xml" ContentType="application/vnd.openxmlformats-officedocument.presentationml.slideLayout+xml"/>
  <Override PartName="/ppt/slideLayouts/slideLayout1033.xml" ContentType="application/vnd.openxmlformats-officedocument.presentationml.slideLayout+xml"/>
  <Override PartName="/ppt/slideLayouts/slideLayout1034.xml" ContentType="application/vnd.openxmlformats-officedocument.presentationml.slideLayout+xml"/>
  <Override PartName="/ppt/slideLayouts/slideLayout1035.xml" ContentType="application/vnd.openxmlformats-officedocument.presentationml.slideLayout+xml"/>
  <Override PartName="/ppt/slideLayouts/slideLayout1036.xml" ContentType="application/vnd.openxmlformats-officedocument.presentationml.slideLayout+xml"/>
  <Override PartName="/ppt/slideLayouts/slideLayout1037.xml" ContentType="application/vnd.openxmlformats-officedocument.presentationml.slideLayout+xml"/>
  <Override PartName="/ppt/slideLayouts/slideLayout1038.xml" ContentType="application/vnd.openxmlformats-officedocument.presentationml.slideLayout+xml"/>
  <Override PartName="/ppt/slideLayouts/slideLayout1039.xml" ContentType="application/vnd.openxmlformats-officedocument.presentationml.slideLayout+xml"/>
  <Override PartName="/ppt/slideLayouts/slideLayout1040.xml" ContentType="application/vnd.openxmlformats-officedocument.presentationml.slideLayout+xml"/>
  <Override PartName="/ppt/slideLayouts/slideLayout1041.xml" ContentType="application/vnd.openxmlformats-officedocument.presentationml.slideLayout+xml"/>
  <Override PartName="/ppt/slideLayouts/slideLayout1042.xml" ContentType="application/vnd.openxmlformats-officedocument.presentationml.slideLayout+xml"/>
  <Override PartName="/ppt/slideLayouts/slideLayout1043.xml" ContentType="application/vnd.openxmlformats-officedocument.presentationml.slideLayout+xml"/>
  <Override PartName="/ppt/slideLayouts/slideLayout1044.xml" ContentType="application/vnd.openxmlformats-officedocument.presentationml.slideLayout+xml"/>
  <Override PartName="/ppt/slideLayouts/slideLayout1045.xml" ContentType="application/vnd.openxmlformats-officedocument.presentationml.slideLayout+xml"/>
  <Override PartName="/ppt/slideLayouts/slideLayout1046.xml" ContentType="application/vnd.openxmlformats-officedocument.presentationml.slideLayout+xml"/>
  <Override PartName="/ppt/slideLayouts/slideLayout1047.xml" ContentType="application/vnd.openxmlformats-officedocument.presentationml.slideLayout+xml"/>
  <Override PartName="/ppt/slideLayouts/slideLayout1048.xml" ContentType="application/vnd.openxmlformats-officedocument.presentationml.slideLayout+xml"/>
  <Override PartName="/ppt/slideLayouts/slideLayout1049.xml" ContentType="application/vnd.openxmlformats-officedocument.presentationml.slideLayout+xml"/>
  <Override PartName="/ppt/slideLayouts/slideLayout1050.xml" ContentType="application/vnd.openxmlformats-officedocument.presentationml.slideLayout+xml"/>
  <Override PartName="/ppt/slideLayouts/slideLayout1051.xml" ContentType="application/vnd.openxmlformats-officedocument.presentationml.slideLayout+xml"/>
  <Override PartName="/ppt/slideLayouts/slideLayout1052.xml" ContentType="application/vnd.openxmlformats-officedocument.presentationml.slideLayout+xml"/>
  <Override PartName="/ppt/slideLayouts/slideLayout1053.xml" ContentType="application/vnd.openxmlformats-officedocument.presentationml.slideLayout+xml"/>
  <Override PartName="/ppt/slideLayouts/slideLayout1054.xml" ContentType="application/vnd.openxmlformats-officedocument.presentationml.slideLayout+xml"/>
  <Override PartName="/ppt/slideLayouts/slideLayout1055.xml" ContentType="application/vnd.openxmlformats-officedocument.presentationml.slideLayout+xml"/>
  <Override PartName="/ppt/slideLayouts/slideLayout1056.xml" ContentType="application/vnd.openxmlformats-officedocument.presentationml.slideLayout+xml"/>
  <Override PartName="/ppt/slideLayouts/slideLayout1057.xml" ContentType="application/vnd.openxmlformats-officedocument.presentationml.slideLayout+xml"/>
  <Override PartName="/ppt/slideLayouts/slideLayout1058.xml" ContentType="application/vnd.openxmlformats-officedocument.presentationml.slideLayout+xml"/>
  <Override PartName="/ppt/slideLayouts/slideLayout1059.xml" ContentType="application/vnd.openxmlformats-officedocument.presentationml.slideLayout+xml"/>
  <Override PartName="/ppt/slideLayouts/slideLayout1060.xml" ContentType="application/vnd.openxmlformats-officedocument.presentationml.slideLayout+xml"/>
  <Override PartName="/ppt/theme/theme21.xml" ContentType="application/vnd.openxmlformats-officedocument.theme+xml"/>
  <Override PartName="/ppt/slideLayouts/slideLayout1061.xml" ContentType="application/vnd.openxmlformats-officedocument.presentationml.slideLayout+xml"/>
  <Override PartName="/ppt/slideLayouts/slideLayout1062.xml" ContentType="application/vnd.openxmlformats-officedocument.presentationml.slideLayout+xml"/>
  <Override PartName="/ppt/slideLayouts/slideLayout1063.xml" ContentType="application/vnd.openxmlformats-officedocument.presentationml.slideLayout+xml"/>
  <Override PartName="/ppt/slideLayouts/slideLayout1064.xml" ContentType="application/vnd.openxmlformats-officedocument.presentationml.slideLayout+xml"/>
  <Override PartName="/ppt/slideLayouts/slideLayout1065.xml" ContentType="application/vnd.openxmlformats-officedocument.presentationml.slideLayout+xml"/>
  <Override PartName="/ppt/slideLayouts/slideLayout1066.xml" ContentType="application/vnd.openxmlformats-officedocument.presentationml.slideLayout+xml"/>
  <Override PartName="/ppt/slideLayouts/slideLayout1067.xml" ContentType="application/vnd.openxmlformats-officedocument.presentationml.slideLayout+xml"/>
  <Override PartName="/ppt/slideLayouts/slideLayout1068.xml" ContentType="application/vnd.openxmlformats-officedocument.presentationml.slideLayout+xml"/>
  <Override PartName="/ppt/slideLayouts/slideLayout1069.xml" ContentType="application/vnd.openxmlformats-officedocument.presentationml.slideLayout+xml"/>
  <Override PartName="/ppt/slideLayouts/slideLayout1070.xml" ContentType="application/vnd.openxmlformats-officedocument.presentationml.slideLayout+xml"/>
  <Override PartName="/ppt/slideLayouts/slideLayout1071.xml" ContentType="application/vnd.openxmlformats-officedocument.presentationml.slideLayout+xml"/>
  <Override PartName="/ppt/slideLayouts/slideLayout1072.xml" ContentType="application/vnd.openxmlformats-officedocument.presentationml.slideLayout+xml"/>
  <Override PartName="/ppt/slideLayouts/slideLayout1073.xml" ContentType="application/vnd.openxmlformats-officedocument.presentationml.slideLayout+xml"/>
  <Override PartName="/ppt/slideLayouts/slideLayout1074.xml" ContentType="application/vnd.openxmlformats-officedocument.presentationml.slideLayout+xml"/>
  <Override PartName="/ppt/slideLayouts/slideLayout1075.xml" ContentType="application/vnd.openxmlformats-officedocument.presentationml.slideLayout+xml"/>
  <Override PartName="/ppt/slideLayouts/slideLayout1076.xml" ContentType="application/vnd.openxmlformats-officedocument.presentationml.slideLayout+xml"/>
  <Override PartName="/ppt/slideLayouts/slideLayout1077.xml" ContentType="application/vnd.openxmlformats-officedocument.presentationml.slideLayout+xml"/>
  <Override PartName="/ppt/slideLayouts/slideLayout1078.xml" ContentType="application/vnd.openxmlformats-officedocument.presentationml.slideLayout+xml"/>
  <Override PartName="/ppt/slideLayouts/slideLayout1079.xml" ContentType="application/vnd.openxmlformats-officedocument.presentationml.slideLayout+xml"/>
  <Override PartName="/ppt/slideLayouts/slideLayout1080.xml" ContentType="application/vnd.openxmlformats-officedocument.presentationml.slideLayout+xml"/>
  <Override PartName="/ppt/slideLayouts/slideLayout1081.xml" ContentType="application/vnd.openxmlformats-officedocument.presentationml.slideLayout+xml"/>
  <Override PartName="/ppt/slideLayouts/slideLayout1082.xml" ContentType="application/vnd.openxmlformats-officedocument.presentationml.slideLayout+xml"/>
  <Override PartName="/ppt/slideLayouts/slideLayout1083.xml" ContentType="application/vnd.openxmlformats-officedocument.presentationml.slideLayout+xml"/>
  <Override PartName="/ppt/slideLayouts/slideLayout1084.xml" ContentType="application/vnd.openxmlformats-officedocument.presentationml.slideLayout+xml"/>
  <Override PartName="/ppt/slideLayouts/slideLayout1085.xml" ContentType="application/vnd.openxmlformats-officedocument.presentationml.slideLayout+xml"/>
  <Override PartName="/ppt/slideLayouts/slideLayout1086.xml" ContentType="application/vnd.openxmlformats-officedocument.presentationml.slideLayout+xml"/>
  <Override PartName="/ppt/slideLayouts/slideLayout1087.xml" ContentType="application/vnd.openxmlformats-officedocument.presentationml.slideLayout+xml"/>
  <Override PartName="/ppt/slideLayouts/slideLayout1088.xml" ContentType="application/vnd.openxmlformats-officedocument.presentationml.slideLayout+xml"/>
  <Override PartName="/ppt/slideLayouts/slideLayout1089.xml" ContentType="application/vnd.openxmlformats-officedocument.presentationml.slideLayout+xml"/>
  <Override PartName="/ppt/slideLayouts/slideLayout1090.xml" ContentType="application/vnd.openxmlformats-officedocument.presentationml.slideLayout+xml"/>
  <Override PartName="/ppt/slideLayouts/slideLayout1091.xml" ContentType="application/vnd.openxmlformats-officedocument.presentationml.slideLayout+xml"/>
  <Override PartName="/ppt/slideLayouts/slideLayout1092.xml" ContentType="application/vnd.openxmlformats-officedocument.presentationml.slideLayout+xml"/>
  <Override PartName="/ppt/slideLayouts/slideLayout1093.xml" ContentType="application/vnd.openxmlformats-officedocument.presentationml.slideLayout+xml"/>
  <Override PartName="/ppt/slideLayouts/slideLayout1094.xml" ContentType="application/vnd.openxmlformats-officedocument.presentationml.slideLayout+xml"/>
  <Override PartName="/ppt/slideLayouts/slideLayout1095.xml" ContentType="application/vnd.openxmlformats-officedocument.presentationml.slideLayout+xml"/>
  <Override PartName="/ppt/slideLayouts/slideLayout1096.xml" ContentType="application/vnd.openxmlformats-officedocument.presentationml.slideLayout+xml"/>
  <Override PartName="/ppt/slideLayouts/slideLayout1097.xml" ContentType="application/vnd.openxmlformats-officedocument.presentationml.slideLayout+xml"/>
  <Override PartName="/ppt/slideLayouts/slideLayout1098.xml" ContentType="application/vnd.openxmlformats-officedocument.presentationml.slideLayout+xml"/>
  <Override PartName="/ppt/slideLayouts/slideLayout1099.xml" ContentType="application/vnd.openxmlformats-officedocument.presentationml.slideLayout+xml"/>
  <Override PartName="/ppt/slideLayouts/slideLayout1100.xml" ContentType="application/vnd.openxmlformats-officedocument.presentationml.slideLayout+xml"/>
  <Override PartName="/ppt/slideLayouts/slideLayout1101.xml" ContentType="application/vnd.openxmlformats-officedocument.presentationml.slideLayout+xml"/>
  <Override PartName="/ppt/slideLayouts/slideLayout1102.xml" ContentType="application/vnd.openxmlformats-officedocument.presentationml.slideLayout+xml"/>
  <Override PartName="/ppt/slideLayouts/slideLayout1103.xml" ContentType="application/vnd.openxmlformats-officedocument.presentationml.slideLayout+xml"/>
  <Override PartName="/ppt/slideLayouts/slideLayout1104.xml" ContentType="application/vnd.openxmlformats-officedocument.presentationml.slideLayout+xml"/>
  <Override PartName="/ppt/slideLayouts/slideLayout1105.xml" ContentType="application/vnd.openxmlformats-officedocument.presentationml.slideLayout+xml"/>
  <Override PartName="/ppt/slideLayouts/slideLayout1106.xml" ContentType="application/vnd.openxmlformats-officedocument.presentationml.slideLayout+xml"/>
  <Override PartName="/ppt/slideLayouts/slideLayout1107.xml" ContentType="application/vnd.openxmlformats-officedocument.presentationml.slideLayout+xml"/>
  <Override PartName="/ppt/slideLayouts/slideLayout1108.xml" ContentType="application/vnd.openxmlformats-officedocument.presentationml.slideLayout+xml"/>
  <Override PartName="/ppt/slideLayouts/slideLayout1109.xml" ContentType="application/vnd.openxmlformats-officedocument.presentationml.slideLayout+xml"/>
  <Override PartName="/ppt/slideLayouts/slideLayout1110.xml" ContentType="application/vnd.openxmlformats-officedocument.presentationml.slideLayout+xml"/>
  <Override PartName="/ppt/slideLayouts/slideLayout1111.xml" ContentType="application/vnd.openxmlformats-officedocument.presentationml.slideLayout+xml"/>
  <Override PartName="/ppt/slideLayouts/slideLayout1112.xml" ContentType="application/vnd.openxmlformats-officedocument.presentationml.slideLayout+xml"/>
  <Override PartName="/ppt/slideLayouts/slideLayout1113.xml" ContentType="application/vnd.openxmlformats-officedocument.presentationml.slideLayout+xml"/>
  <Override PartName="/ppt/slideLayouts/slideLayout1114.xml" ContentType="application/vnd.openxmlformats-officedocument.presentationml.slideLayout+xml"/>
  <Override PartName="/ppt/slideLayouts/slideLayout1115.xml" ContentType="application/vnd.openxmlformats-officedocument.presentationml.slideLayout+xml"/>
  <Override PartName="/ppt/slideLayouts/slideLayout1116.xml" ContentType="application/vnd.openxmlformats-officedocument.presentationml.slideLayout+xml"/>
  <Override PartName="/ppt/theme/theme22.xml" ContentType="application/vnd.openxmlformats-officedocument.theme+xml"/>
  <Override PartName="/ppt/slideLayouts/slideLayout1117.xml" ContentType="application/vnd.openxmlformats-officedocument.presentationml.slideLayout+xml"/>
  <Override PartName="/ppt/slideLayouts/slideLayout1118.xml" ContentType="application/vnd.openxmlformats-officedocument.presentationml.slideLayout+xml"/>
  <Override PartName="/ppt/slideLayouts/slideLayout1119.xml" ContentType="application/vnd.openxmlformats-officedocument.presentationml.slideLayout+xml"/>
  <Override PartName="/ppt/slideLayouts/slideLayout1120.xml" ContentType="application/vnd.openxmlformats-officedocument.presentationml.slideLayout+xml"/>
  <Override PartName="/ppt/slideLayouts/slideLayout1121.xml" ContentType="application/vnd.openxmlformats-officedocument.presentationml.slideLayout+xml"/>
  <Override PartName="/ppt/slideLayouts/slideLayout1122.xml" ContentType="application/vnd.openxmlformats-officedocument.presentationml.slideLayout+xml"/>
  <Override PartName="/ppt/slideLayouts/slideLayout1123.xml" ContentType="application/vnd.openxmlformats-officedocument.presentationml.slideLayout+xml"/>
  <Override PartName="/ppt/slideLayouts/slideLayout1124.xml" ContentType="application/vnd.openxmlformats-officedocument.presentationml.slideLayout+xml"/>
  <Override PartName="/ppt/slideLayouts/slideLayout1125.xml" ContentType="application/vnd.openxmlformats-officedocument.presentationml.slideLayout+xml"/>
  <Override PartName="/ppt/slideLayouts/slideLayout1126.xml" ContentType="application/vnd.openxmlformats-officedocument.presentationml.slideLayout+xml"/>
  <Override PartName="/ppt/slideLayouts/slideLayout1127.xml" ContentType="application/vnd.openxmlformats-officedocument.presentationml.slideLayout+xml"/>
  <Override PartName="/ppt/slideLayouts/slideLayout1128.xml" ContentType="application/vnd.openxmlformats-officedocument.presentationml.slideLayout+xml"/>
  <Override PartName="/ppt/slideLayouts/slideLayout1129.xml" ContentType="application/vnd.openxmlformats-officedocument.presentationml.slideLayout+xml"/>
  <Override PartName="/ppt/slideLayouts/slideLayout1130.xml" ContentType="application/vnd.openxmlformats-officedocument.presentationml.slideLayout+xml"/>
  <Override PartName="/ppt/slideLayouts/slideLayout1131.xml" ContentType="application/vnd.openxmlformats-officedocument.presentationml.slideLayout+xml"/>
  <Override PartName="/ppt/slideLayouts/slideLayout1132.xml" ContentType="application/vnd.openxmlformats-officedocument.presentationml.slideLayout+xml"/>
  <Override PartName="/ppt/slideLayouts/slideLayout1133.xml" ContentType="application/vnd.openxmlformats-officedocument.presentationml.slideLayout+xml"/>
  <Override PartName="/ppt/slideLayouts/slideLayout1134.xml" ContentType="application/vnd.openxmlformats-officedocument.presentationml.slideLayout+xml"/>
  <Override PartName="/ppt/slideLayouts/slideLayout1135.xml" ContentType="application/vnd.openxmlformats-officedocument.presentationml.slideLayout+xml"/>
  <Override PartName="/ppt/slideLayouts/slideLayout1136.xml" ContentType="application/vnd.openxmlformats-officedocument.presentationml.slideLayout+xml"/>
  <Override PartName="/ppt/slideLayouts/slideLayout1137.xml" ContentType="application/vnd.openxmlformats-officedocument.presentationml.slideLayout+xml"/>
  <Override PartName="/ppt/slideLayouts/slideLayout1138.xml" ContentType="application/vnd.openxmlformats-officedocument.presentationml.slideLayout+xml"/>
  <Override PartName="/ppt/slideLayouts/slideLayout1139.xml" ContentType="application/vnd.openxmlformats-officedocument.presentationml.slideLayout+xml"/>
  <Override PartName="/ppt/slideLayouts/slideLayout1140.xml" ContentType="application/vnd.openxmlformats-officedocument.presentationml.slideLayout+xml"/>
  <Override PartName="/ppt/slideLayouts/slideLayout1141.xml" ContentType="application/vnd.openxmlformats-officedocument.presentationml.slideLayout+xml"/>
  <Override PartName="/ppt/slideLayouts/slideLayout1142.xml" ContentType="application/vnd.openxmlformats-officedocument.presentationml.slideLayout+xml"/>
  <Override PartName="/ppt/slideLayouts/slideLayout1143.xml" ContentType="application/vnd.openxmlformats-officedocument.presentationml.slideLayout+xml"/>
  <Override PartName="/ppt/slideLayouts/slideLayout1144.xml" ContentType="application/vnd.openxmlformats-officedocument.presentationml.slideLayout+xml"/>
  <Override PartName="/ppt/slideLayouts/slideLayout1145.xml" ContentType="application/vnd.openxmlformats-officedocument.presentationml.slideLayout+xml"/>
  <Override PartName="/ppt/slideLayouts/slideLayout1146.xml" ContentType="application/vnd.openxmlformats-officedocument.presentationml.slideLayout+xml"/>
  <Override PartName="/ppt/slideLayouts/slideLayout1147.xml" ContentType="application/vnd.openxmlformats-officedocument.presentationml.slideLayout+xml"/>
  <Override PartName="/ppt/slideLayouts/slideLayout1148.xml" ContentType="application/vnd.openxmlformats-officedocument.presentationml.slideLayout+xml"/>
  <Override PartName="/ppt/slideLayouts/slideLayout1149.xml" ContentType="application/vnd.openxmlformats-officedocument.presentationml.slideLayout+xml"/>
  <Override PartName="/ppt/slideLayouts/slideLayout1150.xml" ContentType="application/vnd.openxmlformats-officedocument.presentationml.slideLayout+xml"/>
  <Override PartName="/ppt/slideLayouts/slideLayout1151.xml" ContentType="application/vnd.openxmlformats-officedocument.presentationml.slideLayout+xml"/>
  <Override PartName="/ppt/slideLayouts/slideLayout1152.xml" ContentType="application/vnd.openxmlformats-officedocument.presentationml.slideLayout+xml"/>
  <Override PartName="/ppt/slideLayouts/slideLayout1153.xml" ContentType="application/vnd.openxmlformats-officedocument.presentationml.slideLayout+xml"/>
  <Override PartName="/ppt/slideLayouts/slideLayout1154.xml" ContentType="application/vnd.openxmlformats-officedocument.presentationml.slideLayout+xml"/>
  <Override PartName="/ppt/slideLayouts/slideLayout1155.xml" ContentType="application/vnd.openxmlformats-officedocument.presentationml.slideLayout+xml"/>
  <Override PartName="/ppt/slideLayouts/slideLayout1156.xml" ContentType="application/vnd.openxmlformats-officedocument.presentationml.slideLayout+xml"/>
  <Override PartName="/ppt/slideLayouts/slideLayout1157.xml" ContentType="application/vnd.openxmlformats-officedocument.presentationml.slideLayout+xml"/>
  <Override PartName="/ppt/slideLayouts/slideLayout1158.xml" ContentType="application/vnd.openxmlformats-officedocument.presentationml.slideLayout+xml"/>
  <Override PartName="/ppt/slideLayouts/slideLayout1159.xml" ContentType="application/vnd.openxmlformats-officedocument.presentationml.slideLayout+xml"/>
  <Override PartName="/ppt/slideLayouts/slideLayout1160.xml" ContentType="application/vnd.openxmlformats-officedocument.presentationml.slideLayout+xml"/>
  <Override PartName="/ppt/slideLayouts/slideLayout1161.xml" ContentType="application/vnd.openxmlformats-officedocument.presentationml.slideLayout+xml"/>
  <Override PartName="/ppt/slideLayouts/slideLayout1162.xml" ContentType="application/vnd.openxmlformats-officedocument.presentationml.slideLayout+xml"/>
  <Override PartName="/ppt/slideLayouts/slideLayout1163.xml" ContentType="application/vnd.openxmlformats-officedocument.presentationml.slideLayout+xml"/>
  <Override PartName="/ppt/slideLayouts/slideLayout1164.xml" ContentType="application/vnd.openxmlformats-officedocument.presentationml.slideLayout+xml"/>
  <Override PartName="/ppt/slideLayouts/slideLayout1165.xml" ContentType="application/vnd.openxmlformats-officedocument.presentationml.slideLayout+xml"/>
  <Override PartName="/ppt/slideLayouts/slideLayout1166.xml" ContentType="application/vnd.openxmlformats-officedocument.presentationml.slideLayout+xml"/>
  <Override PartName="/ppt/slideLayouts/slideLayout1167.xml" ContentType="application/vnd.openxmlformats-officedocument.presentationml.slideLayout+xml"/>
  <Override PartName="/ppt/slideLayouts/slideLayout1168.xml" ContentType="application/vnd.openxmlformats-officedocument.presentationml.slideLayout+xml"/>
  <Override PartName="/ppt/slideLayouts/slideLayout1169.xml" ContentType="application/vnd.openxmlformats-officedocument.presentationml.slideLayout+xml"/>
  <Override PartName="/ppt/slideLayouts/slideLayout1170.xml" ContentType="application/vnd.openxmlformats-officedocument.presentationml.slideLayout+xml"/>
  <Override PartName="/ppt/slideLayouts/slideLayout1171.xml" ContentType="application/vnd.openxmlformats-officedocument.presentationml.slideLayout+xml"/>
  <Override PartName="/ppt/slideLayouts/slideLayout1172.xml" ContentType="application/vnd.openxmlformats-officedocument.presentationml.slideLayout+xml"/>
  <Override PartName="/ppt/slideLayouts/slideLayout1173.xml" ContentType="application/vnd.openxmlformats-officedocument.presentationml.slideLayout+xml"/>
  <Override PartName="/ppt/slideLayouts/slideLayout1174.xml" ContentType="application/vnd.openxmlformats-officedocument.presentationml.slideLayout+xml"/>
  <Override PartName="/ppt/slideLayouts/slideLayout1175.xml" ContentType="application/vnd.openxmlformats-officedocument.presentationml.slideLayout+xml"/>
  <Override PartName="/ppt/slideLayouts/slideLayout1176.xml" ContentType="application/vnd.openxmlformats-officedocument.presentationml.slideLayout+xml"/>
  <Override PartName="/ppt/theme/theme23.xml" ContentType="application/vnd.openxmlformats-officedocument.theme+xml"/>
  <Override PartName="/ppt/tags/tag3.xml" ContentType="application/vnd.openxmlformats-officedocument.presentationml.tags+xml"/>
  <Override PartName="/ppt/slideLayouts/slideLayout1177.xml" ContentType="application/vnd.openxmlformats-officedocument.presentationml.slideLayout+xml"/>
  <Override PartName="/ppt/slideLayouts/slideLayout1178.xml" ContentType="application/vnd.openxmlformats-officedocument.presentationml.slideLayout+xml"/>
  <Override PartName="/ppt/slideLayouts/slideLayout1179.xml" ContentType="application/vnd.openxmlformats-officedocument.presentationml.slideLayout+xml"/>
  <Override PartName="/ppt/slideLayouts/slideLayout1180.xml" ContentType="application/vnd.openxmlformats-officedocument.presentationml.slideLayout+xml"/>
  <Override PartName="/ppt/slideLayouts/slideLayout1181.xml" ContentType="application/vnd.openxmlformats-officedocument.presentationml.slideLayout+xml"/>
  <Override PartName="/ppt/slideLayouts/slideLayout1182.xml" ContentType="application/vnd.openxmlformats-officedocument.presentationml.slideLayout+xml"/>
  <Override PartName="/ppt/slideLayouts/slideLayout1183.xml" ContentType="application/vnd.openxmlformats-officedocument.presentationml.slideLayout+xml"/>
  <Override PartName="/ppt/slideLayouts/slideLayout1184.xml" ContentType="application/vnd.openxmlformats-officedocument.presentationml.slideLayout+xml"/>
  <Override PartName="/ppt/slideLayouts/slideLayout1185.xml" ContentType="application/vnd.openxmlformats-officedocument.presentationml.slideLayout+xml"/>
  <Override PartName="/ppt/slideLayouts/slideLayout1186.xml" ContentType="application/vnd.openxmlformats-officedocument.presentationml.slideLayout+xml"/>
  <Override PartName="/ppt/slideLayouts/slideLayout1187.xml" ContentType="application/vnd.openxmlformats-officedocument.presentationml.slideLayout+xml"/>
  <Override PartName="/ppt/slideLayouts/slideLayout1188.xml" ContentType="application/vnd.openxmlformats-officedocument.presentationml.slideLayout+xml"/>
  <Override PartName="/ppt/slideLayouts/slideLayout1189.xml" ContentType="application/vnd.openxmlformats-officedocument.presentationml.slideLayout+xml"/>
  <Override PartName="/ppt/slideLayouts/slideLayout1190.xml" ContentType="application/vnd.openxmlformats-officedocument.presentationml.slideLayout+xml"/>
  <Override PartName="/ppt/slideLayouts/slideLayout1191.xml" ContentType="application/vnd.openxmlformats-officedocument.presentationml.slideLayout+xml"/>
  <Override PartName="/ppt/slideLayouts/slideLayout1192.xml" ContentType="application/vnd.openxmlformats-officedocument.presentationml.slideLayout+xml"/>
  <Override PartName="/ppt/slideLayouts/slideLayout1193.xml" ContentType="application/vnd.openxmlformats-officedocument.presentationml.slideLayout+xml"/>
  <Override PartName="/ppt/slideLayouts/slideLayout1194.xml" ContentType="application/vnd.openxmlformats-officedocument.presentationml.slideLayout+xml"/>
  <Override PartName="/ppt/slideLayouts/slideLayout1195.xml" ContentType="application/vnd.openxmlformats-officedocument.presentationml.slideLayout+xml"/>
  <Override PartName="/ppt/slideLayouts/slideLayout1196.xml" ContentType="application/vnd.openxmlformats-officedocument.presentationml.slideLayout+xml"/>
  <Override PartName="/ppt/slideLayouts/slideLayout1197.xml" ContentType="application/vnd.openxmlformats-officedocument.presentationml.slideLayout+xml"/>
  <Override PartName="/ppt/slideLayouts/slideLayout1198.xml" ContentType="application/vnd.openxmlformats-officedocument.presentationml.slideLayout+xml"/>
  <Override PartName="/ppt/slideLayouts/slideLayout1199.xml" ContentType="application/vnd.openxmlformats-officedocument.presentationml.slideLayout+xml"/>
  <Override PartName="/ppt/slideLayouts/slideLayout1200.xml" ContentType="application/vnd.openxmlformats-officedocument.presentationml.slideLayout+xml"/>
  <Override PartName="/ppt/slideLayouts/slideLayout1201.xml" ContentType="application/vnd.openxmlformats-officedocument.presentationml.slideLayout+xml"/>
  <Override PartName="/ppt/slideLayouts/slideLayout1202.xml" ContentType="application/vnd.openxmlformats-officedocument.presentationml.slideLayout+xml"/>
  <Override PartName="/ppt/slideLayouts/slideLayout1203.xml" ContentType="application/vnd.openxmlformats-officedocument.presentationml.slideLayout+xml"/>
  <Override PartName="/ppt/theme/theme24.xml" ContentType="application/vnd.openxmlformats-officedocument.theme+xml"/>
  <Override PartName="/ppt/slideLayouts/slideLayout1204.xml" ContentType="application/vnd.openxmlformats-officedocument.presentationml.slideLayout+xml"/>
  <Override PartName="/ppt/slideLayouts/slideLayout1205.xml" ContentType="application/vnd.openxmlformats-officedocument.presentationml.slideLayout+xml"/>
  <Override PartName="/ppt/slideLayouts/slideLayout1206.xml" ContentType="application/vnd.openxmlformats-officedocument.presentationml.slideLayout+xml"/>
  <Override PartName="/ppt/slideLayouts/slideLayout1207.xml" ContentType="application/vnd.openxmlformats-officedocument.presentationml.slideLayout+xml"/>
  <Override PartName="/ppt/slideLayouts/slideLayout1208.xml" ContentType="application/vnd.openxmlformats-officedocument.presentationml.slideLayout+xml"/>
  <Override PartName="/ppt/slideLayouts/slideLayout1209.xml" ContentType="application/vnd.openxmlformats-officedocument.presentationml.slideLayout+xml"/>
  <Override PartName="/ppt/slideLayouts/slideLayout1210.xml" ContentType="application/vnd.openxmlformats-officedocument.presentationml.slideLayout+xml"/>
  <Override PartName="/ppt/slideLayouts/slideLayout1211.xml" ContentType="application/vnd.openxmlformats-officedocument.presentationml.slideLayout+xml"/>
  <Override PartName="/ppt/slideLayouts/slideLayout1212.xml" ContentType="application/vnd.openxmlformats-officedocument.presentationml.slideLayout+xml"/>
  <Override PartName="/ppt/slideLayouts/slideLayout1213.xml" ContentType="application/vnd.openxmlformats-officedocument.presentationml.slideLayout+xml"/>
  <Override PartName="/ppt/slideLayouts/slideLayout1214.xml" ContentType="application/vnd.openxmlformats-officedocument.presentationml.slideLayout+xml"/>
  <Override PartName="/ppt/slideLayouts/slideLayout1215.xml" ContentType="application/vnd.openxmlformats-officedocument.presentationml.slideLayout+xml"/>
  <Override PartName="/ppt/slideLayouts/slideLayout1216.xml" ContentType="application/vnd.openxmlformats-officedocument.presentationml.slideLayout+xml"/>
  <Override PartName="/ppt/slideLayouts/slideLayout1217.xml" ContentType="application/vnd.openxmlformats-officedocument.presentationml.slideLayout+xml"/>
  <Override PartName="/ppt/slideLayouts/slideLayout1218.xml" ContentType="application/vnd.openxmlformats-officedocument.presentationml.slideLayout+xml"/>
  <Override PartName="/ppt/slideLayouts/slideLayout1219.xml" ContentType="application/vnd.openxmlformats-officedocument.presentationml.slideLayout+xml"/>
  <Override PartName="/ppt/slideLayouts/slideLayout1220.xml" ContentType="application/vnd.openxmlformats-officedocument.presentationml.slideLayout+xml"/>
  <Override PartName="/ppt/slideLayouts/slideLayout1221.xml" ContentType="application/vnd.openxmlformats-officedocument.presentationml.slideLayout+xml"/>
  <Override PartName="/ppt/slideLayouts/slideLayout1222.xml" ContentType="application/vnd.openxmlformats-officedocument.presentationml.slideLayout+xml"/>
  <Override PartName="/ppt/slideLayouts/slideLayout1223.xml" ContentType="application/vnd.openxmlformats-officedocument.presentationml.slideLayout+xml"/>
  <Override PartName="/ppt/slideLayouts/slideLayout1224.xml" ContentType="application/vnd.openxmlformats-officedocument.presentationml.slideLayout+xml"/>
  <Override PartName="/ppt/slideLayouts/slideLayout1225.xml" ContentType="application/vnd.openxmlformats-officedocument.presentationml.slideLayout+xml"/>
  <Override PartName="/ppt/slideLayouts/slideLayout1226.xml" ContentType="application/vnd.openxmlformats-officedocument.presentationml.slideLayout+xml"/>
  <Override PartName="/ppt/slideLayouts/slideLayout1227.xml" ContentType="application/vnd.openxmlformats-officedocument.presentationml.slideLayout+xml"/>
  <Override PartName="/ppt/slideLayouts/slideLayout1228.xml" ContentType="application/vnd.openxmlformats-officedocument.presentationml.slideLayout+xml"/>
  <Override PartName="/ppt/slideLayouts/slideLayout1229.xml" ContentType="application/vnd.openxmlformats-officedocument.presentationml.slideLayout+xml"/>
  <Override PartName="/ppt/slideLayouts/slideLayout1230.xml" ContentType="application/vnd.openxmlformats-officedocument.presentationml.slideLayout+xml"/>
  <Override PartName="/ppt/slideLayouts/slideLayout1231.xml" ContentType="application/vnd.openxmlformats-officedocument.presentationml.slideLayout+xml"/>
  <Override PartName="/ppt/slideLayouts/slideLayout1232.xml" ContentType="application/vnd.openxmlformats-officedocument.presentationml.slideLayout+xml"/>
  <Override PartName="/ppt/slideLayouts/slideLayout1233.xml" ContentType="application/vnd.openxmlformats-officedocument.presentationml.slideLayout+xml"/>
  <Override PartName="/ppt/slideLayouts/slideLayout1234.xml" ContentType="application/vnd.openxmlformats-officedocument.presentationml.slideLayout+xml"/>
  <Override PartName="/ppt/slideLayouts/slideLayout1235.xml" ContentType="application/vnd.openxmlformats-officedocument.presentationml.slideLayout+xml"/>
  <Override PartName="/ppt/slideLayouts/slideLayout1236.xml" ContentType="application/vnd.openxmlformats-officedocument.presentationml.slideLayout+xml"/>
  <Override PartName="/ppt/slideLayouts/slideLayout1237.xml" ContentType="application/vnd.openxmlformats-officedocument.presentationml.slideLayout+xml"/>
  <Override PartName="/ppt/slideLayouts/slideLayout1238.xml" ContentType="application/vnd.openxmlformats-officedocument.presentationml.slideLayout+xml"/>
  <Override PartName="/ppt/slideLayouts/slideLayout1239.xml" ContentType="application/vnd.openxmlformats-officedocument.presentationml.slideLayout+xml"/>
  <Override PartName="/ppt/slideLayouts/slideLayout1240.xml" ContentType="application/vnd.openxmlformats-officedocument.presentationml.slideLayout+xml"/>
  <Override PartName="/ppt/slideLayouts/slideLayout1241.xml" ContentType="application/vnd.openxmlformats-officedocument.presentationml.slideLayout+xml"/>
  <Override PartName="/ppt/slideLayouts/slideLayout1242.xml" ContentType="application/vnd.openxmlformats-officedocument.presentationml.slideLayout+xml"/>
  <Override PartName="/ppt/slideLayouts/slideLayout1243.xml" ContentType="application/vnd.openxmlformats-officedocument.presentationml.slideLayout+xml"/>
  <Override PartName="/ppt/slideLayouts/slideLayout1244.xml" ContentType="application/vnd.openxmlformats-officedocument.presentationml.slideLayout+xml"/>
  <Override PartName="/ppt/slideLayouts/slideLayout1245.xml" ContentType="application/vnd.openxmlformats-officedocument.presentationml.slideLayout+xml"/>
  <Override PartName="/ppt/slideLayouts/slideLayout1246.xml" ContentType="application/vnd.openxmlformats-officedocument.presentationml.slideLayout+xml"/>
  <Override PartName="/ppt/slideLayouts/slideLayout1247.xml" ContentType="application/vnd.openxmlformats-officedocument.presentationml.slideLayout+xml"/>
  <Override PartName="/ppt/slideLayouts/slideLayout1248.xml" ContentType="application/vnd.openxmlformats-officedocument.presentationml.slideLayout+xml"/>
  <Override PartName="/ppt/slideLayouts/slideLayout1249.xml" ContentType="application/vnd.openxmlformats-officedocument.presentationml.slideLayout+xml"/>
  <Override PartName="/ppt/slideLayouts/slideLayout1250.xml" ContentType="application/vnd.openxmlformats-officedocument.presentationml.slideLayout+xml"/>
  <Override PartName="/ppt/slideLayouts/slideLayout1251.xml" ContentType="application/vnd.openxmlformats-officedocument.presentationml.slideLayout+xml"/>
  <Override PartName="/ppt/slideLayouts/slideLayout1252.xml" ContentType="application/vnd.openxmlformats-officedocument.presentationml.slideLayout+xml"/>
  <Override PartName="/ppt/slideLayouts/slideLayout1253.xml" ContentType="application/vnd.openxmlformats-officedocument.presentationml.slideLayout+xml"/>
  <Override PartName="/ppt/slideLayouts/slideLayout1254.xml" ContentType="application/vnd.openxmlformats-officedocument.presentationml.slideLayout+xml"/>
  <Override PartName="/ppt/slideLayouts/slideLayout1255.xml" ContentType="application/vnd.openxmlformats-officedocument.presentationml.slideLayout+xml"/>
  <Override PartName="/ppt/slideLayouts/slideLayout1256.xml" ContentType="application/vnd.openxmlformats-officedocument.presentationml.slideLayout+xml"/>
  <Override PartName="/ppt/slideLayouts/slideLayout1257.xml" ContentType="application/vnd.openxmlformats-officedocument.presentationml.slideLayout+xml"/>
  <Override PartName="/ppt/slideLayouts/slideLayout1258.xml" ContentType="application/vnd.openxmlformats-officedocument.presentationml.slideLayout+xml"/>
  <Override PartName="/ppt/slideLayouts/slideLayout1259.xml" ContentType="application/vnd.openxmlformats-officedocument.presentationml.slideLayout+xml"/>
  <Override PartName="/ppt/slideLayouts/slideLayout1260.xml" ContentType="application/vnd.openxmlformats-officedocument.presentationml.slideLayout+xml"/>
  <Override PartName="/ppt/slideLayouts/slideLayout1261.xml" ContentType="application/vnd.openxmlformats-officedocument.presentationml.slideLayout+xml"/>
  <Override PartName="/ppt/slideLayouts/slideLayout1262.xml" ContentType="application/vnd.openxmlformats-officedocument.presentationml.slideLayout+xml"/>
  <Override PartName="/ppt/slideLayouts/slideLayout1263.xml" ContentType="application/vnd.openxmlformats-officedocument.presentationml.slideLayout+xml"/>
  <Override PartName="/ppt/slideLayouts/slideLayout1264.xml" ContentType="application/vnd.openxmlformats-officedocument.presentationml.slideLayout+xml"/>
  <Override PartName="/ppt/slideLayouts/slideLayout1265.xml" ContentType="application/vnd.openxmlformats-officedocument.presentationml.slideLayout+xml"/>
  <Override PartName="/ppt/slideLayouts/slideLayout1266.xml" ContentType="application/vnd.openxmlformats-officedocument.presentationml.slideLayout+xml"/>
  <Override PartName="/ppt/theme/theme25.xml" ContentType="application/vnd.openxmlformats-officedocument.theme+xml"/>
  <Override PartName="/ppt/slideLayouts/slideLayout1267.xml" ContentType="application/vnd.openxmlformats-officedocument.presentationml.slideLayout+xml"/>
  <Override PartName="/ppt/slideLayouts/slideLayout1268.xml" ContentType="application/vnd.openxmlformats-officedocument.presentationml.slideLayout+xml"/>
  <Override PartName="/ppt/slideLayouts/slideLayout1269.xml" ContentType="application/vnd.openxmlformats-officedocument.presentationml.slideLayout+xml"/>
  <Override PartName="/ppt/slideLayouts/slideLayout1270.xml" ContentType="application/vnd.openxmlformats-officedocument.presentationml.slideLayout+xml"/>
  <Override PartName="/ppt/slideLayouts/slideLayout1271.xml" ContentType="application/vnd.openxmlformats-officedocument.presentationml.slideLayout+xml"/>
  <Override PartName="/ppt/slideLayouts/slideLayout1272.xml" ContentType="application/vnd.openxmlformats-officedocument.presentationml.slideLayout+xml"/>
  <Override PartName="/ppt/slideLayouts/slideLayout1273.xml" ContentType="application/vnd.openxmlformats-officedocument.presentationml.slideLayout+xml"/>
  <Override PartName="/ppt/slideLayouts/slideLayout1274.xml" ContentType="application/vnd.openxmlformats-officedocument.presentationml.slideLayout+xml"/>
  <Override PartName="/ppt/slideLayouts/slideLayout1275.xml" ContentType="application/vnd.openxmlformats-officedocument.presentationml.slideLayout+xml"/>
  <Override PartName="/ppt/slideLayouts/slideLayout1276.xml" ContentType="application/vnd.openxmlformats-officedocument.presentationml.slideLayout+xml"/>
  <Override PartName="/ppt/slideLayouts/slideLayout1277.xml" ContentType="application/vnd.openxmlformats-officedocument.presentationml.slideLayout+xml"/>
  <Override PartName="/ppt/slideLayouts/slideLayout1278.xml" ContentType="application/vnd.openxmlformats-officedocument.presentationml.slideLayout+xml"/>
  <Override PartName="/ppt/slideLayouts/slideLayout1279.xml" ContentType="application/vnd.openxmlformats-officedocument.presentationml.slideLayout+xml"/>
  <Override PartName="/ppt/slideLayouts/slideLayout1280.xml" ContentType="application/vnd.openxmlformats-officedocument.presentationml.slideLayout+xml"/>
  <Override PartName="/ppt/slideLayouts/slideLayout1281.xml" ContentType="application/vnd.openxmlformats-officedocument.presentationml.slideLayout+xml"/>
  <Override PartName="/ppt/slideLayouts/slideLayout1282.xml" ContentType="application/vnd.openxmlformats-officedocument.presentationml.slideLayout+xml"/>
  <Override PartName="/ppt/slideLayouts/slideLayout1283.xml" ContentType="application/vnd.openxmlformats-officedocument.presentationml.slideLayout+xml"/>
  <Override PartName="/ppt/slideLayouts/slideLayout1284.xml" ContentType="application/vnd.openxmlformats-officedocument.presentationml.slideLayout+xml"/>
  <Override PartName="/ppt/slideLayouts/slideLayout1285.xml" ContentType="application/vnd.openxmlformats-officedocument.presentationml.slideLayout+xml"/>
  <Override PartName="/ppt/slideLayouts/slideLayout1286.xml" ContentType="application/vnd.openxmlformats-officedocument.presentationml.slideLayout+xml"/>
  <Override PartName="/ppt/slideLayouts/slideLayout1287.xml" ContentType="application/vnd.openxmlformats-officedocument.presentationml.slideLayout+xml"/>
  <Override PartName="/ppt/slideLayouts/slideLayout1288.xml" ContentType="application/vnd.openxmlformats-officedocument.presentationml.slideLayout+xml"/>
  <Override PartName="/ppt/slideLayouts/slideLayout1289.xml" ContentType="application/vnd.openxmlformats-officedocument.presentationml.slideLayout+xml"/>
  <Override PartName="/ppt/slideLayouts/slideLayout1290.xml" ContentType="application/vnd.openxmlformats-officedocument.presentationml.slideLayout+xml"/>
  <Override PartName="/ppt/slideLayouts/slideLayout1291.xml" ContentType="application/vnd.openxmlformats-officedocument.presentationml.slideLayout+xml"/>
  <Override PartName="/ppt/slideLayouts/slideLayout1292.xml" ContentType="application/vnd.openxmlformats-officedocument.presentationml.slideLayout+xml"/>
  <Override PartName="/ppt/slideLayouts/slideLayout1293.xml" ContentType="application/vnd.openxmlformats-officedocument.presentationml.slideLayout+xml"/>
  <Override PartName="/ppt/slideLayouts/slideLayout1294.xml" ContentType="application/vnd.openxmlformats-officedocument.presentationml.slideLayout+xml"/>
  <Override PartName="/ppt/slideLayouts/slideLayout1295.xml" ContentType="application/vnd.openxmlformats-officedocument.presentationml.slideLayout+xml"/>
  <Override PartName="/ppt/slideLayouts/slideLayout1296.xml" ContentType="application/vnd.openxmlformats-officedocument.presentationml.slideLayout+xml"/>
  <Override PartName="/ppt/slideLayouts/slideLayout1297.xml" ContentType="application/vnd.openxmlformats-officedocument.presentationml.slideLayout+xml"/>
  <Override PartName="/ppt/slideLayouts/slideLayout1298.xml" ContentType="application/vnd.openxmlformats-officedocument.presentationml.slideLayout+xml"/>
  <Override PartName="/ppt/slideLayouts/slideLayout1299.xml" ContentType="application/vnd.openxmlformats-officedocument.presentationml.slideLayout+xml"/>
  <Override PartName="/ppt/slideLayouts/slideLayout1300.xml" ContentType="application/vnd.openxmlformats-officedocument.presentationml.slideLayout+xml"/>
  <Override PartName="/ppt/slideLayouts/slideLayout1301.xml" ContentType="application/vnd.openxmlformats-officedocument.presentationml.slideLayout+xml"/>
  <Override PartName="/ppt/slideLayouts/slideLayout1302.xml" ContentType="application/vnd.openxmlformats-officedocument.presentationml.slideLayout+xml"/>
  <Override PartName="/ppt/slideLayouts/slideLayout1303.xml" ContentType="application/vnd.openxmlformats-officedocument.presentationml.slideLayout+xml"/>
  <Override PartName="/ppt/slideLayouts/slideLayout1304.xml" ContentType="application/vnd.openxmlformats-officedocument.presentationml.slideLayout+xml"/>
  <Override PartName="/ppt/slideLayouts/slideLayout1305.xml" ContentType="application/vnd.openxmlformats-officedocument.presentationml.slideLayout+xml"/>
  <Override PartName="/ppt/slideLayouts/slideLayout1306.xml" ContentType="application/vnd.openxmlformats-officedocument.presentationml.slideLayout+xml"/>
  <Override PartName="/ppt/slideLayouts/slideLayout1307.xml" ContentType="application/vnd.openxmlformats-officedocument.presentationml.slideLayout+xml"/>
  <Override PartName="/ppt/slideLayouts/slideLayout1308.xml" ContentType="application/vnd.openxmlformats-officedocument.presentationml.slideLayout+xml"/>
  <Override PartName="/ppt/slideLayouts/slideLayout1309.xml" ContentType="application/vnd.openxmlformats-officedocument.presentationml.slideLayout+xml"/>
  <Override PartName="/ppt/slideLayouts/slideLayout1310.xml" ContentType="application/vnd.openxmlformats-officedocument.presentationml.slideLayout+xml"/>
  <Override PartName="/ppt/slideLayouts/slideLayout1311.xml" ContentType="application/vnd.openxmlformats-officedocument.presentationml.slideLayout+xml"/>
  <Override PartName="/ppt/slideLayouts/slideLayout1312.xml" ContentType="application/vnd.openxmlformats-officedocument.presentationml.slideLayout+xml"/>
  <Override PartName="/ppt/slideLayouts/slideLayout1313.xml" ContentType="application/vnd.openxmlformats-officedocument.presentationml.slideLayout+xml"/>
  <Override PartName="/ppt/slideLayouts/slideLayout1314.xml" ContentType="application/vnd.openxmlformats-officedocument.presentationml.slideLayout+xml"/>
  <Override PartName="/ppt/slideLayouts/slideLayout1315.xml" ContentType="application/vnd.openxmlformats-officedocument.presentationml.slideLayout+xml"/>
  <Override PartName="/ppt/slideLayouts/slideLayout1316.xml" ContentType="application/vnd.openxmlformats-officedocument.presentationml.slideLayout+xml"/>
  <Override PartName="/ppt/slideLayouts/slideLayout1317.xml" ContentType="application/vnd.openxmlformats-officedocument.presentationml.slideLayout+xml"/>
  <Override PartName="/ppt/slideLayouts/slideLayout1318.xml" ContentType="application/vnd.openxmlformats-officedocument.presentationml.slideLayout+xml"/>
  <Override PartName="/ppt/slideLayouts/slideLayout1319.xml" ContentType="application/vnd.openxmlformats-officedocument.presentationml.slideLayout+xml"/>
  <Override PartName="/ppt/slideLayouts/slideLayout1320.xml" ContentType="application/vnd.openxmlformats-officedocument.presentationml.slideLayout+xml"/>
  <Override PartName="/ppt/slideLayouts/slideLayout1321.xml" ContentType="application/vnd.openxmlformats-officedocument.presentationml.slideLayout+xml"/>
  <Override PartName="/ppt/slideLayouts/slideLayout1322.xml" ContentType="application/vnd.openxmlformats-officedocument.presentationml.slideLayout+xml"/>
  <Override PartName="/ppt/slideLayouts/slideLayout1323.xml" ContentType="application/vnd.openxmlformats-officedocument.presentationml.slideLayout+xml"/>
  <Override PartName="/ppt/slideLayouts/slideLayout1324.xml" ContentType="application/vnd.openxmlformats-officedocument.presentationml.slideLayout+xml"/>
  <Override PartName="/ppt/slideLayouts/slideLayout1325.xml" ContentType="application/vnd.openxmlformats-officedocument.presentationml.slideLayout+xml"/>
  <Override PartName="/ppt/slideLayouts/slideLayout1326.xml" ContentType="application/vnd.openxmlformats-officedocument.presentationml.slideLayout+xml"/>
  <Override PartName="/ppt/slideLayouts/slideLayout1327.xml" ContentType="application/vnd.openxmlformats-officedocument.presentationml.slideLayout+xml"/>
  <Override PartName="/ppt/slideLayouts/slideLayout1328.xml" ContentType="application/vnd.openxmlformats-officedocument.presentationml.slideLayout+xml"/>
  <Override PartName="/ppt/theme/theme26.xml" ContentType="application/vnd.openxmlformats-officedocument.theme+xml"/>
  <Override PartName="/ppt/slideLayouts/slideLayout1329.xml" ContentType="application/vnd.openxmlformats-officedocument.presentationml.slideLayout+xml"/>
  <Override PartName="/ppt/slideLayouts/slideLayout1330.xml" ContentType="application/vnd.openxmlformats-officedocument.presentationml.slideLayout+xml"/>
  <Override PartName="/ppt/slideLayouts/slideLayout1331.xml" ContentType="application/vnd.openxmlformats-officedocument.presentationml.slideLayout+xml"/>
  <Override PartName="/ppt/slideLayouts/slideLayout1332.xml" ContentType="application/vnd.openxmlformats-officedocument.presentationml.slideLayout+xml"/>
  <Override PartName="/ppt/slideLayouts/slideLayout1333.xml" ContentType="application/vnd.openxmlformats-officedocument.presentationml.slideLayout+xml"/>
  <Override PartName="/ppt/slideLayouts/slideLayout1334.xml" ContentType="application/vnd.openxmlformats-officedocument.presentationml.slideLayout+xml"/>
  <Override PartName="/ppt/slideLayouts/slideLayout1335.xml" ContentType="application/vnd.openxmlformats-officedocument.presentationml.slideLayout+xml"/>
  <Override PartName="/ppt/slideLayouts/slideLayout1336.xml" ContentType="application/vnd.openxmlformats-officedocument.presentationml.slideLayout+xml"/>
  <Override PartName="/ppt/slideLayouts/slideLayout1337.xml" ContentType="application/vnd.openxmlformats-officedocument.presentationml.slideLayout+xml"/>
  <Override PartName="/ppt/slideLayouts/slideLayout1338.xml" ContentType="application/vnd.openxmlformats-officedocument.presentationml.slideLayout+xml"/>
  <Override PartName="/ppt/slideLayouts/slideLayout1339.xml" ContentType="application/vnd.openxmlformats-officedocument.presentationml.slideLayout+xml"/>
  <Override PartName="/ppt/slideLayouts/slideLayout1340.xml" ContentType="application/vnd.openxmlformats-officedocument.presentationml.slideLayout+xml"/>
  <Override PartName="/ppt/slideLayouts/slideLayout1341.xml" ContentType="application/vnd.openxmlformats-officedocument.presentationml.slideLayout+xml"/>
  <Override PartName="/ppt/slideLayouts/slideLayout1342.xml" ContentType="application/vnd.openxmlformats-officedocument.presentationml.slideLayout+xml"/>
  <Override PartName="/ppt/slideLayouts/slideLayout1343.xml" ContentType="application/vnd.openxmlformats-officedocument.presentationml.slideLayout+xml"/>
  <Override PartName="/ppt/slideLayouts/slideLayout1344.xml" ContentType="application/vnd.openxmlformats-officedocument.presentationml.slideLayout+xml"/>
  <Override PartName="/ppt/slideLayouts/slideLayout1345.xml" ContentType="application/vnd.openxmlformats-officedocument.presentationml.slideLayout+xml"/>
  <Override PartName="/ppt/slideLayouts/slideLayout1346.xml" ContentType="application/vnd.openxmlformats-officedocument.presentationml.slideLayout+xml"/>
  <Override PartName="/ppt/slideLayouts/slideLayout1347.xml" ContentType="application/vnd.openxmlformats-officedocument.presentationml.slideLayout+xml"/>
  <Override PartName="/ppt/slideLayouts/slideLayout1348.xml" ContentType="application/vnd.openxmlformats-officedocument.presentationml.slideLayout+xml"/>
  <Override PartName="/ppt/slideLayouts/slideLayout1349.xml" ContentType="application/vnd.openxmlformats-officedocument.presentationml.slideLayout+xml"/>
  <Override PartName="/ppt/slideLayouts/slideLayout1350.xml" ContentType="application/vnd.openxmlformats-officedocument.presentationml.slideLayout+xml"/>
  <Override PartName="/ppt/slideLayouts/slideLayout1351.xml" ContentType="application/vnd.openxmlformats-officedocument.presentationml.slideLayout+xml"/>
  <Override PartName="/ppt/slideLayouts/slideLayout1352.xml" ContentType="application/vnd.openxmlformats-officedocument.presentationml.slideLayout+xml"/>
  <Override PartName="/ppt/slideLayouts/slideLayout1353.xml" ContentType="application/vnd.openxmlformats-officedocument.presentationml.slideLayout+xml"/>
  <Override PartName="/ppt/slideLayouts/slideLayout1354.xml" ContentType="application/vnd.openxmlformats-officedocument.presentationml.slideLayout+xml"/>
  <Override PartName="/ppt/slideLayouts/slideLayout1355.xml" ContentType="application/vnd.openxmlformats-officedocument.presentationml.slideLayout+xml"/>
  <Override PartName="/ppt/slideLayouts/slideLayout1356.xml" ContentType="application/vnd.openxmlformats-officedocument.presentationml.slideLayout+xml"/>
  <Override PartName="/ppt/slideLayouts/slideLayout1357.xml" ContentType="application/vnd.openxmlformats-officedocument.presentationml.slideLayout+xml"/>
  <Override PartName="/ppt/slideLayouts/slideLayout1358.xml" ContentType="application/vnd.openxmlformats-officedocument.presentationml.slideLayout+xml"/>
  <Override PartName="/ppt/slideLayouts/slideLayout1359.xml" ContentType="application/vnd.openxmlformats-officedocument.presentationml.slideLayout+xml"/>
  <Override PartName="/ppt/slideLayouts/slideLayout1360.xml" ContentType="application/vnd.openxmlformats-officedocument.presentationml.slideLayout+xml"/>
  <Override PartName="/ppt/slideLayouts/slideLayout1361.xml" ContentType="application/vnd.openxmlformats-officedocument.presentationml.slideLayout+xml"/>
  <Override PartName="/ppt/slideLayouts/slideLayout1362.xml" ContentType="application/vnd.openxmlformats-officedocument.presentationml.slideLayout+xml"/>
  <Override PartName="/ppt/slideLayouts/slideLayout1363.xml" ContentType="application/vnd.openxmlformats-officedocument.presentationml.slideLayout+xml"/>
  <Override PartName="/ppt/slideLayouts/slideLayout1364.xml" ContentType="application/vnd.openxmlformats-officedocument.presentationml.slideLayout+xml"/>
  <Override PartName="/ppt/slideLayouts/slideLayout1365.xml" ContentType="application/vnd.openxmlformats-officedocument.presentationml.slideLayout+xml"/>
  <Override PartName="/ppt/slideLayouts/slideLayout1366.xml" ContentType="application/vnd.openxmlformats-officedocument.presentationml.slideLayout+xml"/>
  <Override PartName="/ppt/slideLayouts/slideLayout1367.xml" ContentType="application/vnd.openxmlformats-officedocument.presentationml.slideLayout+xml"/>
  <Override PartName="/ppt/slideLayouts/slideLayout1368.xml" ContentType="application/vnd.openxmlformats-officedocument.presentationml.slideLayout+xml"/>
  <Override PartName="/ppt/slideLayouts/slideLayout1369.xml" ContentType="application/vnd.openxmlformats-officedocument.presentationml.slideLayout+xml"/>
  <Override PartName="/ppt/slideLayouts/slideLayout1370.xml" ContentType="application/vnd.openxmlformats-officedocument.presentationml.slideLayout+xml"/>
  <Override PartName="/ppt/slideLayouts/slideLayout1371.xml" ContentType="application/vnd.openxmlformats-officedocument.presentationml.slideLayout+xml"/>
  <Override PartName="/ppt/slideLayouts/slideLayout1372.xml" ContentType="application/vnd.openxmlformats-officedocument.presentationml.slideLayout+xml"/>
  <Override PartName="/ppt/slideLayouts/slideLayout1373.xml" ContentType="application/vnd.openxmlformats-officedocument.presentationml.slideLayout+xml"/>
  <Override PartName="/ppt/slideLayouts/slideLayout1374.xml" ContentType="application/vnd.openxmlformats-officedocument.presentationml.slideLayout+xml"/>
  <Override PartName="/ppt/slideLayouts/slideLayout1375.xml" ContentType="application/vnd.openxmlformats-officedocument.presentationml.slideLayout+xml"/>
  <Override PartName="/ppt/slideLayouts/slideLayout1376.xml" ContentType="application/vnd.openxmlformats-officedocument.presentationml.slideLayout+xml"/>
  <Override PartName="/ppt/slideLayouts/slideLayout1377.xml" ContentType="application/vnd.openxmlformats-officedocument.presentationml.slideLayout+xml"/>
  <Override PartName="/ppt/slideLayouts/slideLayout1378.xml" ContentType="application/vnd.openxmlformats-officedocument.presentationml.slideLayout+xml"/>
  <Override PartName="/ppt/slideLayouts/slideLayout1379.xml" ContentType="application/vnd.openxmlformats-officedocument.presentationml.slideLayout+xml"/>
  <Override PartName="/ppt/slideLayouts/slideLayout1380.xml" ContentType="application/vnd.openxmlformats-officedocument.presentationml.slideLayout+xml"/>
  <Override PartName="/ppt/slideLayouts/slideLayout1381.xml" ContentType="application/vnd.openxmlformats-officedocument.presentationml.slideLayout+xml"/>
  <Override PartName="/ppt/slideLayouts/slideLayout1382.xml" ContentType="application/vnd.openxmlformats-officedocument.presentationml.slideLayout+xml"/>
  <Override PartName="/ppt/slideLayouts/slideLayout1383.xml" ContentType="application/vnd.openxmlformats-officedocument.presentationml.slideLayout+xml"/>
  <Override PartName="/ppt/slideLayouts/slideLayout1384.xml" ContentType="application/vnd.openxmlformats-officedocument.presentationml.slideLayout+xml"/>
  <Override PartName="/ppt/slideLayouts/slideLayout1385.xml" ContentType="application/vnd.openxmlformats-officedocument.presentationml.slideLayout+xml"/>
  <Override PartName="/ppt/theme/theme27.xml" ContentType="application/vnd.openxmlformats-officedocument.theme+xml"/>
  <Override PartName="/ppt/tags/tag4.xml" ContentType="application/vnd.openxmlformats-officedocument.presentationml.tags+xml"/>
  <Override PartName="/ppt/theme/theme2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1"/>
    <p:sldMasterId id="2147483728" r:id="rId2"/>
    <p:sldMasterId id="2147483799" r:id="rId3"/>
    <p:sldMasterId id="2147483835" r:id="rId4"/>
    <p:sldMasterId id="2147483906" r:id="rId5"/>
    <p:sldMasterId id="2147483975" r:id="rId6"/>
    <p:sldMasterId id="2147483995" r:id="rId7"/>
    <p:sldMasterId id="2147484065" r:id="rId8"/>
    <p:sldMasterId id="2147484120" r:id="rId9"/>
    <p:sldMasterId id="2147484174" r:id="rId10"/>
    <p:sldMasterId id="2147484237" r:id="rId11"/>
    <p:sldMasterId id="2147484301" r:id="rId12"/>
    <p:sldMasterId id="2147484330" r:id="rId13"/>
    <p:sldMasterId id="2147484370" r:id="rId14"/>
    <p:sldMasterId id="2147484427" r:id="rId15"/>
    <p:sldMasterId id="2147484497" r:id="rId16"/>
    <p:sldMasterId id="2147484552" r:id="rId17"/>
    <p:sldMasterId id="2147484590" r:id="rId18"/>
    <p:sldMasterId id="2147484621" r:id="rId19"/>
    <p:sldMasterId id="2147484639" r:id="rId20"/>
    <p:sldMasterId id="2147484679" r:id="rId21"/>
    <p:sldMasterId id="2147484743" r:id="rId22"/>
    <p:sldMasterId id="2147484800" r:id="rId23"/>
    <p:sldMasterId id="2147484861" r:id="rId24"/>
    <p:sldMasterId id="2147484889" r:id="rId25"/>
    <p:sldMasterId id="2147484953" r:id="rId26"/>
    <p:sldMasterId id="2147485016" r:id="rId27"/>
  </p:sldMasterIdLst>
  <p:notesMasterIdLst>
    <p:notesMasterId r:id="rId31"/>
  </p:notesMasterIdLst>
  <p:sldIdLst>
    <p:sldId id="320" r:id="rId28"/>
    <p:sldId id="321" r:id="rId29"/>
    <p:sldId id="392" r:id="rId30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7"/>
    <p:restoredTop sz="94658"/>
  </p:normalViewPr>
  <p:slideViewPr>
    <p:cSldViewPr snapToGrid="0">
      <p:cViewPr varScale="1">
        <p:scale>
          <a:sx n="101" d="100"/>
          <a:sy n="101" d="100"/>
        </p:scale>
        <p:origin x="284" y="2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" Target="slides/slide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" Target="slides/slide1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" Target="slides/slide3.xml"/><Relationship Id="rId35" Type="http://schemas.openxmlformats.org/officeDocument/2006/relationships/tableStyles" Target="tableStyles.xml"/><Relationship Id="rId8" Type="http://schemas.openxmlformats.org/officeDocument/2006/relationships/slideMaster" Target="slideMasters/slideMaster8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383481C-03BA-084F-98D9-F35E401A301A}" type="datetimeFigureOut">
              <a:rPr lang="en-US" smtClean="0"/>
              <a:t>3/31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2B36FCC-C294-A540-AD37-F27E45E4F46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5937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wo major vendors who understand and is capable to meet US Federal requirements on security, scalability and quality to deliver business-critical collaboration and services.</a:t>
            </a:r>
          </a:p>
          <a:p>
            <a:endParaRPr lang="en-US"/>
          </a:p>
          <a:p>
            <a:r>
              <a:rPr lang="en-US"/>
              <a:t>Across technologies there are more complementing than competing offerings from Microsoft and Cisco.</a:t>
            </a:r>
          </a:p>
          <a:p>
            <a:endParaRPr lang="en-US"/>
          </a:p>
          <a:p>
            <a:r>
              <a:rPr lang="en-US"/>
              <a:t>While Microsoft focus deliver the application solutions, Cisco focus on how we connecting everyone and everything in a full digital and AI-supported workplace.</a:t>
            </a:r>
          </a:p>
          <a:p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ere is a strong commitment to the partnership on all levels between Cisco and Microsoft. </a:t>
            </a:r>
          </a:p>
          <a:p>
            <a:endParaRPr lang="en-US"/>
          </a:p>
          <a:p>
            <a:r>
              <a:rPr lang="en-US"/>
              <a:t>And both companies are fully commitment to deliver on Federal requirements, like </a:t>
            </a:r>
            <a:r>
              <a:rPr lang="en-US" err="1"/>
              <a:t>FedRamp</a:t>
            </a:r>
            <a:r>
              <a:rPr lang="en-US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5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06331D-EFA3-0C49-86FC-9D59F4A6C2F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095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741632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Two major vendors who understand and is capable to meet US Federal requirements on security, scalability and quality to deliver business-critical collaboration and services.</a:t>
            </a:r>
          </a:p>
          <a:p>
            <a:endParaRPr lang="en-US"/>
          </a:p>
          <a:p>
            <a:r>
              <a:rPr lang="en-US"/>
              <a:t>Across technologies there are more complementing than competing offerings from Microsoft and Cisco.</a:t>
            </a:r>
          </a:p>
          <a:p>
            <a:endParaRPr lang="en-US"/>
          </a:p>
          <a:p>
            <a:r>
              <a:rPr lang="en-US"/>
              <a:t>While Microsoft focus deliver the application solutions, Cisco focus on how we connecting everyone and everything in a full digital and AI-supported workplace.</a:t>
            </a:r>
          </a:p>
          <a:p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There is a strong commitment to the partnership on all levels between Cisco and Microsoft. </a:t>
            </a:r>
          </a:p>
          <a:p>
            <a:endParaRPr lang="en-US"/>
          </a:p>
          <a:p>
            <a:r>
              <a:rPr lang="en-US"/>
              <a:t>And both companies are fully commitment to deliver on Federal requirements, like </a:t>
            </a:r>
            <a:r>
              <a:rPr lang="en-US" err="1"/>
              <a:t>FedRamp</a:t>
            </a:r>
            <a:r>
              <a:rPr lang="en-US"/>
              <a:t>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095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F06331D-EFA3-0C49-86FC-9D59F4A6C2F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6095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74163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0" i="0" u="none" strike="noStrike">
                <a:solidFill>
                  <a:schemeClr val="tx1"/>
                </a:solidFill>
                <a:effectLst/>
                <a:latin typeface="Aptos Narrow" panose="020B0004020202020204" pitchFamily="34" charset="0"/>
              </a:rPr>
              <a:t>Cisco Devices and Collaboration for US Federal - Intro &amp; Vision</a:t>
            </a:r>
            <a:endParaRPr lang="en-US"/>
          </a:p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D9045D6-77B2-9441-AFCC-FEC32C2CB2FA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0937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9.jpeg"/><Relationship Id="rId1" Type="http://schemas.openxmlformats.org/officeDocument/2006/relationships/slideMaster" Target="../slideMasters/slideMaster21.xml"/></Relationships>
</file>

<file path=ppt/slideLayouts/_rels/slideLayout10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0.jpeg"/><Relationship Id="rId1" Type="http://schemas.openxmlformats.org/officeDocument/2006/relationships/slideMaster" Target="../slideMasters/slideMaster21.xml"/></Relationships>
</file>

<file path=ppt/slideLayouts/_rels/slideLayout10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1.jpeg"/><Relationship Id="rId1" Type="http://schemas.openxmlformats.org/officeDocument/2006/relationships/slideMaster" Target="../slideMasters/slideMaster21.xml"/></Relationships>
</file>

<file path=ppt/slideLayouts/_rels/slideLayout10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2.jpeg"/><Relationship Id="rId1" Type="http://schemas.openxmlformats.org/officeDocument/2006/relationships/slideMaster" Target="../slideMasters/slideMaster21.xml"/></Relationships>
</file>

<file path=ppt/slideLayouts/_rels/slideLayout10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jpeg"/><Relationship Id="rId1" Type="http://schemas.openxmlformats.org/officeDocument/2006/relationships/slideMaster" Target="../slideMasters/slideMaster21.xml"/></Relationships>
</file>

<file path=ppt/slideLayouts/_rels/slideLayout10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slideMaster" Target="../slideMasters/slideMaster21.xml"/></Relationships>
</file>

<file path=ppt/slideLayouts/_rels/slideLayout10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eg"/><Relationship Id="rId1" Type="http://schemas.openxmlformats.org/officeDocument/2006/relationships/slideMaster" Target="../slideMasters/slideMaster21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3.jpeg"/><Relationship Id="rId1" Type="http://schemas.openxmlformats.org/officeDocument/2006/relationships/slideMaster" Target="../slideMasters/slideMaster21.xml"/></Relationships>
</file>

<file path=ppt/slideLayouts/_rels/slideLayout10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4.jpeg"/><Relationship Id="rId1" Type="http://schemas.openxmlformats.org/officeDocument/2006/relationships/slideMaster" Target="../slideMasters/slideMaster21.xml"/></Relationships>
</file>

<file path=ppt/slideLayouts/_rels/slideLayout10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jpeg"/><Relationship Id="rId1" Type="http://schemas.openxmlformats.org/officeDocument/2006/relationships/slideMaster" Target="../slideMasters/slideMaster21.xml"/></Relationships>
</file>

<file path=ppt/slideLayouts/_rels/slideLayout10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3.jpeg"/><Relationship Id="rId1" Type="http://schemas.openxmlformats.org/officeDocument/2006/relationships/slideMaster" Target="../slideMasters/slideMaster21.xml"/></Relationships>
</file>

<file path=ppt/slideLayouts/_rels/slideLayout10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4.jpeg"/><Relationship Id="rId1" Type="http://schemas.openxmlformats.org/officeDocument/2006/relationships/slideMaster" Target="../slideMasters/slideMaster21.xml"/></Relationships>
</file>

<file path=ppt/slideLayouts/_rels/slideLayout10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jpeg"/><Relationship Id="rId1" Type="http://schemas.openxmlformats.org/officeDocument/2006/relationships/slideMaster" Target="../slideMasters/slideMaster21.xml"/></Relationships>
</file>

<file path=ppt/slideLayouts/_rels/slideLayout10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5.sv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21.xml"/></Relationships>
</file>

<file path=ppt/slideLayouts/_rels/slideLayout10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21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8.png"/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22.xml"/></Relationships>
</file>

<file path=ppt/slideLayouts/_rels/slideLayout10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22.xml"/><Relationship Id="rId4" Type="http://schemas.openxmlformats.org/officeDocument/2006/relationships/image" Target="../media/image65.svg"/></Relationships>
</file>

<file path=ppt/slideLayouts/_rels/slideLayout10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6.jpeg"/><Relationship Id="rId1" Type="http://schemas.openxmlformats.org/officeDocument/2006/relationships/slideMaster" Target="../slideMasters/slideMaster22.xml"/></Relationships>
</file>

<file path=ppt/slideLayouts/_rels/slideLayout10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7.jpeg"/><Relationship Id="rId1" Type="http://schemas.openxmlformats.org/officeDocument/2006/relationships/slideMaster" Target="../slideMasters/slideMaster22.xml"/></Relationships>
</file>

<file path=ppt/slideLayouts/_rels/slideLayout10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8.jpeg"/><Relationship Id="rId1" Type="http://schemas.openxmlformats.org/officeDocument/2006/relationships/slideMaster" Target="../slideMasters/slideMaster22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0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0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Relationship Id="rId4" Type="http://schemas.microsoft.com/office/2007/relationships/hdphoto" Target="../media/hdphoto1.wdp"/></Relationships>
</file>

<file path=ppt/slideLayouts/_rels/slideLayout1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jpeg"/><Relationship Id="rId1" Type="http://schemas.openxmlformats.org/officeDocument/2006/relationships/slideMaster" Target="../slideMasters/slideMaster22.xml"/></Relationships>
</file>

<file path=ppt/slideLayouts/_rels/slideLayout1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slideMaster" Target="../slideMasters/slideMaster22.xml"/></Relationships>
</file>

<file path=ppt/slideLayouts/_rels/slideLayout1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eg"/><Relationship Id="rId1" Type="http://schemas.openxmlformats.org/officeDocument/2006/relationships/slideMaster" Target="../slideMasters/slideMaster22.xml"/></Relationships>
</file>

<file path=ppt/slideLayouts/_rels/slideLayout1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Master" Target="../slideMasters/slideMaster22.xml"/></Relationships>
</file>

<file path=ppt/slideLayouts/_rels/slideLayout11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jpeg"/><Relationship Id="rId1" Type="http://schemas.openxmlformats.org/officeDocument/2006/relationships/slideMaster" Target="../slideMasters/slideMaster22.xml"/></Relationships>
</file>

<file path=ppt/slideLayouts/_rels/slideLayout1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jpeg"/><Relationship Id="rId1" Type="http://schemas.openxmlformats.org/officeDocument/2006/relationships/slideMaster" Target="../slideMasters/slideMaster22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Relationship Id="rId4" Type="http://schemas.microsoft.com/office/2007/relationships/hdphoto" Target="../media/hdphoto1.wdp"/></Relationships>
</file>

<file path=ppt/slideLayouts/_rels/slideLayout1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22.xml"/></Relationships>
</file>

<file path=ppt/slideLayouts/_rels/slideLayout11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22.xml"/></Relationships>
</file>

<file path=ppt/slideLayouts/_rels/slideLayout1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8.svg"/><Relationship Id="rId2" Type="http://schemas.openxmlformats.org/officeDocument/2006/relationships/image" Target="../media/image90.png"/><Relationship Id="rId1" Type="http://schemas.openxmlformats.org/officeDocument/2006/relationships/slideMaster" Target="../slideMasters/slideMaster22.xml"/></Relationships>
</file>

<file path=ppt/slideLayouts/_rels/slideLayout1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0.png"/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23.xml"/></Relationships>
</file>

<file path=ppt/slideLayouts/_rels/slideLayout1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Relationship Id="rId4" Type="http://schemas.microsoft.com/office/2007/relationships/hdphoto" Target="../media/hdphoto1.wdp"/></Relationships>
</file>

<file path=ppt/slideLayouts/_rels/slideLayout1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Relationship Id="rId4" Type="http://schemas.microsoft.com/office/2007/relationships/hdphoto" Target="../media/hdphoto1.wdp"/></Relationships>
</file>

<file path=ppt/slideLayouts/_rels/slideLayout1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23.xml"/><Relationship Id="rId4" Type="http://schemas.openxmlformats.org/officeDocument/2006/relationships/image" Target="../media/image149.svg"/></Relationships>
</file>

<file path=ppt/slideLayouts/_rels/slideLayout1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1.jpeg"/><Relationship Id="rId1" Type="http://schemas.openxmlformats.org/officeDocument/2006/relationships/slideMaster" Target="../slideMasters/slideMaster23.xml"/></Relationships>
</file>

<file path=ppt/slideLayouts/_rels/slideLayout11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2.jpeg"/><Relationship Id="rId1" Type="http://schemas.openxmlformats.org/officeDocument/2006/relationships/slideMaster" Target="../slideMasters/slideMaster23.xml"/></Relationships>
</file>

<file path=ppt/slideLayouts/_rels/slideLayout1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3.jpeg"/><Relationship Id="rId1" Type="http://schemas.openxmlformats.org/officeDocument/2006/relationships/slideMaster" Target="../slideMasters/slideMaster23.xml"/></Relationships>
</file>

<file path=ppt/slideLayouts/_rels/slideLayout1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jpeg"/><Relationship Id="rId1" Type="http://schemas.openxmlformats.org/officeDocument/2006/relationships/slideMaster" Target="../slideMasters/slideMaster23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slideMaster" Target="../slideMasters/slideMaster23.xml"/></Relationships>
</file>

<file path=ppt/slideLayouts/_rels/slideLayout1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eg"/><Relationship Id="rId1" Type="http://schemas.openxmlformats.org/officeDocument/2006/relationships/slideMaster" Target="../slideMasters/slideMaster23.xml"/></Relationships>
</file>

<file path=ppt/slideLayouts/_rels/slideLayout1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4.jpeg"/><Relationship Id="rId1" Type="http://schemas.openxmlformats.org/officeDocument/2006/relationships/slideMaster" Target="../slideMasters/slideMaster23.xml"/></Relationships>
</file>

<file path=ppt/slideLayouts/_rels/slideLayout1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5.jpeg"/><Relationship Id="rId1" Type="http://schemas.openxmlformats.org/officeDocument/2006/relationships/slideMaster" Target="../slideMasters/slideMaster23.xml"/></Relationships>
</file>

<file path=ppt/slideLayouts/_rels/slideLayout1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6.jpeg"/><Relationship Id="rId1" Type="http://schemas.openxmlformats.org/officeDocument/2006/relationships/slideMaster" Target="../slideMasters/slideMaster23.xml"/></Relationships>
</file>

<file path=ppt/slideLayouts/_rels/slideLayout1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23.xml"/></Relationships>
</file>

<file path=ppt/slideLayouts/_rels/slideLayout1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7.png"/><Relationship Id="rId1" Type="http://schemas.openxmlformats.org/officeDocument/2006/relationships/slideMaster" Target="../slideMasters/slideMaster23.xml"/></Relationships>
</file>

<file path=ppt/slideLayouts/_rels/slideLayout1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8.svg"/><Relationship Id="rId2" Type="http://schemas.openxmlformats.org/officeDocument/2006/relationships/image" Target="../media/image170.png"/><Relationship Id="rId1" Type="http://schemas.openxmlformats.org/officeDocument/2006/relationships/slideMaster" Target="../slideMasters/slideMaster23.xml"/></Relationships>
</file>

<file path=ppt/slideLayouts/_rels/slideLayout1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3.xml"/></Relationships>
</file>

<file path=ppt/slideLayouts/_rels/slideLayout11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9.png"/><Relationship Id="rId1" Type="http://schemas.openxmlformats.org/officeDocument/2006/relationships/slideMaster" Target="../slideMasters/slideMaster24.xml"/></Relationships>
</file>

<file path=ppt/slideLayouts/_rels/slideLayout1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0.jpeg"/><Relationship Id="rId1" Type="http://schemas.openxmlformats.org/officeDocument/2006/relationships/slideMaster" Target="../slideMasters/slideMaster24.xml"/></Relationships>
</file>

<file path=ppt/slideLayouts/_rels/slideLayout11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1.jpeg"/><Relationship Id="rId1" Type="http://schemas.openxmlformats.org/officeDocument/2006/relationships/slideMaster" Target="../slideMasters/slideMaster24.xml"/></Relationships>
</file>

<file path=ppt/slideLayouts/_rels/slideLayout1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2.jpeg"/><Relationship Id="rId1" Type="http://schemas.openxmlformats.org/officeDocument/2006/relationships/slideMaster" Target="../slideMasters/slideMaster24.xml"/></Relationships>
</file>

<file path=ppt/slideLayouts/_rels/slideLayout1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3.jpeg"/><Relationship Id="rId1" Type="http://schemas.openxmlformats.org/officeDocument/2006/relationships/slideMaster" Target="../slideMasters/slideMaster24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4.png"/><Relationship Id="rId1" Type="http://schemas.openxmlformats.org/officeDocument/2006/relationships/slideMaster" Target="../slideMasters/slideMaster24.xml"/></Relationships>
</file>

<file path=ppt/slideLayouts/_rels/slideLayout11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5.png"/><Relationship Id="rId1" Type="http://schemas.openxmlformats.org/officeDocument/2006/relationships/slideMaster" Target="../slideMasters/slideMaster24.xml"/></Relationships>
</file>

<file path=ppt/slideLayouts/_rels/slideLayout1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6.png"/><Relationship Id="rId1" Type="http://schemas.openxmlformats.org/officeDocument/2006/relationships/slideMaster" Target="../slideMasters/slideMaster24.xml"/></Relationships>
</file>

<file path=ppt/slideLayouts/_rels/slideLayout1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7.png"/><Relationship Id="rId1" Type="http://schemas.openxmlformats.org/officeDocument/2006/relationships/slideMaster" Target="../slideMasters/slideMaster24.xml"/></Relationships>
</file>

<file path=ppt/slideLayouts/_rels/slideLayout11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8.png"/><Relationship Id="rId1" Type="http://schemas.openxmlformats.org/officeDocument/2006/relationships/slideMaster" Target="../slideMasters/slideMaster24.xml"/></Relationships>
</file>

<file path=ppt/slideLayouts/_rels/slideLayout1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9.png"/><Relationship Id="rId1" Type="http://schemas.openxmlformats.org/officeDocument/2006/relationships/slideMaster" Target="../slideMasters/slideMaster24.xml"/></Relationships>
</file>

<file path=ppt/slideLayouts/_rels/slideLayout12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0.png"/><Relationship Id="rId1" Type="http://schemas.openxmlformats.org/officeDocument/2006/relationships/slideMaster" Target="../slideMasters/slideMaster24.xml"/></Relationships>
</file>

<file path=ppt/slideLayouts/_rels/slideLayout1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1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Master" Target="../slideMasters/slideMaster25.xml"/></Relationships>
</file>

<file path=ppt/slideLayouts/_rels/slideLayout1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jpeg"/><Relationship Id="rId1" Type="http://schemas.openxmlformats.org/officeDocument/2006/relationships/slideMaster" Target="../slideMasters/slideMaster25.xml"/></Relationships>
</file>

<file path=ppt/slideLayouts/_rels/slideLayout1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Master" Target="../slideMasters/slideMaster25.xml"/></Relationships>
</file>

<file path=ppt/slideLayouts/_rels/slideLayout12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jpeg"/><Relationship Id="rId1" Type="http://schemas.openxmlformats.org/officeDocument/2006/relationships/slideMaster" Target="../slideMasters/slideMaster25.xml"/></Relationships>
</file>

<file path=ppt/slideLayouts/_rels/slideLayout1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9.jpeg"/><Relationship Id="rId1" Type="http://schemas.openxmlformats.org/officeDocument/2006/relationships/slideMaster" Target="../slideMasters/slideMaster25.xml"/></Relationships>
</file>

<file path=ppt/slideLayouts/_rels/slideLayout12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100.jpeg"/><Relationship Id="rId1" Type="http://schemas.openxmlformats.org/officeDocument/2006/relationships/slideMaster" Target="../slideMasters/slideMaster25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Master" Target="../slideMasters/slideMaster25.xml"/></Relationships>
</file>

<file path=ppt/slideLayouts/_rels/slideLayout1222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01.png"/><Relationship Id="rId1" Type="http://schemas.openxmlformats.org/officeDocument/2006/relationships/slideMaster" Target="../slideMasters/slideMaster25.xml"/></Relationships>
</file>

<file path=ppt/slideLayouts/_rels/slideLayout1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27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01.png"/><Relationship Id="rId1" Type="http://schemas.openxmlformats.org/officeDocument/2006/relationships/slideMaster" Target="../slideMasters/slideMaster25.xml"/></Relationships>
</file>

<file path=ppt/slideLayouts/_rels/slideLayout1228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01.png"/><Relationship Id="rId1" Type="http://schemas.openxmlformats.org/officeDocument/2006/relationships/slideMaster" Target="../slideMasters/slideMaster25.xml"/></Relationships>
</file>

<file path=ppt/slideLayouts/_rels/slideLayout1229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101.png"/><Relationship Id="rId1" Type="http://schemas.openxmlformats.org/officeDocument/2006/relationships/slideMaster" Target="../slideMasters/slideMaster25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44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102.png"/><Relationship Id="rId1" Type="http://schemas.openxmlformats.org/officeDocument/2006/relationships/slideMaster" Target="../slideMasters/slideMaster25.xml"/></Relationships>
</file>

<file path=ppt/slideLayouts/_rels/slideLayout12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Master" Target="../slideMasters/slideMaster25.xml"/></Relationships>
</file>

<file path=ppt/slideLayouts/_rels/slideLayout12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Master" Target="../slideMasters/slideMaster25.xml"/></Relationships>
</file>

<file path=ppt/slideLayouts/_rels/slideLayout12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Master" Target="../slideMasters/slideMaster25.xml"/></Relationships>
</file>

<file path=ppt/slideLayouts/_rels/slideLayout12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Master" Target="../slideMasters/slideMaster25.xml"/></Relationships>
</file>

<file path=ppt/slideLayouts/_rels/slideLayout1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07.jpeg"/><Relationship Id="rId1" Type="http://schemas.openxmlformats.org/officeDocument/2006/relationships/slideMaster" Target="../slideMasters/slideMaster25.xml"/><Relationship Id="rId4" Type="http://schemas.openxmlformats.org/officeDocument/2006/relationships/image" Target="../media/image98.pn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12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08.jpeg"/><Relationship Id="rId1" Type="http://schemas.openxmlformats.org/officeDocument/2006/relationships/slideMaster" Target="../slideMasters/slideMaster25.xml"/><Relationship Id="rId4" Type="http://schemas.openxmlformats.org/officeDocument/2006/relationships/image" Target="../media/image98.png"/></Relationships>
</file>

<file path=ppt/slideLayouts/_rels/slideLayout12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09.jpeg"/><Relationship Id="rId1" Type="http://schemas.openxmlformats.org/officeDocument/2006/relationships/slideMaster" Target="../slideMasters/slideMaster25.xml"/><Relationship Id="rId4" Type="http://schemas.openxmlformats.org/officeDocument/2006/relationships/image" Target="../media/image98.png"/></Relationships>
</file>

<file path=ppt/slideLayouts/_rels/slideLayout12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5.xml"/></Relationships>
</file>

<file path=ppt/slideLayouts/_rels/slideLayout12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5.xml"/></Relationships>
</file>

<file path=ppt/slideLayouts/_rels/slideLayout1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5.xml"/></Relationships>
</file>

<file path=ppt/slideLayouts/_rels/slideLayout12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gif"/><Relationship Id="rId2" Type="http://schemas.openxmlformats.org/officeDocument/2006/relationships/image" Target="../media/image110.jpeg"/><Relationship Id="rId1" Type="http://schemas.openxmlformats.org/officeDocument/2006/relationships/slideMaster" Target="../slideMasters/slideMaster25.xml"/></Relationships>
</file>

<file path=ppt/slideLayouts/_rels/slideLayout12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jpeg"/><Relationship Id="rId1" Type="http://schemas.openxmlformats.org/officeDocument/2006/relationships/slideMaster" Target="../slideMasters/slideMaster25.xml"/></Relationships>
</file>

<file path=ppt/slideLayouts/_rels/slideLayout12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2.png"/><Relationship Id="rId2" Type="http://schemas.openxmlformats.org/officeDocument/2006/relationships/image" Target="../media/image221.png"/><Relationship Id="rId1" Type="http://schemas.openxmlformats.org/officeDocument/2006/relationships/slideMaster" Target="../slideMasters/slideMaster26.xml"/></Relationships>
</file>

<file path=ppt/slideLayouts/_rels/slideLayout1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2.xml"/></Relationships>
</file>

<file path=ppt/slideLayouts/_rels/slideLayout1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26.xml"/><Relationship Id="rId4" Type="http://schemas.openxmlformats.org/officeDocument/2006/relationships/image" Target="../media/image65.svg"/></Relationships>
</file>

<file path=ppt/slideLayouts/_rels/slideLayout1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2.xml"/></Relationships>
</file>

<file path=ppt/slideLayouts/_rels/slideLayout12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3.png"/><Relationship Id="rId1" Type="http://schemas.openxmlformats.org/officeDocument/2006/relationships/slideMaster" Target="../slideMasters/slideMaster26.xml"/></Relationships>
</file>

<file path=ppt/slideLayouts/_rels/slideLayout12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4.png"/><Relationship Id="rId1" Type="http://schemas.openxmlformats.org/officeDocument/2006/relationships/slideMaster" Target="../slideMasters/slideMaster26.xml"/></Relationships>
</file>

<file path=ppt/slideLayouts/_rels/slideLayout12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5.png"/><Relationship Id="rId1" Type="http://schemas.openxmlformats.org/officeDocument/2006/relationships/slideMaster" Target="../slideMasters/slideMaster26.xml"/></Relationships>
</file>

<file path=ppt/slideLayouts/_rels/slideLayout1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gif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1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jpeg"/><Relationship Id="rId1" Type="http://schemas.openxmlformats.org/officeDocument/2006/relationships/slideMaster" Target="../slideMasters/slideMaster26.xml"/></Relationships>
</file>

<file path=ppt/slideLayouts/_rels/slideLayout1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226.png"/><Relationship Id="rId1" Type="http://schemas.openxmlformats.org/officeDocument/2006/relationships/slideMaster" Target="../slideMasters/slideMaster26.xml"/><Relationship Id="rId4" Type="http://schemas.openxmlformats.org/officeDocument/2006/relationships/image" Target="../media/image65.svg"/></Relationships>
</file>

<file path=ppt/slideLayouts/_rels/slideLayout1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2.png"/><Relationship Id="rId1" Type="http://schemas.openxmlformats.org/officeDocument/2006/relationships/slideMaster" Target="../slideMasters/slideMaster26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.xml"/><Relationship Id="rId4" Type="http://schemas.microsoft.com/office/2007/relationships/hdphoto" Target="../media/hdphoto1.wdp"/></Relationships>
</file>

<file path=ppt/slideLayouts/_rels/slideLayout1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2.png"/><Relationship Id="rId1" Type="http://schemas.openxmlformats.org/officeDocument/2006/relationships/slideMaster" Target="../slideMasters/slideMaster26.xml"/></Relationships>
</file>

<file path=ppt/slideLayouts/_rels/slideLayout13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7.jpeg"/><Relationship Id="rId1" Type="http://schemas.openxmlformats.org/officeDocument/2006/relationships/slideMaster" Target="../slideMasters/slideMaster26.xml"/></Relationships>
</file>

<file path=ppt/slideLayouts/_rels/slideLayout1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8.jpeg"/><Relationship Id="rId1" Type="http://schemas.openxmlformats.org/officeDocument/2006/relationships/slideMaster" Target="../slideMasters/slideMaster26.xml"/></Relationships>
</file>

<file path=ppt/slideLayouts/_rels/slideLayout1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2.xml"/></Relationships>
</file>

<file path=ppt/slideLayouts/_rels/slideLayout1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6.xml"/></Relationships>
</file>

<file path=ppt/slideLayouts/_rels/slideLayout1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9.png"/><Relationship Id="rId2" Type="http://schemas.openxmlformats.org/officeDocument/2006/relationships/image" Target="../media/image152.jpeg"/><Relationship Id="rId1" Type="http://schemas.openxmlformats.org/officeDocument/2006/relationships/slideMaster" Target="../slideMasters/slideMaster27.xml"/></Relationships>
</file>

<file path=ppt/slideLayouts/_rels/slideLayout1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2.xml"/></Relationships>
</file>

<file path=ppt/slideLayouts/_rels/slideLayout1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9.png"/><Relationship Id="rId2" Type="http://schemas.openxmlformats.org/officeDocument/2006/relationships/image" Target="../media/image154.jpeg"/><Relationship Id="rId1" Type="http://schemas.openxmlformats.org/officeDocument/2006/relationships/slideMaster" Target="../slideMasters/slideMaster27.xml"/></Relationships>
</file>

<file path=ppt/slideLayouts/_rels/slideLayout1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5.jpeg"/><Relationship Id="rId1" Type="http://schemas.openxmlformats.org/officeDocument/2006/relationships/slideMaster" Target="../slideMasters/slideMaster27.xml"/></Relationships>
</file>

<file path=ppt/slideLayouts/_rels/slideLayout13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6.jpeg"/><Relationship Id="rId1" Type="http://schemas.openxmlformats.org/officeDocument/2006/relationships/slideMaster" Target="../slideMasters/slideMaster2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7.jpeg"/><Relationship Id="rId1" Type="http://schemas.openxmlformats.org/officeDocument/2006/relationships/slideMaster" Target="../slideMasters/slideMaster27.xml"/></Relationships>
</file>

<file path=ppt/slideLayouts/_rels/slideLayout13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8.jpeg"/><Relationship Id="rId1" Type="http://schemas.openxmlformats.org/officeDocument/2006/relationships/slideMaster" Target="../slideMasters/slideMaster27.xml"/></Relationships>
</file>

<file path=ppt/slideLayouts/_rels/slideLayout13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9.jpeg"/><Relationship Id="rId1" Type="http://schemas.openxmlformats.org/officeDocument/2006/relationships/slideMaster" Target="../slideMasters/slideMaster27.xml"/></Relationships>
</file>

<file path=ppt/slideLayouts/_rels/slideLayout13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0.jpeg"/><Relationship Id="rId1" Type="http://schemas.openxmlformats.org/officeDocument/2006/relationships/slideMaster" Target="../slideMasters/slideMaster27.xml"/></Relationships>
</file>

<file path=ppt/slideLayouts/_rels/slideLayout13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1.jpeg"/><Relationship Id="rId1" Type="http://schemas.openxmlformats.org/officeDocument/2006/relationships/slideMaster" Target="../slideMasters/slideMaster27.xml"/></Relationships>
</file>

<file path=ppt/slideLayouts/_rels/slideLayout13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jpeg"/><Relationship Id="rId1" Type="http://schemas.openxmlformats.org/officeDocument/2006/relationships/slideMaster" Target="../slideMasters/slideMaster27.xml"/></Relationships>
</file>

<file path=ppt/slideLayouts/_rels/slideLayout1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0.jpeg"/><Relationship Id="rId1" Type="http://schemas.openxmlformats.org/officeDocument/2006/relationships/slideMaster" Target="../slideMasters/slideMaster27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2.xml"/></Relationships>
</file>

<file path=ppt/slideLayouts/_rels/slideLayout13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1.jpeg"/><Relationship Id="rId1" Type="http://schemas.openxmlformats.org/officeDocument/2006/relationships/slideMaster" Target="../slideMasters/slideMaster27.xml"/></Relationships>
</file>

<file path=ppt/slideLayouts/_rels/slideLayout13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2.jpeg"/><Relationship Id="rId1" Type="http://schemas.openxmlformats.org/officeDocument/2006/relationships/slideMaster" Target="../slideMasters/slideMaster27.xml"/></Relationships>
</file>

<file path=ppt/slideLayouts/_rels/slideLayout13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png"/><Relationship Id="rId1" Type="http://schemas.openxmlformats.org/officeDocument/2006/relationships/slideMaster" Target="../slideMasters/slideMaster27.xml"/></Relationships>
</file>

<file path=ppt/slideLayouts/_rels/slideLayout13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8.png"/><Relationship Id="rId1" Type="http://schemas.openxmlformats.org/officeDocument/2006/relationships/slideMaster" Target="../slideMasters/slideMaster27.xml"/></Relationships>
</file>

<file path=ppt/slideLayouts/_rels/slideLayout1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5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7.xml"/><Relationship Id="rId1" Type="http://schemas.openxmlformats.org/officeDocument/2006/relationships/tags" Target="../tags/tag4.xml"/></Relationships>
</file>

<file path=ppt/slideLayouts/_rels/slideLayout1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2.xml"/></Relationships>
</file>

<file path=ppt/slideLayouts/_rels/slideLayout1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3.xml"/></Relationships>
</file>

<file path=ppt/slideLayouts/_rels/slideLayout1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3.jpeg"/><Relationship Id="rId1" Type="http://schemas.openxmlformats.org/officeDocument/2006/relationships/slideMaster" Target="../slideMasters/slideMaster27.xml"/></Relationships>
</file>

<file path=ppt/slideLayouts/_rels/slideLayout13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4.png"/><Relationship Id="rId1" Type="http://schemas.openxmlformats.org/officeDocument/2006/relationships/slideMaster" Target="../slideMasters/slideMaster27.xml"/></Relationships>
</file>

<file path=ppt/slideLayouts/_rels/slideLayout137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5.jpeg"/><Relationship Id="rId1" Type="http://schemas.openxmlformats.org/officeDocument/2006/relationships/slideMaster" Target="../slideMasters/slideMaster27.xml"/></Relationships>
</file>

<file path=ppt/slideLayouts/_rels/slideLayout1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6.png"/></Relationships>
</file>

<file path=ppt/slideLayouts/_rels/slideLayout1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svg"/><Relationship Id="rId2" Type="http://schemas.openxmlformats.org/officeDocument/2006/relationships/image" Target="../media/image170.png"/><Relationship Id="rId1" Type="http://schemas.openxmlformats.org/officeDocument/2006/relationships/slideMaster" Target="../slideMasters/slideMaster27.xml"/></Relationships>
</file>

<file path=ppt/slideLayouts/_rels/slideLayout1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6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6.png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30.png"/><Relationship Id="rId1" Type="http://schemas.openxmlformats.org/officeDocument/2006/relationships/slideMaster" Target="../slideMasters/slideMaster3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3.xml"/></Relationships>
</file>

<file path=ppt/slideLayouts/_rels/slideLayout1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3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24.emf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31.png"/><Relationship Id="rId1" Type="http://schemas.openxmlformats.org/officeDocument/2006/relationships/slideMaster" Target="../slideMasters/slideMaster3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33.png"/><Relationship Id="rId1" Type="http://schemas.openxmlformats.org/officeDocument/2006/relationships/slideMaster" Target="../slideMasters/slideMaster3.xml"/></Relationships>
</file>

<file path=ppt/slideLayouts/_rels/slideLayout1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/Relationships>
</file>

<file path=ppt/slideLayouts/_rels/slideLayout1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/Relationships>
</file>

<file path=ppt/slideLayouts/_rels/slideLayout1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/Relationships>
</file>

<file path=ppt/slideLayouts/_rels/slideLayout1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/Relationships>
</file>

<file path=ppt/slideLayouts/_rels/slideLayout1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pn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4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4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4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4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90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9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9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4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Master" Target="../slideMasters/slideMaster4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Master" Target="../slideMasters/slideMaster4.xml"/></Relationships>
</file>

<file path=ppt/slideLayouts/_rels/slideLayout2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9.png"/><Relationship Id="rId1" Type="http://schemas.openxmlformats.org/officeDocument/2006/relationships/slideMaster" Target="../slideMasters/slideMaster4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0.png"/><Relationship Id="rId1" Type="http://schemas.openxmlformats.org/officeDocument/2006/relationships/slideMaster" Target="../slideMasters/slideMaster4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4.xml"/><Relationship Id="rId4" Type="http://schemas.openxmlformats.org/officeDocument/2006/relationships/image" Target="../media/image5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4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4.xml"/></Relationships>
</file>

<file path=ppt/slideLayouts/_rels/slideLayout2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4.xml"/><Relationship Id="rId4" Type="http://schemas.microsoft.com/office/2007/relationships/hdphoto" Target="../media/hdphoto1.wdp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Relationship Id="rId4" Type="http://schemas.microsoft.com/office/2007/relationships/hdphoto" Target="../media/hdphoto1.wdp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Relationship Id="rId4" Type="http://schemas.microsoft.com/office/2007/relationships/hdphoto" Target="../media/hdphoto1.wdp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gif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4.xml"/></Relationships>
</file>

<file path=ppt/slideLayouts/_rels/slideLayout2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4.xml"/><Relationship Id="rId5" Type="http://schemas.microsoft.com/office/2007/relationships/hdphoto" Target="../media/hdphoto1.wdp"/><Relationship Id="rId4" Type="http://schemas.openxmlformats.org/officeDocument/2006/relationships/image" Target="../media/image9.png"/></Relationships>
</file>

<file path=ppt/slideLayouts/_rels/slideLayout2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4.x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png"/><Relationship Id="rId2" Type="http://schemas.openxmlformats.org/officeDocument/2006/relationships/image" Target="../media/image44.jpeg"/><Relationship Id="rId1" Type="http://schemas.openxmlformats.org/officeDocument/2006/relationships/slideMaster" Target="../slideMasters/slideMaster5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6.jpeg"/><Relationship Id="rId1" Type="http://schemas.openxmlformats.org/officeDocument/2006/relationships/slideMaster" Target="../slideMasters/slideMaster5.xml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image" Target="../media/image47.jpeg"/><Relationship Id="rId1" Type="http://schemas.openxmlformats.org/officeDocument/2006/relationships/slideMaster" Target="../slideMasters/slideMaster5.x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49.jpeg"/><Relationship Id="rId1" Type="http://schemas.openxmlformats.org/officeDocument/2006/relationships/slideMaster" Target="../slideMasters/slideMaster5.x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51.jpeg"/><Relationship Id="rId1" Type="http://schemas.openxmlformats.org/officeDocument/2006/relationships/slideMaster" Target="../slideMasters/slideMaster5.xml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image" Target="../media/image52.jpeg"/><Relationship Id="rId1" Type="http://schemas.openxmlformats.org/officeDocument/2006/relationships/slideMaster" Target="../slideMasters/slideMaster5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260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5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5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5.xml"/></Relationships>
</file>

<file path=ppt/slideLayouts/_rels/slideLayout26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5.xml"/></Relationships>
</file>

<file path=ppt/slideLayouts/_rels/slideLayout267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5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2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48.png"/><Relationship Id="rId1" Type="http://schemas.openxmlformats.org/officeDocument/2006/relationships/slideMaster" Target="../slideMasters/slideMaster5.xml"/></Relationships>
</file>

<file path=ppt/slideLayouts/_rels/slideLayout2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Master" Target="../slideMasters/slideMaster5.xml"/></Relationships>
</file>

<file path=ppt/slideLayouts/_rels/slideLayout2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Master" Target="../slideMasters/slideMaster5.xml"/></Relationships>
</file>

<file path=ppt/slideLayouts/_rels/slideLayout2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Master" Target="../slideMasters/slideMaster5.xml"/></Relationships>
</file>

<file path=ppt/slideLayouts/_rels/slideLayout2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png"/><Relationship Id="rId1" Type="http://schemas.openxmlformats.org/officeDocument/2006/relationships/slideMaster" Target="../slideMasters/slideMaster5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57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0.png"/></Relationships>
</file>

<file path=ppt/slideLayouts/_rels/slideLayout2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58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0.png"/></Relationships>
</file>

<file path=ppt/slideLayouts/_rels/slideLayout2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59.jpeg"/><Relationship Id="rId1" Type="http://schemas.openxmlformats.org/officeDocument/2006/relationships/slideMaster" Target="../slideMasters/slideMaster5.xml"/><Relationship Id="rId4" Type="http://schemas.openxmlformats.org/officeDocument/2006/relationships/image" Target="../media/image50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5.xml"/></Relationships>
</file>

<file path=ppt/slideLayouts/_rels/slideLayout3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5.xml"/></Relationships>
</file>

<file path=ppt/slideLayouts/_rels/slideLayout3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1.jpeg"/><Relationship Id="rId1" Type="http://schemas.openxmlformats.org/officeDocument/2006/relationships/slideMaster" Target="../slideMasters/slideMaster5.xml"/><Relationship Id="rId4" Type="http://schemas.microsoft.com/office/2007/relationships/hdphoto" Target="../media/hdphoto2.wdp"/></Relationships>
</file>

<file path=ppt/slideLayouts/_rels/slideLayout3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60.jpeg"/><Relationship Id="rId1" Type="http://schemas.openxmlformats.org/officeDocument/2006/relationships/slideMaster" Target="../slideMasters/slideMaster5.xml"/><Relationship Id="rId4" Type="http://schemas.microsoft.com/office/2007/relationships/hdphoto" Target="../media/hdphoto2.wdp"/></Relationships>
</file>

<file path=ppt/slideLayouts/_rels/slideLayout3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61.jpeg"/><Relationship Id="rId1" Type="http://schemas.openxmlformats.org/officeDocument/2006/relationships/slideMaster" Target="../slideMasters/slideMaster5.xml"/><Relationship Id="rId4" Type="http://schemas.microsoft.com/office/2007/relationships/hdphoto" Target="../media/hdphoto2.wdp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gif"/><Relationship Id="rId2" Type="http://schemas.openxmlformats.org/officeDocument/2006/relationships/image" Target="../media/image60.jpeg"/><Relationship Id="rId1" Type="http://schemas.openxmlformats.org/officeDocument/2006/relationships/slideMaster" Target="../slideMasters/slideMaster5.xml"/></Relationships>
</file>

<file path=ppt/slideLayouts/_rels/slideLayout3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5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6.xml"/></Relationships>
</file>

<file path=ppt/slideLayouts/_rels/slideLayout3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4.emf"/></Relationships>
</file>

<file path=ppt/slideLayouts/_rels/slideLayout3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6.xml"/></Relationships>
</file>

<file path=ppt/slideLayouts/_rels/slideLayout3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6.xml"/></Relationships>
</file>

<file path=ppt/slideLayouts/_rels/slideLayout3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emf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26.png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6.xml"/></Relationships>
</file>

<file path=ppt/slideLayouts/_rels/slideLayout3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3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Master" Target="../slideMasters/slideMaster6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7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8.png"/><Relationship Id="rId1" Type="http://schemas.openxmlformats.org/officeDocument/2006/relationships/slideMaster" Target="../slideMasters/slideMaster7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7.xml"/><Relationship Id="rId4" Type="http://schemas.openxmlformats.org/officeDocument/2006/relationships/image" Target="../media/image65.svg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Master" Target="../slideMasters/slideMaster7.xml"/></Relationships>
</file>

<file path=ppt/slideLayouts/_rels/slideLayout3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1.png"/><Relationship Id="rId2" Type="http://schemas.openxmlformats.org/officeDocument/2006/relationships/image" Target="../media/image66.png"/><Relationship Id="rId1" Type="http://schemas.openxmlformats.org/officeDocument/2006/relationships/slideMaster" Target="../slideMasters/slideMaster7.xml"/></Relationships>
</file>

<file path=ppt/slideLayouts/_rels/slideLayout3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svg"/><Relationship Id="rId2" Type="http://schemas.openxmlformats.org/officeDocument/2006/relationships/image" Target="../media/image72.png"/><Relationship Id="rId1" Type="http://schemas.openxmlformats.org/officeDocument/2006/relationships/slideMaster" Target="../slideMasters/slideMaster7.xml"/></Relationships>
</file>

<file path=ppt/slideLayouts/_rels/slideLayout3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png"/><Relationship Id="rId1" Type="http://schemas.openxmlformats.org/officeDocument/2006/relationships/slideMaster" Target="../slideMasters/slideMaster7.xml"/></Relationships>
</file>

<file path=ppt/slideLayouts/_rels/slideLayout3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3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8.xml"/></Relationships>
</file>

<file path=ppt/slideLayouts/_rels/slideLayout3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4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8.xml"/><Relationship Id="rId4" Type="http://schemas.openxmlformats.org/officeDocument/2006/relationships/image" Target="../media/image65.svg"/></Relationships>
</file>

<file path=ppt/slideLayouts/_rels/slideLayout4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eg"/><Relationship Id="rId1" Type="http://schemas.openxmlformats.org/officeDocument/2006/relationships/slideMaster" Target="../slideMasters/slideMaster8.xml"/></Relationships>
</file>

<file path=ppt/slideLayouts/_rels/slideLayout4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eg"/><Relationship Id="rId1" Type="http://schemas.openxmlformats.org/officeDocument/2006/relationships/slideMaster" Target="../slideMasters/slideMaster8.xml"/></Relationships>
</file>

<file path=ppt/slideLayouts/_rels/slideLayout4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eg"/><Relationship Id="rId1" Type="http://schemas.openxmlformats.org/officeDocument/2006/relationships/slideMaster" Target="../slideMasters/slideMaster8.xml"/></Relationships>
</file>

<file path=ppt/slideLayouts/_rels/slideLayout4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jpeg"/><Relationship Id="rId1" Type="http://schemas.openxmlformats.org/officeDocument/2006/relationships/slideMaster" Target="../slideMasters/slideMaster8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slideMaster" Target="../slideMasters/slideMaster8.xml"/></Relationships>
</file>

<file path=ppt/slideLayouts/_rels/slideLayout4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eg"/><Relationship Id="rId1" Type="http://schemas.openxmlformats.org/officeDocument/2006/relationships/slideMaster" Target="../slideMasters/slideMaster8.xml"/></Relationships>
</file>

<file path=ppt/slideLayouts/_rels/slideLayout4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Master" Target="../slideMasters/slideMaster8.xml"/></Relationships>
</file>

<file path=ppt/slideLayouts/_rels/slideLayout4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jpeg"/><Relationship Id="rId1" Type="http://schemas.openxmlformats.org/officeDocument/2006/relationships/slideMaster" Target="../slideMasters/slideMaster8.xml"/></Relationships>
</file>

<file path=ppt/slideLayouts/_rels/slideLayout4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jpeg"/><Relationship Id="rId1" Type="http://schemas.openxmlformats.org/officeDocument/2006/relationships/slideMaster" Target="../slideMasters/slideMaster8.xml"/></Relationships>
</file>

<file path=ppt/slideLayouts/_rels/slideLayout4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8.xml"/></Relationships>
</file>

<file path=ppt/slideLayouts/_rels/slideLayout4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8.xml"/></Relationships>
</file>

<file path=ppt/slideLayouts/_rels/slideLayout4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4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4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9.xml"/></Relationships>
</file>

<file path=ppt/slideLayouts/_rels/slideLayout4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65.svg"/></Relationships>
</file>

<file path=ppt/slideLayouts/_rels/slideLayout4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eg"/><Relationship Id="rId1" Type="http://schemas.openxmlformats.org/officeDocument/2006/relationships/slideMaster" Target="../slideMasters/slideMaster9.xml"/></Relationships>
</file>

<file path=ppt/slideLayouts/_rels/slideLayout4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eg"/><Relationship Id="rId1" Type="http://schemas.openxmlformats.org/officeDocument/2006/relationships/slideMaster" Target="../slideMasters/slideMaster9.xml"/></Relationships>
</file>

<file path=ppt/slideLayouts/_rels/slideLayout4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eg"/><Relationship Id="rId1" Type="http://schemas.openxmlformats.org/officeDocument/2006/relationships/slideMaster" Target="../slideMasters/slideMaster9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jpeg"/><Relationship Id="rId1" Type="http://schemas.openxmlformats.org/officeDocument/2006/relationships/slideMaster" Target="../slideMasters/slideMaster9.xml"/></Relationships>
</file>

<file path=ppt/slideLayouts/_rels/slideLayout4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slideMaster" Target="../slideMasters/slideMaster9.xml"/></Relationships>
</file>

<file path=ppt/slideLayouts/_rels/slideLayout4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eg"/><Relationship Id="rId1" Type="http://schemas.openxmlformats.org/officeDocument/2006/relationships/slideMaster" Target="../slideMasters/slideMaster9.xml"/></Relationships>
</file>

<file path=ppt/slideLayouts/_rels/slideLayout4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4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Master" Target="../slideMasters/slideMaster9.xml"/></Relationships>
</file>

<file path=ppt/slideLayouts/_rels/slideLayout4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jpeg"/><Relationship Id="rId1" Type="http://schemas.openxmlformats.org/officeDocument/2006/relationships/slideMaster" Target="../slideMasters/slideMaster9.xml"/></Relationships>
</file>

<file path=ppt/slideLayouts/_rels/slideLayout4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jpeg"/><Relationship Id="rId1" Type="http://schemas.openxmlformats.org/officeDocument/2006/relationships/slideMaster" Target="../slideMasters/slideMaster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9.xml"/></Relationships>
</file>

<file path=ppt/slideLayouts/_rels/slideLayout5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9.xml"/></Relationships>
</file>

<file path=ppt/slideLayouts/_rels/slideLayout5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8.png"/><Relationship Id="rId1" Type="http://schemas.openxmlformats.org/officeDocument/2006/relationships/slideMaster" Target="../slideMasters/slideMaster10.xml"/></Relationships>
</file>

<file path=ppt/slideLayouts/_rels/slideLayout5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10.xml"/><Relationship Id="rId4" Type="http://schemas.openxmlformats.org/officeDocument/2006/relationships/image" Target="../media/image65.svg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10.xml"/></Relationships>
</file>

<file path=ppt/slideLayouts/_rels/slideLayout5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9.png"/><Relationship Id="rId1" Type="http://schemas.openxmlformats.org/officeDocument/2006/relationships/slideMaster" Target="../slideMasters/slideMaster10.xml"/></Relationships>
</file>

<file path=ppt/slideLayouts/_rels/slideLayout5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svg"/><Relationship Id="rId2" Type="http://schemas.openxmlformats.org/officeDocument/2006/relationships/image" Target="../media/image90.png"/><Relationship Id="rId1" Type="http://schemas.openxmlformats.org/officeDocument/2006/relationships/slideMaster" Target="../slideMasters/slideMaster10.xml"/></Relationships>
</file>

<file path=ppt/slideLayouts/_rels/slideLayout5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5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5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3.png"/><Relationship Id="rId2" Type="http://schemas.openxmlformats.org/officeDocument/2006/relationships/image" Target="../media/image92.png"/><Relationship Id="rId1" Type="http://schemas.openxmlformats.org/officeDocument/2006/relationships/slideMaster" Target="../slideMasters/slideMaster11.xml"/></Relationships>
</file>

<file path=ppt/slideLayouts/_rels/slideLayout5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5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4.jpeg"/><Relationship Id="rId1" Type="http://schemas.openxmlformats.org/officeDocument/2006/relationships/slideMaster" Target="../slideMasters/slideMaster11.xml"/></Relationships>
</file>

<file path=ppt/slideLayouts/_rels/slideLayout5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6.png"/><Relationship Id="rId2" Type="http://schemas.openxmlformats.org/officeDocument/2006/relationships/image" Target="../media/image95.png"/><Relationship Id="rId1" Type="http://schemas.openxmlformats.org/officeDocument/2006/relationships/slideMaster" Target="../slideMasters/slideMaster11.xml"/></Relationships>
</file>

<file path=ppt/slideLayouts/_rels/slideLayout5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7.jpeg"/><Relationship Id="rId1" Type="http://schemas.openxmlformats.org/officeDocument/2006/relationships/slideMaster" Target="../slideMasters/slideMaster1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5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99.jpeg"/><Relationship Id="rId1" Type="http://schemas.openxmlformats.org/officeDocument/2006/relationships/slideMaster" Target="../slideMasters/slideMaster11.xml"/></Relationships>
</file>

<file path=ppt/slideLayouts/_rels/slideLayout5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8.png"/><Relationship Id="rId2" Type="http://schemas.openxmlformats.org/officeDocument/2006/relationships/image" Target="../media/image100.jpeg"/><Relationship Id="rId1" Type="http://schemas.openxmlformats.org/officeDocument/2006/relationships/slideMaster" Target="../slideMasters/slideMaster11.xml"/></Relationships>
</file>

<file path=ppt/slideLayouts/_rels/slideLayout5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6.png"/><Relationship Id="rId1" Type="http://schemas.openxmlformats.org/officeDocument/2006/relationships/slideMaster" Target="../slideMasters/slideMaster11.xml"/></Relationships>
</file>

<file path=ppt/slideLayouts/_rels/slideLayout584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101.png"/><Relationship Id="rId1" Type="http://schemas.openxmlformats.org/officeDocument/2006/relationships/slideMaster" Target="../slideMasters/slideMaster11.xml"/></Relationships>
</file>

<file path=ppt/slideLayouts/_rels/slideLayout5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89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101.png"/><Relationship Id="rId1" Type="http://schemas.openxmlformats.org/officeDocument/2006/relationships/slideMaster" Target="../slideMasters/slideMaster1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emf"/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1.xml"/></Relationships>
</file>

<file path=ppt/slideLayouts/_rels/slideLayout590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101.png"/><Relationship Id="rId1" Type="http://schemas.openxmlformats.org/officeDocument/2006/relationships/slideMaster" Target="../slideMasters/slideMaster11.xml"/></Relationships>
</file>

<file path=ppt/slideLayouts/_rels/slideLayout591.xml.rels><?xml version="1.0" encoding="UTF-8" standalone="yes"?>
<Relationships xmlns="http://schemas.openxmlformats.org/package/2006/relationships"><Relationship Id="rId3" Type="http://schemas.microsoft.com/office/2007/relationships/hdphoto" Target="../media/hdphoto6.wdp"/><Relationship Id="rId2" Type="http://schemas.openxmlformats.org/officeDocument/2006/relationships/image" Target="../media/image101.png"/><Relationship Id="rId1" Type="http://schemas.openxmlformats.org/officeDocument/2006/relationships/slideMaster" Target="../slideMasters/slideMaster11.xml"/></Relationships>
</file>

<file path=ppt/slideLayouts/_rels/slideLayout5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5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emf"/><Relationship Id="rId1" Type="http://schemas.openxmlformats.org/officeDocument/2006/relationships/slideMaster" Target="../slideMasters/slideMaster1.xml"/></Relationships>
</file>

<file path=ppt/slideLayouts/_rels/slideLayout6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06.xml.rels><?xml version="1.0" encoding="UTF-8" standalone="yes"?>
<Relationships xmlns="http://schemas.openxmlformats.org/package/2006/relationships"><Relationship Id="rId3" Type="http://schemas.microsoft.com/office/2007/relationships/hdphoto" Target="../media/hdphoto7.wdp"/><Relationship Id="rId2" Type="http://schemas.openxmlformats.org/officeDocument/2006/relationships/image" Target="../media/image102.png"/><Relationship Id="rId1" Type="http://schemas.openxmlformats.org/officeDocument/2006/relationships/slideMaster" Target="../slideMasters/slideMaster11.xml"/></Relationships>
</file>

<file path=ppt/slideLayouts/_rels/slideLayout60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png"/><Relationship Id="rId1" Type="http://schemas.openxmlformats.org/officeDocument/2006/relationships/slideMaster" Target="../slideMasters/slideMaster11.xml"/></Relationships>
</file>

<file path=ppt/slideLayouts/_rels/slideLayout60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png"/><Relationship Id="rId1" Type="http://schemas.openxmlformats.org/officeDocument/2006/relationships/slideMaster" Target="../slideMasters/slideMaster11.xml"/></Relationships>
</file>

<file path=ppt/slideLayouts/_rels/slideLayout6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5.png"/><Relationship Id="rId1" Type="http://schemas.openxmlformats.org/officeDocument/2006/relationships/slideMaster" Target="../slideMasters/slideMaster11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6.png"/><Relationship Id="rId1" Type="http://schemas.openxmlformats.org/officeDocument/2006/relationships/slideMaster" Target="../slideMasters/slideMaster11.xml"/></Relationships>
</file>

<file path=ppt/slideLayouts/_rels/slideLayout6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gif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6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07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98.png"/></Relationships>
</file>

<file path=ppt/slideLayouts/_rels/slideLayout6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08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98.png"/></Relationships>
</file>

<file path=ppt/slideLayouts/_rels/slideLayout6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emf"/><Relationship Id="rId2" Type="http://schemas.openxmlformats.org/officeDocument/2006/relationships/image" Target="../media/image109.jpeg"/><Relationship Id="rId1" Type="http://schemas.openxmlformats.org/officeDocument/2006/relationships/slideMaster" Target="../slideMasters/slideMaster11.xml"/><Relationship Id="rId4" Type="http://schemas.openxmlformats.org/officeDocument/2006/relationships/image" Target="../media/image98.png"/></Relationships>
</file>

<file path=ppt/slideLayouts/_rels/slideLayout6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11.xml"/></Relationships>
</file>

<file path=ppt/slideLayouts/_rels/slideLayout6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emf"/><Relationship Id="rId1" Type="http://schemas.openxmlformats.org/officeDocument/2006/relationships/slideMaster" Target="../slideMasters/slideMaster11.xml"/></Relationships>
</file>

<file path=ppt/slideLayouts/_rels/slideLayout6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gif"/><Relationship Id="rId2" Type="http://schemas.openxmlformats.org/officeDocument/2006/relationships/image" Target="../media/image110.jpeg"/><Relationship Id="rId1" Type="http://schemas.openxmlformats.org/officeDocument/2006/relationships/slideMaster" Target="../slideMasters/slideMaster11.xml"/></Relationships>
</file>

<file path=ppt/slideLayouts/_rels/slideLayout6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1.jpeg"/><Relationship Id="rId1" Type="http://schemas.openxmlformats.org/officeDocument/2006/relationships/slideMaster" Target="../slideMasters/slideMaster11.xml"/></Relationships>
</file>

<file path=ppt/slideLayouts/_rels/slideLayout6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12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14.png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.xml"/><Relationship Id="rId4" Type="http://schemas.microsoft.com/office/2007/relationships/hdphoto" Target="../media/hdphoto1.wdp"/></Relationships>
</file>

<file path=ppt/slideLayouts/_rels/slideLayout6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image" Target="../media/image115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14.png"/></Relationships>
</file>

<file path=ppt/slideLayouts/_rels/slideLayout6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17.jpeg"/><Relationship Id="rId1" Type="http://schemas.openxmlformats.org/officeDocument/2006/relationships/slideMaster" Target="../slideMasters/slideMaster12.xml"/><Relationship Id="rId4" Type="http://schemas.openxmlformats.org/officeDocument/2006/relationships/image" Target="../media/image114.png"/></Relationships>
</file>

<file path=ppt/slideLayouts/_rels/slideLayout6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112.jpeg"/><Relationship Id="rId1" Type="http://schemas.openxmlformats.org/officeDocument/2006/relationships/slideMaster" Target="../slideMasters/slideMaster12.xml"/></Relationships>
</file>

<file path=ppt/slideLayouts/_rels/slideLayout6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115.jpeg"/><Relationship Id="rId1" Type="http://schemas.openxmlformats.org/officeDocument/2006/relationships/slideMaster" Target="../slideMasters/slideMaster12.xml"/></Relationships>
</file>

<file path=ppt/slideLayouts/_rels/slideLayout6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117.jpeg"/><Relationship Id="rId1" Type="http://schemas.openxmlformats.org/officeDocument/2006/relationships/slideMaster" Target="../slideMasters/slideMaster12.xml"/></Relationships>
</file>

<file path=ppt/slideLayouts/_rels/slideLayout6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jpeg"/><Relationship Id="rId1" Type="http://schemas.openxmlformats.org/officeDocument/2006/relationships/slideMaster" Target="../slideMasters/slideMaster12.xml"/></Relationships>
</file>

<file path=ppt/slideLayouts/_rels/slideLayout6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9.jpeg"/><Relationship Id="rId1" Type="http://schemas.openxmlformats.org/officeDocument/2006/relationships/slideMaster" Target="../slideMasters/slideMaster12.xml"/></Relationships>
</file>

<file path=ppt/slideLayouts/_rels/slideLayout6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0.jpeg"/><Relationship Id="rId1" Type="http://schemas.openxmlformats.org/officeDocument/2006/relationships/slideMaster" Target="../slideMasters/slideMaster12.xml"/></Relationships>
</file>

<file path=ppt/slideLayouts/_rels/slideLayout6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jpeg"/><Relationship Id="rId1" Type="http://schemas.openxmlformats.org/officeDocument/2006/relationships/slideMaster" Target="../slideMasters/slideMaster12.xml"/></Relationships>
</file>

<file path=ppt/slideLayouts/_rels/slideLayout6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2.jpeg"/><Relationship Id="rId1" Type="http://schemas.openxmlformats.org/officeDocument/2006/relationships/slideMaster" Target="../slideMasters/slideMaster12.xml"/></Relationships>
</file>

<file path=ppt/slideLayouts/_rels/slideLayout6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3.png"/><Relationship Id="rId1" Type="http://schemas.openxmlformats.org/officeDocument/2006/relationships/slideMaster" Target="../slideMasters/slideMaster12.xml"/></Relationships>
</file>

<file path=ppt/slideLayouts/_rels/slideLayout6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jpeg"/><Relationship Id="rId1" Type="http://schemas.openxmlformats.org/officeDocument/2006/relationships/slideMaster" Target="../slideMasters/slideMaster12.xml"/></Relationships>
</file>

<file path=ppt/slideLayouts/_rels/slideLayout6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5.jpeg"/><Relationship Id="rId1" Type="http://schemas.openxmlformats.org/officeDocument/2006/relationships/slideMaster" Target="../slideMasters/slideMaster12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png"/><Relationship Id="rId1" Type="http://schemas.openxmlformats.org/officeDocument/2006/relationships/slideMaster" Target="../slideMasters/slideMaster12.xml"/></Relationships>
</file>

<file path=ppt/slideLayouts/_rels/slideLayout6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png"/><Relationship Id="rId1" Type="http://schemas.openxmlformats.org/officeDocument/2006/relationships/slideMaster" Target="../slideMasters/slideMaster12.xml"/></Relationships>
</file>

<file path=ppt/slideLayouts/_rels/slideLayout6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8.png"/><Relationship Id="rId1" Type="http://schemas.openxmlformats.org/officeDocument/2006/relationships/slideMaster" Target="../slideMasters/slideMaster12.xml"/></Relationships>
</file>

<file path=ppt/slideLayouts/_rels/slideLayout6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9.jpeg"/><Relationship Id="rId1" Type="http://schemas.openxmlformats.org/officeDocument/2006/relationships/slideMaster" Target="../slideMasters/slideMaster13.xml"/></Relationships>
</file>

<file path=ppt/slideLayouts/_rels/slideLayout6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130.jpe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65.svg"/></Relationships>
</file>

<file path=ppt/slideLayouts/_rels/slideLayout6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23.emf"/></Relationships>
</file>

<file path=ppt/slideLayouts/_rels/slideLayout6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131.jpe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65.svg"/></Relationships>
</file>

<file path=ppt/slideLayouts/_rels/slideLayout6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132.jpe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65.svg"/></Relationships>
</file>

<file path=ppt/slideLayouts/_rels/slideLayout6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133.jpe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65.svg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134.jpe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65.svg"/></Relationships>
</file>

<file path=ppt/slideLayouts/_rels/slideLayout6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135.jpe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65.svg"/></Relationships>
</file>

<file path=ppt/slideLayouts/_rels/slideLayout6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136.jpeg"/><Relationship Id="rId1" Type="http://schemas.openxmlformats.org/officeDocument/2006/relationships/slideMaster" Target="../slideMasters/slideMaster13.xml"/><Relationship Id="rId4" Type="http://schemas.openxmlformats.org/officeDocument/2006/relationships/image" Target="../media/image65.svg"/></Relationships>
</file>

<file path=ppt/slideLayouts/_rels/slideLayout6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1.jpeg"/><Relationship Id="rId1" Type="http://schemas.openxmlformats.org/officeDocument/2006/relationships/slideMaster" Target="../slideMasters/slideMaster13.xml"/></Relationships>
</file>

<file path=ppt/slideLayouts/_rels/slideLayout6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2.jpeg"/><Relationship Id="rId1" Type="http://schemas.openxmlformats.org/officeDocument/2006/relationships/slideMaster" Target="../slideMasters/slideMaster13.xml"/></Relationships>
</file>

<file path=ppt/slideLayouts/_rels/slideLayout6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3.jpeg"/><Relationship Id="rId1" Type="http://schemas.openxmlformats.org/officeDocument/2006/relationships/slideMaster" Target="../slideMasters/slideMaster1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7.jpeg"/><Relationship Id="rId1" Type="http://schemas.openxmlformats.org/officeDocument/2006/relationships/slideMaster" Target="../slideMasters/slideMaster13.xml"/></Relationships>
</file>

<file path=ppt/slideLayouts/_rels/slideLayout6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4.jpeg"/><Relationship Id="rId1" Type="http://schemas.openxmlformats.org/officeDocument/2006/relationships/slideMaster" Target="../slideMasters/slideMaster13.xml"/></Relationships>
</file>

<file path=ppt/slideLayouts/_rels/slideLayout6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5.jpeg"/><Relationship Id="rId1" Type="http://schemas.openxmlformats.org/officeDocument/2006/relationships/slideMaster" Target="../slideMasters/slideMaster13.xml"/></Relationships>
</file>

<file path=ppt/slideLayouts/_rels/slideLayout6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6.jpeg"/><Relationship Id="rId1" Type="http://schemas.openxmlformats.org/officeDocument/2006/relationships/slideMaster" Target="../slideMasters/slideMaster13.xml"/></Relationships>
</file>

<file path=ppt/slideLayouts/_rels/slideLayout6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8.jpeg"/><Relationship Id="rId1" Type="http://schemas.openxmlformats.org/officeDocument/2006/relationships/slideMaster" Target="../slideMasters/slideMaster13.xml"/></Relationships>
</file>

<file path=ppt/slideLayouts/_rels/slideLayout6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9.png"/><Relationship Id="rId1" Type="http://schemas.openxmlformats.org/officeDocument/2006/relationships/slideMaster" Target="../slideMasters/slideMaster13.xml"/></Relationships>
</file>

<file path=ppt/slideLayouts/_rels/slideLayout6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0.jpeg"/><Relationship Id="rId1" Type="http://schemas.openxmlformats.org/officeDocument/2006/relationships/slideMaster" Target="../slideMasters/slideMaster13.xml"/></Relationships>
</file>

<file path=ppt/slideLayouts/_rels/slideLayout6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13.xml"/></Relationships>
</file>

<file path=ppt/slideLayouts/_rels/slideLayout6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13.xml"/></Relationships>
</file>

<file path=ppt/slideLayouts/_rels/slideLayout6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6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jpeg"/><Relationship Id="rId1" Type="http://schemas.openxmlformats.org/officeDocument/2006/relationships/slideMaster" Target="../slideMasters/slideMaster13.xml"/></Relationships>
</file>

<file path=ppt/slideLayouts/_rels/slideLayout6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1.png"/><Relationship Id="rId1" Type="http://schemas.openxmlformats.org/officeDocument/2006/relationships/slideMaster" Target="../slideMasters/slideMaster13.xml"/></Relationships>
</file>

<file path=ppt/slideLayouts/_rels/slideLayout6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png"/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14.xml"/></Relationships>
</file>

<file path=ppt/slideLayouts/_rels/slideLayout6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65.svg"/></Relationships>
</file>

<file path=ppt/slideLayouts/_rels/slideLayout7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eg"/><Relationship Id="rId1" Type="http://schemas.openxmlformats.org/officeDocument/2006/relationships/slideMaster" Target="../slideMasters/slideMaster14.xml"/></Relationships>
</file>

<file path=ppt/slideLayouts/_rels/slideLayout7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eg"/><Relationship Id="rId1" Type="http://schemas.openxmlformats.org/officeDocument/2006/relationships/slideMaster" Target="../slideMasters/slideMaster14.xml"/></Relationships>
</file>

<file path=ppt/slideLayouts/_rels/slideLayout7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3.jpeg"/><Relationship Id="rId1" Type="http://schemas.openxmlformats.org/officeDocument/2006/relationships/slideMaster" Target="../slideMasters/slideMaster14.xml"/></Relationships>
</file>

<file path=ppt/slideLayouts/_rels/slideLayout7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jpeg"/><Relationship Id="rId1" Type="http://schemas.openxmlformats.org/officeDocument/2006/relationships/slideMaster" Target="../slideMasters/slideMaster14.xml"/></Relationships>
</file>

<file path=ppt/slideLayouts/_rels/slideLayout7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slideMaster" Target="../slideMasters/slideMaster1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eg"/><Relationship Id="rId1" Type="http://schemas.openxmlformats.org/officeDocument/2006/relationships/slideMaster" Target="../slideMasters/slideMaster14.xml"/></Relationships>
</file>

<file path=ppt/slideLayouts/_rels/slideLayout7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Master" Target="../slideMasters/slideMaster14.xml"/></Relationships>
</file>

<file path=ppt/slideLayouts/_rels/slideLayout7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jpeg"/><Relationship Id="rId1" Type="http://schemas.openxmlformats.org/officeDocument/2006/relationships/slideMaster" Target="../slideMasters/slideMaster14.xml"/></Relationships>
</file>

<file path=ppt/slideLayouts/_rels/slideLayout7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jpeg"/><Relationship Id="rId1" Type="http://schemas.openxmlformats.org/officeDocument/2006/relationships/slideMaster" Target="../slideMasters/slideMaster14.xml"/></Relationships>
</file>

<file path=ppt/slideLayouts/_rels/slideLayout7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14.xml"/></Relationships>
</file>

<file path=ppt/slideLayouts/_rels/slideLayout7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14.xml"/></Relationships>
</file>

<file path=ppt/slideLayouts/_rels/slideLayout7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135.jpeg"/><Relationship Id="rId1" Type="http://schemas.openxmlformats.org/officeDocument/2006/relationships/slideMaster" Target="../slideMasters/slideMaster14.xml"/><Relationship Id="rId4" Type="http://schemas.openxmlformats.org/officeDocument/2006/relationships/image" Target="../media/image65.svg"/></Relationships>
</file>

<file path=ppt/slideLayouts/_rels/slideLayout7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4.png"/><Relationship Id="rId1" Type="http://schemas.openxmlformats.org/officeDocument/2006/relationships/slideMaster" Target="../slideMasters/slideMaster1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5.png"/><Relationship Id="rId1" Type="http://schemas.openxmlformats.org/officeDocument/2006/relationships/slideMaster" Target="../slideMasters/slideMaster15.xml"/></Relationships>
</file>

<file path=ppt/slideLayouts/_rels/slideLayout7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6.png"/><Relationship Id="rId1" Type="http://schemas.openxmlformats.org/officeDocument/2006/relationships/slideMaster" Target="../slideMasters/slideMaster15.xml"/></Relationships>
</file>

<file path=ppt/slideLayouts/_rels/slideLayout7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15.xml"/></Relationships>
</file>

<file path=ppt/slideLayouts/_rels/slideLayout7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8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1.png"/><Relationship Id="rId1" Type="http://schemas.openxmlformats.org/officeDocument/2006/relationships/slideMaster" Target="../slideMasters/slideMaster15.xml"/></Relationships>
</file>

<file path=ppt/slideLayouts/_rels/slideLayout8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0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5.xml"/><Relationship Id="rId1" Type="http://schemas.openxmlformats.org/officeDocument/2006/relationships/tags" Target="../tags/tag2.xml"/><Relationship Id="rId4" Type="http://schemas.openxmlformats.org/officeDocument/2006/relationships/image" Target="../media/image147.emf"/></Relationships>
</file>

<file path=ppt/slideLayouts/_rels/slideLayout8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0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15.xml"/></Relationships>
</file>

<file path=ppt/slideLayouts/_rels/slideLayout8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8.jpeg"/><Relationship Id="rId1" Type="http://schemas.openxmlformats.org/officeDocument/2006/relationships/slideMaster" Target="../slideMasters/slideMaster1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8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5.xml"/><Relationship Id="rId4" Type="http://schemas.microsoft.com/office/2007/relationships/hdphoto" Target="../media/hdphoto1.wdp"/></Relationships>
</file>

<file path=ppt/slideLayouts/_rels/slideLayout8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15.xml"/></Relationships>
</file>

<file path=ppt/slideLayouts/_rels/slideLayout8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emf"/><Relationship Id="rId1" Type="http://schemas.openxmlformats.org/officeDocument/2006/relationships/slideMaster" Target="../slideMasters/slideMaster15.xml"/></Relationships>
</file>

<file path=ppt/slideLayouts/_rels/slideLayout8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2.xml"/></Relationships>
</file>

<file path=ppt/slideLayouts/_rels/slideLayout8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0.png"/><Relationship Id="rId2" Type="http://schemas.openxmlformats.org/officeDocument/2006/relationships/image" Target="../media/image76.png"/><Relationship Id="rId1" Type="http://schemas.openxmlformats.org/officeDocument/2006/relationships/slideMaster" Target="../slideMasters/slideMaster16.xml"/></Relationships>
</file>

<file path=ppt/slideLayouts/_rels/slideLayout8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/Relationships>
</file>

<file path=ppt/slideLayouts/_rels/slideLayout8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png"/><Relationship Id="rId2" Type="http://schemas.openxmlformats.org/officeDocument/2006/relationships/image" Target="../media/image69.png"/><Relationship Id="rId1" Type="http://schemas.openxmlformats.org/officeDocument/2006/relationships/slideMaster" Target="../slideMasters/slideMaster16.xml"/><Relationship Id="rId4" Type="http://schemas.openxmlformats.org/officeDocument/2006/relationships/image" Target="../media/image149.svg"/></Relationships>
</file>

<file path=ppt/slideLayouts/_rels/slideLayout8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8.jpeg"/><Relationship Id="rId1" Type="http://schemas.openxmlformats.org/officeDocument/2006/relationships/slideMaster" Target="../slideMasters/slideMaster16.xml"/></Relationships>
</file>

<file path=ppt/slideLayouts/_rels/slideLayout8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9.jpeg"/><Relationship Id="rId1" Type="http://schemas.openxmlformats.org/officeDocument/2006/relationships/slideMaster" Target="../slideMasters/slideMaster16.xml"/></Relationships>
</file>

<file path=ppt/slideLayouts/_rels/slideLayout8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0.jpeg"/><Relationship Id="rId1" Type="http://schemas.openxmlformats.org/officeDocument/2006/relationships/slideMaster" Target="../slideMasters/slideMaster16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8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6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8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1.jpeg"/><Relationship Id="rId1" Type="http://schemas.openxmlformats.org/officeDocument/2006/relationships/slideMaster" Target="../slideMasters/slideMaster16.xml"/></Relationships>
</file>

<file path=ppt/slideLayouts/_rels/slideLayout8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slideMaster" Target="../slideMasters/slideMaster16.xml"/></Relationships>
</file>

<file path=ppt/slideLayouts/_rels/slideLayout8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3.jpeg"/><Relationship Id="rId1" Type="http://schemas.openxmlformats.org/officeDocument/2006/relationships/slideMaster" Target="../slideMasters/slideMaster16.xml"/></Relationships>
</file>

<file path=ppt/slideLayouts/_rels/slideLayout8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Master" Target="../slideMasters/slideMaster16.xml"/></Relationships>
</file>

<file path=ppt/slideLayouts/_rels/slideLayout86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5.jpeg"/><Relationship Id="rId1" Type="http://schemas.openxmlformats.org/officeDocument/2006/relationships/slideMaster" Target="../slideMasters/slideMaster16.xml"/></Relationships>
</file>

<file path=ppt/slideLayouts/_rels/slideLayout8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6.jpeg"/><Relationship Id="rId1" Type="http://schemas.openxmlformats.org/officeDocument/2006/relationships/slideMaster" Target="../slideMasters/slideMaster16.xml"/></Relationships>
</file>

<file path=ppt/slideLayouts/_rels/slideLayout87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8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16.xml"/></Relationships>
</file>

<file path=ppt/slideLayouts/_rels/slideLayout87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png"/><Relationship Id="rId1" Type="http://schemas.openxmlformats.org/officeDocument/2006/relationships/slideMaster" Target="../slideMasters/slideMaster16.xml"/></Relationships>
</file>

<file path=ppt/slideLayouts/_rels/slideLayout8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8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png"/><Relationship Id="rId2" Type="http://schemas.openxmlformats.org/officeDocument/2006/relationships/image" Target="../media/image151.jpeg"/><Relationship Id="rId1" Type="http://schemas.openxmlformats.org/officeDocument/2006/relationships/slideMaster" Target="../slideMasters/slideMaster16.xml"/></Relationships>
</file>

<file path=ppt/slideLayouts/_rels/slideLayout8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png"/><Relationship Id="rId2" Type="http://schemas.openxmlformats.org/officeDocument/2006/relationships/image" Target="../media/image152.jpeg"/><Relationship Id="rId1" Type="http://schemas.openxmlformats.org/officeDocument/2006/relationships/slideMaster" Target="../slideMasters/slideMaster17.xml"/></Relationships>
</file>

<file path=ppt/slideLayouts/_rels/slideLayout8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3.png"/><Relationship Id="rId2" Type="http://schemas.openxmlformats.org/officeDocument/2006/relationships/image" Target="../media/image154.jpeg"/><Relationship Id="rId1" Type="http://schemas.openxmlformats.org/officeDocument/2006/relationships/slideMaster" Target="../slideMasters/slideMaster17.xml"/></Relationships>
</file>

<file path=ppt/slideLayouts/_rels/slideLayout8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5.jpeg"/><Relationship Id="rId1" Type="http://schemas.openxmlformats.org/officeDocument/2006/relationships/slideMaster" Target="../slideMasters/slideMaster17.xml"/></Relationships>
</file>

<file path=ppt/slideLayouts/_rels/slideLayout8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6.jpeg"/><Relationship Id="rId1" Type="http://schemas.openxmlformats.org/officeDocument/2006/relationships/slideMaster" Target="../slideMasters/slideMaster17.xml"/></Relationships>
</file>

<file path=ppt/slideLayouts/_rels/slideLayout8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7.jpeg"/><Relationship Id="rId1" Type="http://schemas.openxmlformats.org/officeDocument/2006/relationships/slideMaster" Target="../slideMasters/slideMaster17.xml"/></Relationships>
</file>

<file path=ppt/slideLayouts/_rels/slideLayout8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8.jpeg"/><Relationship Id="rId1" Type="http://schemas.openxmlformats.org/officeDocument/2006/relationships/slideMaster" Target="../slideMasters/slideMaster17.xml"/></Relationships>
</file>

<file path=ppt/slideLayouts/_rels/slideLayout8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9.jpeg"/><Relationship Id="rId1" Type="http://schemas.openxmlformats.org/officeDocument/2006/relationships/slideMaster" Target="../slideMasters/slideMaster17.xml"/></Relationships>
</file>

<file path=ppt/slideLayouts/_rels/slideLayout8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0.jpeg"/><Relationship Id="rId1" Type="http://schemas.openxmlformats.org/officeDocument/2006/relationships/slideMaster" Target="../slideMasters/slideMaster17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1.jpeg"/><Relationship Id="rId1" Type="http://schemas.openxmlformats.org/officeDocument/2006/relationships/slideMaster" Target="../slideMasters/slideMaster17.xml"/></Relationships>
</file>

<file path=ppt/slideLayouts/_rels/slideLayout8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2.jpeg"/><Relationship Id="rId1" Type="http://schemas.openxmlformats.org/officeDocument/2006/relationships/slideMaster" Target="../slideMasters/slideMaster17.xml"/></Relationships>
</file>

<file path=ppt/slideLayouts/_rels/slideLayout8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8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3.jpeg"/><Relationship Id="rId1" Type="http://schemas.openxmlformats.org/officeDocument/2006/relationships/slideMaster" Target="../slideMasters/slideMaster17.xml"/></Relationships>
</file>

<file path=ppt/slideLayouts/_rels/slideLayout8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4.jpeg"/><Relationship Id="rId1" Type="http://schemas.openxmlformats.org/officeDocument/2006/relationships/slideMaster" Target="../slideMasters/slideMaster17.xml"/></Relationships>
</file>

<file path=ppt/slideLayouts/_rels/slideLayout8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5.jpeg"/><Relationship Id="rId1" Type="http://schemas.openxmlformats.org/officeDocument/2006/relationships/slideMaster" Target="../slideMasters/slideMaster17.xml"/></Relationships>
</file>

<file path=ppt/slideLayouts/_rels/slideLayout8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png"/><Relationship Id="rId1" Type="http://schemas.openxmlformats.org/officeDocument/2006/relationships/slideMaster" Target="../slideMasters/slideMaster17.xml"/></Relationships>
</file>

<file path=ppt/slideLayouts/_rels/slideLayout8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6.png"/><Relationship Id="rId1" Type="http://schemas.openxmlformats.org/officeDocument/2006/relationships/slideMaster" Target="../slideMasters/slideMaster1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7.png"/><Relationship Id="rId1" Type="http://schemas.openxmlformats.org/officeDocument/2006/relationships/slideMaster" Target="../slideMasters/slideMaster1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12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114.png"/></Relationships>
</file>

<file path=ppt/slideLayouts/_rels/slideLayout9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6.png"/><Relationship Id="rId2" Type="http://schemas.openxmlformats.org/officeDocument/2006/relationships/image" Target="../media/image115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114.png"/></Relationships>
</file>

<file path=ppt/slideLayouts/_rels/slideLayout9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3.png"/><Relationship Id="rId2" Type="http://schemas.openxmlformats.org/officeDocument/2006/relationships/image" Target="../media/image117.jpe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114.png"/></Relationships>
</file>

<file path=ppt/slideLayouts/_rels/slideLayout9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112.jpeg"/><Relationship Id="rId1" Type="http://schemas.openxmlformats.org/officeDocument/2006/relationships/slideMaster" Target="../slideMasters/slideMaster18.xml"/></Relationships>
</file>

<file path=ppt/slideLayouts/_rels/slideLayout9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115.jpeg"/><Relationship Id="rId1" Type="http://schemas.openxmlformats.org/officeDocument/2006/relationships/slideMaster" Target="../slideMasters/slideMaster18.xml"/></Relationships>
</file>

<file path=ppt/slideLayouts/_rels/slideLayout9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4.png"/><Relationship Id="rId2" Type="http://schemas.openxmlformats.org/officeDocument/2006/relationships/image" Target="../media/image117.jpeg"/><Relationship Id="rId1" Type="http://schemas.openxmlformats.org/officeDocument/2006/relationships/slideMaster" Target="../slideMasters/slideMaster18.xml"/></Relationships>
</file>

<file path=ppt/slideLayouts/_rels/slideLayout9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8.jpeg"/><Relationship Id="rId1" Type="http://schemas.openxmlformats.org/officeDocument/2006/relationships/slideMaster" Target="../slideMasters/slideMaster18.xml"/></Relationships>
</file>

<file path=ppt/slideLayouts/_rels/slideLayout9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9.jpeg"/><Relationship Id="rId1" Type="http://schemas.openxmlformats.org/officeDocument/2006/relationships/slideMaster" Target="../slideMasters/slideMaster18.xml"/></Relationships>
</file>

<file path=ppt/slideLayouts/_rels/slideLayout9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0.jpeg"/><Relationship Id="rId1" Type="http://schemas.openxmlformats.org/officeDocument/2006/relationships/slideMaster" Target="../slideMasters/slideMaster18.xml"/></Relationships>
</file>

<file path=ppt/slideLayouts/_rels/slideLayout9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1.jpeg"/><Relationship Id="rId1" Type="http://schemas.openxmlformats.org/officeDocument/2006/relationships/slideMaster" Target="../slideMasters/slideMaster18.xml"/></Relationships>
</file>

<file path=ppt/slideLayouts/_rels/slideLayout9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2.jpeg"/><Relationship Id="rId1" Type="http://schemas.openxmlformats.org/officeDocument/2006/relationships/slideMaster" Target="../slideMasters/slideMaster18.xml"/></Relationships>
</file>

<file path=ppt/slideLayouts/_rels/slideLayout9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3.png"/><Relationship Id="rId1" Type="http://schemas.openxmlformats.org/officeDocument/2006/relationships/slideMaster" Target="../slideMasters/slideMaster18.xml"/></Relationships>
</file>

<file path=ppt/slideLayouts/_rels/slideLayout9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4.jpeg"/><Relationship Id="rId1" Type="http://schemas.openxmlformats.org/officeDocument/2006/relationships/slideMaster" Target="../slideMasters/slideMaster18.xml"/></Relationships>
</file>

<file path=ppt/slideLayouts/_rels/slideLayout9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5.jpeg"/><Relationship Id="rId1" Type="http://schemas.openxmlformats.org/officeDocument/2006/relationships/slideMaster" Target="../slideMasters/slideMaster18.xml"/></Relationships>
</file>

<file path=ppt/slideLayouts/_rels/slideLayout9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6.png"/><Relationship Id="rId1" Type="http://schemas.openxmlformats.org/officeDocument/2006/relationships/slideMaster" Target="../slideMasters/slideMaster18.xml"/></Relationships>
</file>

<file path=ppt/slideLayouts/_rels/slideLayout9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7.png"/><Relationship Id="rId1" Type="http://schemas.openxmlformats.org/officeDocument/2006/relationships/slideMaster" Target="../slideMasters/slideMaster18.xml"/></Relationships>
</file>

<file path=ppt/slideLayouts/_rels/slideLayout9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8.png"/><Relationship Id="rId1" Type="http://schemas.openxmlformats.org/officeDocument/2006/relationships/slideMaster" Target="../slideMasters/slideMaster18.xml"/></Relationships>
</file>

<file path=ppt/slideLayouts/_rels/slideLayout9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4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9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4.jpeg"/><Relationship Id="rId1" Type="http://schemas.openxmlformats.org/officeDocument/2006/relationships/slideMaster" Target="../slideMasters/slideMaster19.xml"/></Relationships>
</file>

<file path=ppt/slideLayouts/_rels/slideLayout9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7.png"/><Relationship Id="rId1" Type="http://schemas.openxmlformats.org/officeDocument/2006/relationships/slideMaster" Target="../slideMasters/slideMaster19.xml"/></Relationships>
</file>

<file path=ppt/slideLayouts/_rels/slideLayout9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2.jpeg"/><Relationship Id="rId1" Type="http://schemas.openxmlformats.org/officeDocument/2006/relationships/slideMaster" Target="../slideMasters/slideMaster19.xml"/></Relationships>
</file>

<file path=ppt/slideLayouts/_rels/slideLayout9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9.xml"/></Relationships>
</file>

<file path=ppt/slideLayouts/_rels/slideLayout9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.svg"/><Relationship Id="rId2" Type="http://schemas.openxmlformats.org/officeDocument/2006/relationships/image" Target="../media/image168.png"/><Relationship Id="rId1" Type="http://schemas.openxmlformats.org/officeDocument/2006/relationships/slideMaster" Target="../slideMasters/slideMaster2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svg"/><Relationship Id="rId2" Type="http://schemas.openxmlformats.org/officeDocument/2006/relationships/image" Target="../media/image170.png"/><Relationship Id="rId1" Type="http://schemas.openxmlformats.org/officeDocument/2006/relationships/slideMaster" Target="../slideMasters/slideMaster20.xml"/></Relationships>
</file>

<file path=ppt/slideLayouts/_rels/slideLayout9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9.svg"/><Relationship Id="rId2" Type="http://schemas.openxmlformats.org/officeDocument/2006/relationships/image" Target="../media/image168.png"/><Relationship Id="rId1" Type="http://schemas.openxmlformats.org/officeDocument/2006/relationships/slideMaster" Target="../slideMasters/slideMaster20.xml"/></Relationships>
</file>

<file path=ppt/slideLayouts/_rels/slideLayout9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1.svg"/><Relationship Id="rId2" Type="http://schemas.openxmlformats.org/officeDocument/2006/relationships/image" Target="../media/image170.png"/><Relationship Id="rId1" Type="http://schemas.openxmlformats.org/officeDocument/2006/relationships/slideMaster" Target="../slideMasters/slideMaster20.xml"/></Relationships>
</file>

<file path=ppt/slideLayouts/_rels/slideLayout9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3.svg"/><Relationship Id="rId2" Type="http://schemas.openxmlformats.org/officeDocument/2006/relationships/image" Target="../media/image172.png"/><Relationship Id="rId1" Type="http://schemas.openxmlformats.org/officeDocument/2006/relationships/slideMaster" Target="../slideMasters/slideMaster20.xml"/></Relationships>
</file>

<file path=ppt/slideLayouts/_rels/slideLayout9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5.svg"/><Relationship Id="rId2" Type="http://schemas.openxmlformats.org/officeDocument/2006/relationships/image" Target="../media/image174.png"/><Relationship Id="rId1" Type="http://schemas.openxmlformats.org/officeDocument/2006/relationships/slideMaster" Target="../slideMasters/slideMaster20.xml"/></Relationships>
</file>

<file path=ppt/slideLayouts/_rels/slideLayout9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7.svg"/><Relationship Id="rId2" Type="http://schemas.openxmlformats.org/officeDocument/2006/relationships/image" Target="../media/image176.png"/><Relationship Id="rId1" Type="http://schemas.openxmlformats.org/officeDocument/2006/relationships/slideMaster" Target="../slideMasters/slideMaster20.xml"/></Relationships>
</file>

<file path=ppt/slideLayouts/_rels/slideLayout9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9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8.png"/><Relationship Id="rId1" Type="http://schemas.openxmlformats.org/officeDocument/2006/relationships/slideMaster" Target="../slideMasters/slideMaster20.xml"/></Relationships>
</file>

<file path=ppt/slideLayouts/_rels/slideLayout9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5.png"/><Relationship Id="rId3" Type="http://schemas.openxmlformats.org/officeDocument/2006/relationships/image" Target="../media/image180.png"/><Relationship Id="rId7" Type="http://schemas.openxmlformats.org/officeDocument/2006/relationships/image" Target="../media/image184.png"/><Relationship Id="rId2" Type="http://schemas.openxmlformats.org/officeDocument/2006/relationships/image" Target="../media/image179.png"/><Relationship Id="rId1" Type="http://schemas.openxmlformats.org/officeDocument/2006/relationships/slideMaster" Target="../slideMasters/slideMaster20.xml"/><Relationship Id="rId6" Type="http://schemas.openxmlformats.org/officeDocument/2006/relationships/image" Target="../media/image183.png"/><Relationship Id="rId5" Type="http://schemas.openxmlformats.org/officeDocument/2006/relationships/image" Target="../media/image182.png"/><Relationship Id="rId4" Type="http://schemas.openxmlformats.org/officeDocument/2006/relationships/image" Target="../media/image181.png"/><Relationship Id="rId9" Type="http://schemas.openxmlformats.org/officeDocument/2006/relationships/image" Target="../media/image186.png"/></Relationships>
</file>

<file path=ppt/slideLayouts/_rels/slideLayout9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7.png"/><Relationship Id="rId1" Type="http://schemas.openxmlformats.org/officeDocument/2006/relationships/slideMaster" Target="../slideMasters/slideMaster20.xml"/></Relationships>
</file>

<file path=ppt/slideLayouts/_rels/slideLayout9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7.png"/><Relationship Id="rId2" Type="http://schemas.openxmlformats.org/officeDocument/2006/relationships/image" Target="../media/image188.jpeg"/><Relationship Id="rId1" Type="http://schemas.openxmlformats.org/officeDocument/2006/relationships/slideMaster" Target="../slideMasters/slideMaster21.xml"/></Relationships>
</file>

<file path=ppt/slideLayouts/_rels/slideLayout9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37D987C-CDA7-4757-9F6D-0A04BA63E53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2969"/>
          <a:stretch/>
        </p:blipFill>
        <p:spPr>
          <a:xfrm>
            <a:off x="0" y="1"/>
            <a:ext cx="12192000" cy="687142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CF23CCC-58B7-C840-9242-AA8E18B830B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0080260" y="6214837"/>
            <a:ext cx="1554872" cy="422924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41142" y="4713806"/>
            <a:ext cx="6314695" cy="511087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Speaker’s Nam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41142" y="5264012"/>
            <a:ext cx="6314695" cy="95082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 her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142" y="993220"/>
            <a:ext cx="6312765" cy="196977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6667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ver headline sentence cas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541142" y="3017205"/>
            <a:ext cx="6328221" cy="16966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2667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 err="1"/>
              <a:t>Subheadline</a:t>
            </a:r>
            <a:r>
              <a:rPr lang="en-US"/>
              <a:t> in sentence case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FA08DDBA-7B96-42E2-86EA-0C94483881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6C811A-A9F2-354B-BB7E-B122569E995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 altLang="zh-TW"/>
              <a:t>Month</a:t>
            </a:r>
            <a:r>
              <a:rPr lang="zh-TW" altLang="en-US"/>
              <a:t> </a:t>
            </a:r>
            <a:r>
              <a:rPr lang="en-US" altLang="zh-TW"/>
              <a:t>XX,</a:t>
            </a:r>
            <a:r>
              <a:rPr lang="zh-TW" altLang="en-US"/>
              <a:t> </a:t>
            </a:r>
            <a:r>
              <a:rPr lang="en-US" altLang="zh-TW"/>
              <a:t>Yea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67759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BC7AE7-158D-4519-8464-722F5EF35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1" y="990600"/>
            <a:ext cx="10796588" cy="105568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DC1BA0-9AAE-4457-AB7A-2225418D1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8801" y="2605088"/>
            <a:ext cx="4491699" cy="82391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133" b="0">
                <a:solidFill>
                  <a:schemeClr val="tx1"/>
                </a:solid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E848AC0-25F2-405D-B9A8-6A6D59BA03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5982" y="3610285"/>
            <a:ext cx="4487517" cy="253283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933"/>
            </a:lvl3pPr>
            <a:lvl4pPr>
              <a:lnSpc>
                <a:spcPct val="100000"/>
              </a:lnSpc>
              <a:defRPr sz="533"/>
            </a:lvl4pPr>
            <a:lvl5pPr>
              <a:lnSpc>
                <a:spcPct val="100000"/>
              </a:lnSpc>
              <a:defRPr sz="2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AF116F-80E4-401F-8142-28C0EE2B6E8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48401" y="2605088"/>
            <a:ext cx="4513820" cy="82391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133" b="0">
                <a:solidFill>
                  <a:schemeClr val="tx1"/>
                </a:solidFill>
                <a:latin typeface="+mj-lt"/>
              </a:defRPr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E3511E8-A554-4DB3-8DE9-40E338349FC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48402" y="3610285"/>
            <a:ext cx="4509617" cy="253283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933"/>
            </a:lvl3pPr>
            <a:lvl4pPr>
              <a:lnSpc>
                <a:spcPct val="100000"/>
              </a:lnSpc>
              <a:defRPr sz="533"/>
            </a:lvl4pPr>
            <a:lvl5pPr>
              <a:lnSpc>
                <a:spcPct val="100000"/>
              </a:lnSpc>
              <a:defRPr sz="2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324A219-BAAE-44FA-9F17-70A08A4E4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0F9371A-4233-460B-91A9-B91A8429B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631F93F1-F5D5-44EF-B435-0444DF40D6A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0183BC8-1811-6143-831D-CAEB825658F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3201913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13E34AB2-EB40-45F2-BAE7-A8136E51FF6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2" y="3714583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/>
            </a:lvl1pPr>
            <a:lvl2pPr>
              <a:defRPr lang="en-US" sz="1067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  <a:p>
            <a:pPr marL="228589" lvl="3" indent="-228589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3" y="2616184"/>
            <a:ext cx="3357020" cy="8032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EA591F5-58AE-D343-A6EB-87F69740E76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2620629"/>
            <a:ext cx="3357020" cy="8032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B8558003-6140-3442-986E-2C60FA775A53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2616184"/>
            <a:ext cx="3357020" cy="8032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FBBB06B7-9478-4C6F-9560-109718AC49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5390428" cy="14965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50389FDF-392D-4049-AC2A-1E9DF18496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Content Placeholder 6">
            <a:extLst>
              <a:ext uri="{FF2B5EF4-FFF2-40B4-BE49-F238E27FC236}">
                <a16:creationId xmlns:a16="http://schemas.microsoft.com/office/drawing/2014/main" id="{5CF71C16-241D-4C12-986F-49C011B6FB62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113" y="3714583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  <a:p>
            <a:pPr marL="228589" lvl="3" indent="-228589"/>
            <a:r>
              <a:rPr lang="en-US"/>
              <a:t>Fourth level</a:t>
            </a:r>
          </a:p>
        </p:txBody>
      </p:sp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DF591020-88DC-4E7B-BD72-36E6EB59E14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126439" y="3714583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  <a:p>
            <a:pPr marL="228589" lvl="3" indent="-228589"/>
            <a:r>
              <a:rPr lang="en-US"/>
              <a:t>Four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383FF70-E831-4747-A153-F9977C8D40C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1ACA0FBF-BD85-4A2B-857C-5FEA45B4C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8926736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Ten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3721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2875B737-D8C9-4B5A-A987-E648592F8AB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71500" y="2437942"/>
            <a:ext cx="647700" cy="393826"/>
          </a:xfrm>
        </p:spPr>
        <p:txBody>
          <a:bodyPr>
            <a:spAutoFit/>
          </a:bodyPr>
          <a:lstStyle>
            <a:lvl1pPr algn="l">
              <a:defRPr sz="2400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1BC899D-37C3-4568-A4DF-0B0EDE20DC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403910" y="2437942"/>
            <a:ext cx="4539690" cy="393826"/>
          </a:xfrm>
        </p:spPr>
        <p:txBody>
          <a:bodyPr wrap="square">
            <a:spAutoFit/>
          </a:bodyPr>
          <a:lstStyle>
            <a:lvl1pPr>
              <a:defRPr sz="2400" spc="-12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B5D11EE-1D55-4041-81BF-2D405343AEB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1403910" y="286614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78F2AB5-8A22-4344-B743-464793BF69F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71500" y="3278622"/>
            <a:ext cx="647700" cy="393826"/>
          </a:xfrm>
        </p:spPr>
        <p:txBody>
          <a:bodyPr>
            <a:spAutoFit/>
          </a:bodyPr>
          <a:lstStyle>
            <a:lvl1pPr algn="l">
              <a:defRPr sz="2400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2A1D5CE-6473-44B2-BC10-1AC73E1B795C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403910" y="3278622"/>
            <a:ext cx="4539690" cy="393826"/>
          </a:xfrm>
        </p:spPr>
        <p:txBody>
          <a:bodyPr wrap="square">
            <a:spAutoFit/>
          </a:bodyPr>
          <a:lstStyle>
            <a:lvl1pPr>
              <a:defRPr sz="2400" spc="-12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D8A733FF-648D-413A-A965-9380FF19EB3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403910" y="370682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C4EAFF18-13A5-4454-9A4E-50C9683A086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71500" y="4118817"/>
            <a:ext cx="647700" cy="393826"/>
          </a:xfrm>
        </p:spPr>
        <p:txBody>
          <a:bodyPr>
            <a:spAutoFit/>
          </a:bodyPr>
          <a:lstStyle>
            <a:lvl1pPr algn="l">
              <a:defRPr sz="2400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5CFB554-4FA5-44FE-AD9D-94ADB8A1596B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403910" y="4118817"/>
            <a:ext cx="4539690" cy="393826"/>
          </a:xfrm>
        </p:spPr>
        <p:txBody>
          <a:bodyPr wrap="square">
            <a:spAutoFit/>
          </a:bodyPr>
          <a:lstStyle>
            <a:lvl1pPr>
              <a:defRPr sz="2400" spc="-12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E82D60C9-C7E6-4DE4-8E8B-9A9D85E509A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1403910" y="4547021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1C81A21-CB5C-4EBA-AA54-D73A670B36B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71500" y="4959740"/>
            <a:ext cx="647700" cy="393826"/>
          </a:xfrm>
        </p:spPr>
        <p:txBody>
          <a:bodyPr>
            <a:spAutoFit/>
          </a:bodyPr>
          <a:lstStyle>
            <a:lvl1pPr algn="l">
              <a:defRPr sz="2400"/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3D704AA8-F2E6-4E6E-BA0F-C73614C721D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1403910" y="4959740"/>
            <a:ext cx="4539690" cy="393826"/>
          </a:xfrm>
        </p:spPr>
        <p:txBody>
          <a:bodyPr wrap="square">
            <a:spAutoFit/>
          </a:bodyPr>
          <a:lstStyle>
            <a:lvl1pPr>
              <a:defRPr sz="2400" spc="-12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66AE59D2-11F7-416C-B366-F23200F2C468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403910" y="5387944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898C6801-7507-4803-A711-42CEC857E56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0" y="2437942"/>
            <a:ext cx="647700" cy="393826"/>
          </a:xfrm>
        </p:spPr>
        <p:txBody>
          <a:bodyPr>
            <a:spAutoFit/>
          </a:bodyPr>
          <a:lstStyle>
            <a:lvl1pPr algn="l">
              <a:defRPr sz="2400"/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7589C976-7FFB-4218-BF7E-1F78F2A1F02C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10" y="2437942"/>
            <a:ext cx="4539690" cy="393826"/>
          </a:xfrm>
        </p:spPr>
        <p:txBody>
          <a:bodyPr wrap="square">
            <a:spAutoFit/>
          </a:bodyPr>
          <a:lstStyle>
            <a:lvl1pPr>
              <a:defRPr sz="2400" spc="-12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0F3DDABD-EE25-49C3-9A53-2657DAD77A8C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10" y="286614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17167DB7-5308-42DC-AEE9-AAED2ED164D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248400" y="3278622"/>
            <a:ext cx="647700" cy="393826"/>
          </a:xfrm>
        </p:spPr>
        <p:txBody>
          <a:bodyPr>
            <a:spAutoFit/>
          </a:bodyPr>
          <a:lstStyle>
            <a:lvl1pPr algn="l">
              <a:defRPr sz="2400"/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620B5D7B-672A-4FB9-9717-E785586DA30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7080810" y="3278622"/>
            <a:ext cx="4539690" cy="393826"/>
          </a:xfrm>
        </p:spPr>
        <p:txBody>
          <a:bodyPr wrap="square">
            <a:spAutoFit/>
          </a:bodyPr>
          <a:lstStyle>
            <a:lvl1pPr>
              <a:defRPr sz="2400" spc="-12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E23B210E-5C88-4516-A864-36247F88D733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7080810" y="370682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37DB0FAF-76DD-43D1-B897-9417F5B3AB7B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48400" y="4118817"/>
            <a:ext cx="647700" cy="393826"/>
          </a:xfrm>
        </p:spPr>
        <p:txBody>
          <a:bodyPr>
            <a:spAutoFit/>
          </a:bodyPr>
          <a:lstStyle>
            <a:lvl1pPr algn="l">
              <a:defRPr sz="2400"/>
            </a:lvl1pPr>
          </a:lstStyle>
          <a:p>
            <a:pPr lvl="0"/>
            <a:r>
              <a:rPr lang="en-US"/>
              <a:t>07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B0C7BE68-E1A9-48A3-8ADD-8FDB96C02A40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7080810" y="4118817"/>
            <a:ext cx="4539690" cy="393826"/>
          </a:xfrm>
        </p:spPr>
        <p:txBody>
          <a:bodyPr wrap="square">
            <a:spAutoFit/>
          </a:bodyPr>
          <a:lstStyle>
            <a:lvl1pPr>
              <a:defRPr sz="2400" spc="-12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5195D37A-ED4A-4E1F-A476-81831613075B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080810" y="4547021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62FE476F-78D3-4BBD-ADB0-A014E40BC384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48400" y="4959740"/>
            <a:ext cx="647700" cy="393826"/>
          </a:xfrm>
        </p:spPr>
        <p:txBody>
          <a:bodyPr>
            <a:spAutoFit/>
          </a:bodyPr>
          <a:lstStyle>
            <a:lvl1pPr algn="l">
              <a:defRPr sz="2400"/>
            </a:lvl1pPr>
          </a:lstStyle>
          <a:p>
            <a:pPr lvl="0"/>
            <a:r>
              <a:rPr lang="en-US"/>
              <a:t>08</a:t>
            </a:r>
          </a:p>
        </p:txBody>
      </p:sp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D42D2D51-155D-4C35-BC5F-B8F1C46DC335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7080810" y="4959740"/>
            <a:ext cx="4539690" cy="393826"/>
          </a:xfrm>
        </p:spPr>
        <p:txBody>
          <a:bodyPr wrap="square">
            <a:spAutoFit/>
          </a:bodyPr>
          <a:lstStyle>
            <a:lvl1pPr>
              <a:defRPr sz="2400" spc="-12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EBF4B885-D002-47D6-8922-12B72E21CACE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7080810" y="5387944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Slide Number Placeholder 4">
            <a:extLst>
              <a:ext uri="{FF2B5EF4-FFF2-40B4-BE49-F238E27FC236}">
                <a16:creationId xmlns:a16="http://schemas.microsoft.com/office/drawing/2014/main" id="{9926C402-B30F-48CF-AE5C-DD17277645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0EEB412-0CE0-4F00-8756-0957743AE431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119475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696DE5-6EFF-4C09-9943-5FCA93FF6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2057400"/>
            <a:ext cx="11045952" cy="4152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011A5B07-96E9-42C8-81C4-56D26550D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13F3EF27-6A14-4D7C-8508-4A99550012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4FE852-4660-4623-83C0-2F7C9B6EDB27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189051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564E15E-85C2-40F1-B654-E42DCFBA1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2057400"/>
            <a:ext cx="11045952" cy="4152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 marL="0" indent="0">
              <a:buNone/>
              <a:defRPr sz="1400"/>
            </a:lvl2pPr>
            <a:lvl3pPr marL="228600" indent="0">
              <a:buNone/>
              <a:defRPr sz="1200"/>
            </a:lvl3pPr>
            <a:lvl4pPr marL="406400" indent="0">
              <a:buNone/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3D48BA6F-F538-4244-9C7F-AF4F865429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30370F4-DF08-4B4A-A3BB-EB8905622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3BE238-C084-4FBF-86DF-59C91AF8317F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741133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B4490E3A-EE7B-48AF-BD6B-46266697BF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E1C715D-9112-4A01-AD63-361439BFB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E43F6E-A8D0-4155-BD27-8561034BB2B8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829663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8EE2313-2646-4E0B-B6B4-BA07574D2F8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48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EB3F24F0-C173-4234-BFC6-3647FC1215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572B255-D144-453C-90FA-BB07F680CF0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D9DF569-2B30-EE4C-8D21-F21B97793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949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790928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AC091585-1747-4BE7-B069-B5CB0A31F2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C7D94ED-0F39-4B30-8B40-B8D535783A5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CE85B47-180E-0542-8A98-FABBBFB2A6D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48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265EAF99-811E-0A42-AD86-6F1F07B547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949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BC72363-F3A6-5E44-AD40-7647C83973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2057400"/>
            <a:ext cx="11045952" cy="4152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0294418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392">
          <p15:clr>
            <a:srgbClr val="5ACBF0"/>
          </p15:clr>
        </p15:guide>
      </p15:sldGuideLst>
    </p:ext>
  </p:extLst>
</p:sldLayout>
</file>

<file path=ppt/slideLayouts/slideLayout10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6332A7A8-0C69-4C49-9300-B6F94D2389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9195570-1534-4F74-B303-B06313C227F6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66674A7-0DAD-C54D-BB6A-AB4B6F3D1CF2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48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4BFEFE0-97D7-B240-BC88-FC22052279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949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82028C6-D96F-A145-862B-ED80E5C5EF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2057400"/>
            <a:ext cx="11045952" cy="4152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600"/>
            </a:lvl1pPr>
            <a:lvl2pPr marL="0" indent="0">
              <a:buFontTx/>
              <a:buNone/>
              <a:defRPr sz="1400"/>
            </a:lvl2pPr>
            <a:lvl3pPr marL="228600" indent="0">
              <a:buFontTx/>
              <a:buNone/>
              <a:defRPr sz="1200"/>
            </a:lvl3pPr>
            <a:lvl4pPr marL="406400" indent="0">
              <a:buFontTx/>
              <a:buNone/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42200383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392">
          <p15:clr>
            <a:srgbClr val="5ACBF0"/>
          </p15:clr>
        </p15:guide>
      </p15:sldGuideLst>
    </p:ext>
  </p:extLst>
</p:sldLayout>
</file>

<file path=ppt/slideLayouts/slideLayout10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8C469D-456E-4ECF-83FA-AF1F3BDB26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500" y="2057401"/>
            <a:ext cx="5372100" cy="41529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8E86-A92A-495E-A49E-35F25D765A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2057400"/>
            <a:ext cx="5372100" cy="4152901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 marL="746125" indent="-174625">
              <a:defRPr lang="en-US" sz="600" b="0" i="0" kern="1200" spc="0" baseline="0" dirty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07B213B2-4EFE-44E5-8AB3-D9958325FC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274A685-F33F-448C-B6FE-AB508BA75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DAB2D8-1539-4822-9614-2E04B2120F5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424132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, Title &amp;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DC1BA0-9AAE-4457-AB7A-2225418D1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2057400"/>
            <a:ext cx="5372100" cy="609599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87F35FC-680E-4287-99BA-ED6DF9E6085D}"/>
              </a:ext>
            </a:extLst>
          </p:cNvPr>
          <p:cNvSpPr>
            <a:spLocks noGrp="1"/>
          </p:cNvSpPr>
          <p:nvPr>
            <p:ph type="body" idx="57"/>
          </p:nvPr>
        </p:nvSpPr>
        <p:spPr>
          <a:xfrm>
            <a:off x="6248400" y="2057400"/>
            <a:ext cx="5372100" cy="609599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E451DCD-2B8C-4BF9-8D85-AA8F5ABE2826}"/>
              </a:ext>
            </a:extLst>
          </p:cNvPr>
          <p:cNvSpPr>
            <a:spLocks noGrp="1"/>
          </p:cNvSpPr>
          <p:nvPr>
            <p:ph sz="half" idx="58"/>
          </p:nvPr>
        </p:nvSpPr>
        <p:spPr>
          <a:xfrm>
            <a:off x="571500" y="2819400"/>
            <a:ext cx="5372100" cy="3390901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F39D5E2-4E9E-4B26-9E69-7D77328E4C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2819399"/>
            <a:ext cx="5372100" cy="3390901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 marL="746125" indent="-174625">
              <a:defRPr lang="en-US" sz="600" b="0" i="0" kern="1200" spc="0" baseline="0" dirty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6B7899C7-9188-4B2E-839A-A28FBD4D55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C2285B0-0824-4973-8F1D-C24F2784A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C254480-49EA-44F8-91E6-0FCF9F498DC6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724203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680">
          <p15:clr>
            <a:srgbClr val="5ACBF0"/>
          </p15:clr>
        </p15:guide>
        <p15:guide id="2" orient="horz" pos="1776">
          <p15:clr>
            <a:srgbClr val="5ACBF0"/>
          </p15:clr>
        </p15:guide>
      </p15:sldGuideLst>
    </p:ext>
  </p:extLst>
</p:sldLayout>
</file>

<file path=ppt/slideLayouts/slideLayout10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58696A-2388-495D-981D-050920BB5C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5625084"/>
            <a:ext cx="5372099" cy="585216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C009990-5F38-4F94-ABE2-44DA301BD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0" y="5625084"/>
            <a:ext cx="5372099" cy="585216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D01E734-4CA7-4CBD-A769-BCC20375564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1500" y="2057401"/>
            <a:ext cx="5372100" cy="3385456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E24BD1C9-BB6F-4B1A-B0AC-70FBFBAD0D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48400" y="2057401"/>
            <a:ext cx="5372100" cy="3385456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9D26F7AB-C797-48E9-9124-37843B1351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C3A3765-3130-474C-96F5-7E50AE68B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CEFB623-3BE4-41A5-AD7A-7D81E50E12F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063279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904">
          <p15:clr>
            <a:srgbClr val="FBAE40"/>
          </p15:clr>
        </p15:guide>
        <p15:guide id="2" orient="horz" pos="3048">
          <p15:clr>
            <a:srgbClr val="5ACBF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A041BB60-92E2-E24D-A7E4-A3567C28152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63903" y="2518229"/>
            <a:ext cx="3501661" cy="1294891"/>
          </a:xfrm>
          <a:prstGeom prst="rect">
            <a:avLst/>
          </a:prstGeom>
          <a:solidFill>
            <a:srgbClr val="F2F2F2"/>
          </a:solidFill>
        </p:spPr>
        <p:txBody>
          <a:bodyPr anchor="t" anchorCtr="0">
            <a:noAutofit/>
          </a:bodyPr>
          <a:lstStyle>
            <a:lvl1pPr marL="0" indent="0" algn="ctr">
              <a:buNone/>
              <a:defRPr sz="2509" spc="-96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EDAD314-6F73-5C4E-93D2-9F6E7C78F6D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3" y="3857639"/>
            <a:ext cx="3363063" cy="51663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E5D9876C-926F-4148-B388-37AF2EC91BA9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3" y="3857640"/>
            <a:ext cx="3363063" cy="52199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A0EB0E0-8003-1149-85CF-5D63FB41C1C8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9" y="3853194"/>
            <a:ext cx="3363063" cy="52199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5C20FC9A-2038-AF44-9486-38D2103687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48112" y="2518229"/>
            <a:ext cx="3501661" cy="1294891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509" spc="-96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Insert image</a:t>
            </a:r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14AE4050-3A50-CC40-A2F2-6040AFDD5C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32320" y="2518229"/>
            <a:ext cx="3494627" cy="1294891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509" spc="-96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Insert imag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664EEB71-E7FA-45C6-8549-2F56C38185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1"/>
            <a:ext cx="5390428" cy="143386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images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AD169A5A-D278-4C7A-80C6-4AAAFCE2E1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77CC832-63CA-4131-ABA9-356B02B9073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3" y="4605093"/>
            <a:ext cx="3363063" cy="16172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CD16B98-DFE6-42E9-983E-5855355500F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48113" y="4605093"/>
            <a:ext cx="3363063" cy="16172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43A5D85-76F0-4FEF-A17F-4532934D5A5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25287" y="4605093"/>
            <a:ext cx="3363063" cy="16172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B14B9EC-8559-42D6-A40F-F7BF924ADBA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A5974834-AF48-48D6-A946-C25C1D483A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5609158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C557799B-54AB-4A76-9053-00D54EC8F1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8C1C862-6F14-47C3-885D-12D6E1A99AA2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81155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4BE6003-571D-4817-A40A-6421214126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6C3A51EE-51A6-431A-AA0F-AEBB244145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4156D67-C67F-41CF-BA17-0B2BFD535E2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964932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F04F058-17F0-4AC2-BBDA-9E61118ACE6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10703F-CBA9-4296-B386-BA35019F8F44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118377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6734A84-A20E-4265-848D-432FAF49C4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A187A38-21D1-432D-8923-F800B49667E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2236BEA-8B84-4433-AC6E-DE816054A44B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854117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0D5EF031-1FF2-4E26-B83E-96F1E8664BB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88512B8-EE48-41A2-B2A4-55EA1AA334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FACBFD6-220E-4E6A-BB4D-98B602093400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399392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000EC02-38D3-4C48-851E-600420AAA783}"/>
              </a:ext>
            </a:extLst>
          </p:cNvPr>
          <p:cNvSpPr>
            <a:spLocks noGrp="1"/>
          </p:cNvSpPr>
          <p:nvPr>
            <p:ph type="body" sz="quarter" idx="48"/>
          </p:nvPr>
        </p:nvSpPr>
        <p:spPr>
          <a:xfrm>
            <a:off x="571500" y="2057400"/>
            <a:ext cx="9144000" cy="4152900"/>
          </a:xfrm>
        </p:spPr>
        <p:txBody>
          <a:bodyPr/>
          <a:lstStyle>
            <a:lvl1pPr>
              <a:lnSpc>
                <a:spcPct val="120000"/>
              </a:lnSpc>
              <a:defRPr sz="32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D5D5B3F-EDFF-4E4E-BD22-8295632F21B3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571500" y="1067338"/>
            <a:ext cx="9144000" cy="837024"/>
          </a:xfrm>
        </p:spPr>
        <p:txBody>
          <a:bodyPr wrap="square">
            <a:noAutofit/>
          </a:bodyPr>
          <a:lstStyle>
            <a:lvl1pPr>
              <a:defRPr sz="24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3B9D59D9-8DA4-4E99-A897-C9F4BAF7E1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1FC0D37-988B-4131-A893-5C4F43E9FAB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643511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an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DA0E52D-C721-4650-9C0F-6736A8356BDD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32"/>
          </a:p>
        </p:txBody>
      </p:sp>
      <p:sp>
        <p:nvSpPr>
          <p:cNvPr id="20" name="Text Placeholder 4">
            <a:extLst>
              <a:ext uri="{FF2B5EF4-FFF2-40B4-BE49-F238E27FC236}">
                <a16:creationId xmlns:a16="http://schemas.microsoft.com/office/drawing/2014/main" id="{67FF4A9D-11FD-45B3-942A-A17891752403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6553200" y="2057400"/>
            <a:ext cx="5067300" cy="4152900"/>
          </a:xfrm>
        </p:spPr>
        <p:txBody>
          <a:bodyPr/>
          <a:lstStyle>
            <a:lvl1pPr>
              <a:lnSpc>
                <a:spcPct val="90000"/>
              </a:lnSpc>
              <a:defRPr lang="en-US" sz="2800" b="0" i="0" kern="0" spc="0" baseline="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49143D46-CA37-4D63-A07F-EF754BD9E1C3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571500" y="2057400"/>
            <a:ext cx="5067300" cy="4152900"/>
          </a:xfrm>
        </p:spPr>
        <p:txBody>
          <a:bodyPr/>
          <a:lstStyle>
            <a:lvl1pPr>
              <a:lnSpc>
                <a:spcPct val="120000"/>
              </a:lnSpc>
              <a:defRPr sz="280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79AB49BE-8C93-4A5A-BA5F-A8C8EEB09E22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571500" y="1067338"/>
            <a:ext cx="5067300" cy="837024"/>
          </a:xfrm>
        </p:spPr>
        <p:txBody>
          <a:bodyPr wrap="square">
            <a:noAutofit/>
          </a:bodyPr>
          <a:lstStyle>
            <a:lvl1pPr>
              <a:defRPr sz="24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12FC219C-6E3E-4E4D-87EF-33C25DADE44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6553200" y="1067338"/>
            <a:ext cx="5067300" cy="837024"/>
          </a:xfrm>
        </p:spPr>
        <p:txBody>
          <a:bodyPr wrap="square">
            <a:noAutofit/>
          </a:bodyPr>
          <a:lstStyle>
            <a:lvl1pPr>
              <a:defRPr sz="2400">
                <a:solidFill>
                  <a:schemeClr val="accent1"/>
                </a:solidFill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79D878A-A5C5-4228-AFB3-93E78349BE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9908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128">
          <p15:clr>
            <a:srgbClr val="A4A3A4"/>
          </p15:clr>
        </p15:guide>
        <p15:guide id="3" pos="3552">
          <p15:clr>
            <a:srgbClr val="A4A3A4"/>
          </p15:clr>
        </p15:guide>
      </p15:sldGuideLst>
    </p:ext>
  </p:extLst>
</p:sldLayout>
</file>

<file path=ppt/slideLayouts/slideLayout10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D6DF483-DD51-444D-AF16-AF31E72FDD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2057400"/>
            <a:ext cx="5067300" cy="4152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0BAC715-F543-452A-80B1-3A07B10B2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8698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F48862-22C1-482F-B821-3D8CC682DAB1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B5F20A8F-C6EE-45B8-8D29-F4CBE62B85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77898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10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1E1BB935-C530-47D2-883E-00828E3A8FC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200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D970870-8847-48D6-ACCA-B0F7D662F2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2057400"/>
            <a:ext cx="5067300" cy="4152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8CEBD18-98E9-4568-A90A-5715A834E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8698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26C5CB87-2344-468C-93DD-7615F48011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50951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10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FEF2E81-694A-4A5A-BEDE-DF13285D820B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5E2598-51C8-4F83-B09D-69C86C142A3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2057400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737D39F-19A0-4D2A-8E85-527465AFD610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188208" y="2057400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4FE5E7B-ECDC-404D-9B30-E7B580CCEED3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571499" y="2933700"/>
            <a:ext cx="2448576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1CDB75F-12E1-4403-B291-31A3B1C83B04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3188208" y="2933700"/>
            <a:ext cx="2450592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BA687946-9318-4CD5-B900-AA488A7BDA5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200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ECBF8DC3-DA3E-470B-AE86-6B154E24E3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8698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D7F2E339-68BB-40B2-BD3E-BEF89AECA4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62206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552">
          <p15:clr>
            <a:srgbClr val="A4A3A4"/>
          </p15:clr>
        </p15:guide>
        <p15:guide id="3" pos="4128">
          <p15:clr>
            <a:srgbClr val="A4A3A4"/>
          </p15:clr>
        </p15:guide>
        <p15:guide id="4" orient="horz" pos="1752">
          <p15:clr>
            <a:srgbClr val="A4A3A4"/>
          </p15:clr>
        </p15:guide>
        <p15:guide id="5" orient="horz" pos="1848">
          <p15:clr>
            <a:srgbClr val="A4A3A4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D1EB964-31F1-4CBE-82A3-C0D6A156FC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5390428" cy="155926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icons</a:t>
            </a:r>
          </a:p>
        </p:txBody>
      </p:sp>
      <p:sp>
        <p:nvSpPr>
          <p:cNvPr id="43" name="Slide Number Placeholder 4">
            <a:extLst>
              <a:ext uri="{FF2B5EF4-FFF2-40B4-BE49-F238E27FC236}">
                <a16:creationId xmlns:a16="http://schemas.microsoft.com/office/drawing/2014/main" id="{EF211203-217C-43EA-B455-2829537E92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DD9E95C-54D7-4CDC-9398-06EA3EF4C2B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63904" y="34290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308B72D-42DD-4AFC-86F7-A60C430A65F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48112" y="34290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92FBA143-4C75-4705-B518-3C3BEB4DB59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25288" y="34290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BFFB3BB-96C3-43AE-AE37-B552C0F815F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1" y="3783515"/>
            <a:ext cx="3383963" cy="59075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557260CF-2100-49E9-84E8-B0D7AFADA565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2" y="3782746"/>
            <a:ext cx="3383963" cy="5968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0E159BC0-6118-41FB-BD15-D9B76E35ED35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8" y="3778300"/>
            <a:ext cx="3383963" cy="5968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2CDBFEA-91A7-4FE4-AAE2-321927A46CE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1" y="4605093"/>
            <a:ext cx="3383963" cy="16172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1CBFE74-247B-4E42-8A8C-4D5F9D2997F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48112" y="4605093"/>
            <a:ext cx="3383963" cy="16172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CD5C99F-F57F-4957-BA17-CF590173E3F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25285" y="4605093"/>
            <a:ext cx="3383963" cy="16172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415BF8F-879F-4E1A-A7D8-9D683393FD0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3534F201-EBA0-46A0-B1E7-7AF9F7C498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366139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5999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689F426-4C63-454D-B133-BC94D9D160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2057400"/>
            <a:ext cx="5067300" cy="4152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B15451E-AF4B-4B3A-B376-2003DB48C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8698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01000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5999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4E61574-6170-418C-BEDF-8D1CE1D0695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2057400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0FC9FD5-44CF-4A1A-8431-D92F7740BC12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188208" y="2057400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A41077B9-AFD3-4965-8639-22DEAB59CC69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571499" y="2933700"/>
            <a:ext cx="2448576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36FB99AA-6985-4DAD-8EEA-914B21FD4F12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3188208" y="2933700"/>
            <a:ext cx="2450592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9F1EE91-F457-4893-88BA-AF3B71081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8698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477371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552">
          <p15:clr>
            <a:srgbClr val="A4A3A4"/>
          </p15:clr>
        </p15:guide>
        <p15:guide id="2" pos="4152">
          <p15:clr>
            <a:srgbClr val="A4A3A4"/>
          </p15:clr>
        </p15:guide>
      </p15:sldGuideLst>
    </p:ext>
  </p:extLst>
</p:sldLayout>
</file>

<file path=ppt/slideLayouts/slideLayout10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AEEE0BE-B874-4CB1-92B1-404602B5CA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0" y="2057400"/>
            <a:ext cx="5067300" cy="4152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B74128E-BA5E-4242-8B4E-D1F742670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613D29C-0961-4A3D-8A56-1E1B5BC7445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F7417622-23E6-4BE5-84C8-E1A29BAB3C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5036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10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C82BCFB0-2C06-4262-9388-B4438F4E968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68778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7CE7532D-7513-48EC-B389-61E514E43A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A91454E-2EA6-44B8-A162-04BA18BBED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0" y="2057400"/>
            <a:ext cx="5067300" cy="4152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E96ABEA8-C693-429B-8E00-CBD848A92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85874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10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2BE86DFA-31C3-4F24-A7FF-57697A0FEFD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68778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554C3E3F-6F47-404B-8F5C-6621904ABD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BA23DE7-CFFA-40A9-9A64-A60D8665455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554523" y="2057400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60001BE-2917-4768-B6B6-BEC070C85F3E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71232" y="2057400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0725CC8-668B-42C0-ACB5-A4577AC924B6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6554523" y="2933700"/>
            <a:ext cx="2448576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CE996329-A2C3-44E1-8558-498449CDDA22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171232" y="2933700"/>
            <a:ext cx="2450592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F033B061-30E2-4203-B7D3-0E4FF6C4CC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929630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10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F60A532-8EEA-467C-8E7E-39CF1DB485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" y="0"/>
            <a:ext cx="6095999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7DE0CBD0-55B2-4C7B-9EC1-F68B63256B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35F03C2-9929-464B-A02D-DE256E706D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0" y="2057400"/>
            <a:ext cx="5067300" cy="4152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6D3B650-5EC2-4F87-A7DF-85C7547613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139788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10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F60A532-8EEA-467C-8E7E-39CF1DB485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" y="0"/>
            <a:ext cx="6095999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3F8DA1B8-34C2-4CE7-B79A-2E6B10239E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21796CB-DAD1-4AE0-9C02-26CED897E8EB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554523" y="2057400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FFE0A91-4D67-4469-A7A2-1162EB145D38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71232" y="2057400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071E6EBE-9A1A-4C7B-A790-B9A0A1169725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6554523" y="2933700"/>
            <a:ext cx="2448576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4AFD4863-2474-4609-855F-E56B3AFB7B98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171232" y="2933700"/>
            <a:ext cx="2450592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1F4C626F-9DC5-4A35-B26B-5ACA13A9BF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6586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10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A305123-92F2-4B89-A355-7539327F08C3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1500" y="2971800"/>
            <a:ext cx="3465576" cy="32359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2059958"/>
            <a:ext cx="3465576" cy="76455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2" name="Content Placeholder 4">
            <a:extLst>
              <a:ext uri="{FF2B5EF4-FFF2-40B4-BE49-F238E27FC236}">
                <a16:creationId xmlns:a16="http://schemas.microsoft.com/office/drawing/2014/main" id="{F96C995E-58E0-4A91-AA56-8759CFD3EA73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499" y="2971800"/>
            <a:ext cx="3467099" cy="32359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071BF92C-4C07-4794-8CC8-D51F3173376C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0" y="2059958"/>
            <a:ext cx="3467099" cy="76455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4" name="Content Placeholder 4">
            <a:extLst>
              <a:ext uri="{FF2B5EF4-FFF2-40B4-BE49-F238E27FC236}">
                <a16:creationId xmlns:a16="http://schemas.microsoft.com/office/drawing/2014/main" id="{47F7CD6B-9884-4317-A0E7-31AE02F93993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0" y="2971800"/>
            <a:ext cx="3467100" cy="323594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EECB8C3-35E8-4930-A0AE-3BA62609BFD9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8153400" y="2057399"/>
            <a:ext cx="3467100" cy="76455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86839537-C905-4EE7-8DA4-15B9E53D8C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1D46A44-801A-40B4-8117-1D09F7B03348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9A2394E-0E95-4850-A756-0015178A4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942546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872">
          <p15:clr>
            <a:srgbClr val="A4A3A4"/>
          </p15:clr>
        </p15:guide>
        <p15:guide id="3" orient="horz" pos="1776">
          <p15:clr>
            <a:srgbClr val="A4A3A4"/>
          </p15:clr>
        </p15:guide>
      </p15:sldGuideLst>
    </p:ext>
  </p:extLst>
</p:sldLayout>
</file>

<file path=ppt/slideLayouts/slideLayout10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A041BB60-92E2-E24D-A7E4-A3567C28152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77124" y="2057401"/>
            <a:ext cx="3465576" cy="1219199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6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5C20FC9A-2038-AF44-9486-38D2103687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81500" y="2057401"/>
            <a:ext cx="3465576" cy="1219199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600" b="0" i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26372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Insert image</a:t>
            </a:r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14AE4050-3A50-CC40-A2F2-6040AFDD5C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2057401"/>
            <a:ext cx="3465576" cy="1219199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600" b="0" i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26372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Insert image</a:t>
            </a:r>
          </a:p>
        </p:txBody>
      </p:sp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9CE094B7-A2CC-4860-A57D-F142C2E63FC6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4041159"/>
            <a:ext cx="3465576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E2DCECB4-BB48-48B5-A871-A080DE20BDFF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499" y="4041159"/>
            <a:ext cx="3467099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Content Placeholder 4">
            <a:extLst>
              <a:ext uri="{FF2B5EF4-FFF2-40B4-BE49-F238E27FC236}">
                <a16:creationId xmlns:a16="http://schemas.microsoft.com/office/drawing/2014/main" id="{868F585C-1E6D-44C6-9295-9866846056CD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0" y="4038600"/>
            <a:ext cx="3467100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A1EBBB-1490-4A58-9FEB-3DAB9E66019A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577124" y="3429000"/>
            <a:ext cx="3465576" cy="45975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6C65CC39-4D00-45CB-AE15-8C3D3E976756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0" y="3429000"/>
            <a:ext cx="3467099" cy="45975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9291D51-BC1A-4ED4-8278-30B67F7C4AA7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8153400" y="3426441"/>
            <a:ext cx="3467100" cy="45975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885233BB-7F20-46CA-A47B-2714749903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42E7DBE-A450-4BC3-A3EC-3A1EE7839F6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94344F4-D05A-E24F-A679-CB39B058D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726935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9" orient="horz" pos="2448">
          <p15:clr>
            <a:srgbClr val="A4A3A4"/>
          </p15:clr>
        </p15:guide>
        <p15:guide id="10" orient="horz" pos="2544">
          <p15:clr>
            <a:srgbClr val="A4A3A4"/>
          </p15:clr>
        </p15:guide>
      </p15:sldGuideLst>
    </p:ext>
  </p:extLst>
</p:sldLayout>
</file>

<file path=ppt/slideLayouts/slideLayout10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162CE302-798D-4C3C-B604-24580119C934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4041159"/>
            <a:ext cx="2547076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2F82E59B-78F5-4271-9409-6D4F8A622EB0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3429001" y="4041159"/>
            <a:ext cx="2510730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3530FA65-7386-4E1A-8266-06A3C45F9855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6244532" y="4041159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24F94952-8491-4257-AA6F-19C4844A06E9}"/>
              </a:ext>
            </a:extLst>
          </p:cNvPr>
          <p:cNvSpPr>
            <a:spLocks noGrp="1"/>
          </p:cNvSpPr>
          <p:nvPr>
            <p:ph sz="quarter" idx="74"/>
          </p:nvPr>
        </p:nvSpPr>
        <p:spPr>
          <a:xfrm>
            <a:off x="9088316" y="4041159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90120511-8013-46A5-AB48-656C9A08E55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77124" y="2057401"/>
            <a:ext cx="2547076" cy="1213927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6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71251F44-1315-46BA-9066-D7F0D073AB3E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29001" y="2057401"/>
            <a:ext cx="2510730" cy="1213927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600" b="0" i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26372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Insert imag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37309B44-96DF-4CDE-81BC-2258C6E7109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244532" y="2057401"/>
            <a:ext cx="2518468" cy="1213927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600" b="0" i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26372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Insert image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CA8EE430-AAFC-4CF4-9EBD-B16B5C6C000B}"/>
              </a:ext>
            </a:extLst>
          </p:cNvPr>
          <p:cNvSpPr>
            <a:spLocks noGrp="1"/>
          </p:cNvSpPr>
          <p:nvPr>
            <p:ph type="pic" sz="quarter" idx="75" hasCustomPrompt="1"/>
          </p:nvPr>
        </p:nvSpPr>
        <p:spPr>
          <a:xfrm>
            <a:off x="9088316" y="2057401"/>
            <a:ext cx="2518468" cy="1213927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600" b="0" i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26372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Insert image</a:t>
            </a:r>
          </a:p>
        </p:txBody>
      </p:sp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DE89FC1D-F731-45CA-BEB3-FD1846289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A1E122E-2E70-433E-8A0D-D79D6755D6F0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6044D87E-1A6E-438B-A219-E849016AFA03}"/>
              </a:ext>
            </a:extLst>
          </p:cNvPr>
          <p:cNvSpPr>
            <a:spLocks noGrp="1"/>
          </p:cNvSpPr>
          <p:nvPr>
            <p:ph type="body" sz="half" idx="77" hasCustomPrompt="1"/>
          </p:nvPr>
        </p:nvSpPr>
        <p:spPr>
          <a:xfrm>
            <a:off x="577124" y="3429000"/>
            <a:ext cx="2547076" cy="45975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5C35AB2A-5190-4140-8D92-14E2DC0A11C9}"/>
              </a:ext>
            </a:extLst>
          </p:cNvPr>
          <p:cNvSpPr>
            <a:spLocks noGrp="1"/>
          </p:cNvSpPr>
          <p:nvPr>
            <p:ph type="body" sz="half" idx="78" hasCustomPrompt="1"/>
          </p:nvPr>
        </p:nvSpPr>
        <p:spPr>
          <a:xfrm>
            <a:off x="3429001" y="3429000"/>
            <a:ext cx="2514599" cy="45975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7D729C91-FFDB-4B44-A432-A2793BE02037}"/>
              </a:ext>
            </a:extLst>
          </p:cNvPr>
          <p:cNvSpPr>
            <a:spLocks noGrp="1"/>
          </p:cNvSpPr>
          <p:nvPr>
            <p:ph type="body" sz="half" idx="79" hasCustomPrompt="1"/>
          </p:nvPr>
        </p:nvSpPr>
        <p:spPr>
          <a:xfrm>
            <a:off x="6244532" y="3426441"/>
            <a:ext cx="2511833" cy="45975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55DD7DF3-8C0F-44F5-A5D7-2DC782CCABE1}"/>
              </a:ext>
            </a:extLst>
          </p:cNvPr>
          <p:cNvSpPr>
            <a:spLocks noGrp="1"/>
          </p:cNvSpPr>
          <p:nvPr>
            <p:ph type="body" sz="half" idx="80" hasCustomPrompt="1"/>
          </p:nvPr>
        </p:nvSpPr>
        <p:spPr>
          <a:xfrm>
            <a:off x="9088316" y="3426441"/>
            <a:ext cx="2511833" cy="45975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A29D5734-D2A2-4C47-AC07-0EF26356A0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18320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6" y="3057549"/>
            <a:ext cx="2552092" cy="51906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35F796C-3FA3-4D4C-9E57-306772BBFEB7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9" y="3057549"/>
            <a:ext cx="2552092" cy="51906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3094BC0-195B-294A-B09B-12005D172A0C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057549"/>
            <a:ext cx="2552092" cy="51906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A941269-22F0-1B4D-A516-00DAC2E11BF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057549"/>
            <a:ext cx="2552092" cy="51906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37A293-3428-4F1D-AFE7-A91A006BF4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599"/>
            <a:ext cx="5390428" cy="15732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</a:t>
            </a:r>
          </a:p>
        </p:txBody>
      </p:sp>
      <p:sp>
        <p:nvSpPr>
          <p:cNvPr id="31" name="Slide Number Placeholder 4">
            <a:extLst>
              <a:ext uri="{FF2B5EF4-FFF2-40B4-BE49-F238E27FC236}">
                <a16:creationId xmlns:a16="http://schemas.microsoft.com/office/drawing/2014/main" id="{1F64BCE5-C4DF-42FB-9C93-FE7C16DD9E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A1B0035-5E54-40B0-935E-AFA22AAC3DE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3" y="3755137"/>
            <a:ext cx="2552095" cy="242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180B363-3DB0-4182-92AF-F3299D006F1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13563" y="3755137"/>
            <a:ext cx="2552095" cy="242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3B10F2FC-21B2-4819-A881-BDACEDED633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47252" y="3755137"/>
            <a:ext cx="2552095" cy="242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E502F68-635D-4926-A522-08E45319622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096913" y="3755137"/>
            <a:ext cx="2552095" cy="242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673C67A-6C31-484A-AD1D-2437BA26271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40BD81C6-9DFB-4402-A90A-584421618C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9117661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D5B2182-F588-4B95-8640-6EB546BB27F7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571500" y="2966516"/>
            <a:ext cx="3465576" cy="91409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600" b="0" i="0" kern="0" spc="0" baseline="0" dirty="0" smtClean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371C4569-885C-41EB-9D4E-D3CFBAFF095E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75876" y="2966516"/>
            <a:ext cx="3467099" cy="91409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600" b="0" i="0" kern="0" spc="0" baseline="0" dirty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C69D9AE1-F7FA-4E72-AFD2-4F91DADD8EF3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8147776" y="2966516"/>
            <a:ext cx="3467100" cy="91409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600" b="0" i="0" kern="0" spc="0" baseline="0" dirty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CA453480-BBA8-4B9F-B586-357B4E19E563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3924303"/>
            <a:ext cx="3465576" cy="2288556"/>
          </a:xfrm>
        </p:spPr>
        <p:txBody>
          <a:bodyPr/>
          <a:lstStyle>
            <a:lvl1pPr>
              <a:lnSpc>
                <a:spcPct val="120000"/>
              </a:lnSpc>
              <a:spcAft>
                <a:spcPts val="600"/>
              </a:spcAft>
              <a:defRPr lang="en-US" sz="2400" b="0" i="0" kern="0" spc="0" baseline="0" dirty="0" smtClean="0">
                <a:solidFill>
                  <a:schemeClr val="tx1"/>
                </a:soli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1A4237F-D9F2-425B-A764-B910E08B0D44}"/>
              </a:ext>
            </a:extLst>
          </p:cNvPr>
          <p:cNvCxnSpPr>
            <a:cxnSpLocks/>
          </p:cNvCxnSpPr>
          <p:nvPr/>
        </p:nvCxnSpPr>
        <p:spPr>
          <a:xfrm>
            <a:off x="565876" y="2722939"/>
            <a:ext cx="3471200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3272D5A-7D98-45B0-A4F9-BAFB3DB5E31D}"/>
              </a:ext>
            </a:extLst>
          </p:cNvPr>
          <p:cNvCxnSpPr>
            <a:cxnSpLocks/>
          </p:cNvCxnSpPr>
          <p:nvPr/>
        </p:nvCxnSpPr>
        <p:spPr>
          <a:xfrm>
            <a:off x="4375876" y="2722939"/>
            <a:ext cx="3471200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DB506C7-C4B2-414A-A0C3-D1B8DC49A7BB}"/>
              </a:ext>
            </a:extLst>
          </p:cNvPr>
          <p:cNvCxnSpPr>
            <a:cxnSpLocks/>
          </p:cNvCxnSpPr>
          <p:nvPr/>
        </p:nvCxnSpPr>
        <p:spPr>
          <a:xfrm>
            <a:off x="8147776" y="2722939"/>
            <a:ext cx="3471200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2A567E82-12D6-4AE9-B4D9-78AB692A48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06FBD7F-084D-4108-A971-3B3F074548BB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2562205B-CCE4-464A-8729-BED00F209648}"/>
              </a:ext>
            </a:extLst>
          </p:cNvPr>
          <p:cNvSpPr>
            <a:spLocks noGrp="1"/>
          </p:cNvSpPr>
          <p:nvPr>
            <p:ph sz="quarter" idx="53"/>
          </p:nvPr>
        </p:nvSpPr>
        <p:spPr>
          <a:xfrm>
            <a:off x="4375876" y="3924303"/>
            <a:ext cx="3465576" cy="2288556"/>
          </a:xfrm>
        </p:spPr>
        <p:txBody>
          <a:bodyPr/>
          <a:lstStyle>
            <a:lvl1pPr>
              <a:lnSpc>
                <a:spcPct val="120000"/>
              </a:lnSpc>
              <a:spcAft>
                <a:spcPts val="600"/>
              </a:spcAft>
              <a:defRPr lang="en-US" sz="2400" b="0" i="0" kern="0" spc="0" baseline="0" dirty="0" smtClean="0">
                <a:solidFill>
                  <a:schemeClr val="tx1"/>
                </a:soli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4B5AAE29-FDA3-488D-9080-903E0DF59DE9}"/>
              </a:ext>
            </a:extLst>
          </p:cNvPr>
          <p:cNvSpPr>
            <a:spLocks noGrp="1"/>
          </p:cNvSpPr>
          <p:nvPr>
            <p:ph sz="quarter" idx="54"/>
          </p:nvPr>
        </p:nvSpPr>
        <p:spPr>
          <a:xfrm>
            <a:off x="8147776" y="3924303"/>
            <a:ext cx="3465576" cy="2288556"/>
          </a:xfrm>
        </p:spPr>
        <p:txBody>
          <a:bodyPr/>
          <a:lstStyle>
            <a:lvl1pPr>
              <a:lnSpc>
                <a:spcPct val="120000"/>
              </a:lnSpc>
              <a:spcAft>
                <a:spcPts val="600"/>
              </a:spcAft>
              <a:defRPr lang="en-US" sz="2400" b="0" i="0" kern="0" spc="0" baseline="0" dirty="0" smtClean="0">
                <a:solidFill>
                  <a:schemeClr val="tx1"/>
                </a:soli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501BA99F-9084-4A41-BC39-6B585B622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488119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2448">
          <p15:clr>
            <a:srgbClr val="A4A3A4"/>
          </p15:clr>
        </p15:guide>
        <p15:guide id="4" orient="horz" pos="2472">
          <p15:clr>
            <a:srgbClr val="A4A3A4"/>
          </p15:clr>
        </p15:guide>
      </p15:sldGuideLst>
    </p:ext>
  </p:extLst>
</p:sldLayout>
</file>

<file path=ppt/slideLayouts/slideLayout10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A5877EA4-4A09-46D2-82FE-1D6A2A18CE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5E95C68-EC25-4279-A219-13EAA699CFAB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544782C-C2F5-45B3-A604-80B79EBB5C23}"/>
              </a:ext>
            </a:extLst>
          </p:cNvPr>
          <p:cNvSpPr>
            <a:spLocks noGrp="1"/>
          </p:cNvSpPr>
          <p:nvPr>
            <p:ph type="body" sz="half" idx="76" hasCustomPrompt="1"/>
          </p:nvPr>
        </p:nvSpPr>
        <p:spPr>
          <a:xfrm>
            <a:off x="571500" y="2966516"/>
            <a:ext cx="3465576" cy="91409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600" b="0" i="0" kern="0" spc="0" baseline="0" dirty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CFF48D5-E389-4A6C-B64A-67912CE45A53}"/>
              </a:ext>
            </a:extLst>
          </p:cNvPr>
          <p:cNvSpPr>
            <a:spLocks noGrp="1"/>
          </p:cNvSpPr>
          <p:nvPr>
            <p:ph type="body" sz="half" idx="77" hasCustomPrompt="1"/>
          </p:nvPr>
        </p:nvSpPr>
        <p:spPr>
          <a:xfrm>
            <a:off x="4375876" y="2966516"/>
            <a:ext cx="3467099" cy="91409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600" b="0" i="0" kern="0" spc="0" baseline="0" dirty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88B652E-0041-4A7E-BB10-F4B58E1B7992}"/>
              </a:ext>
            </a:extLst>
          </p:cNvPr>
          <p:cNvSpPr>
            <a:spLocks noGrp="1"/>
          </p:cNvSpPr>
          <p:nvPr>
            <p:ph type="body" sz="half" idx="78" hasCustomPrompt="1"/>
          </p:nvPr>
        </p:nvSpPr>
        <p:spPr>
          <a:xfrm>
            <a:off x="8147776" y="2966516"/>
            <a:ext cx="3467100" cy="91409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600" b="0" i="0" kern="0" spc="0" baseline="0" dirty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97F8836-8CBD-4C32-AA06-8929682EEA32}"/>
              </a:ext>
            </a:extLst>
          </p:cNvPr>
          <p:cNvCxnSpPr>
            <a:cxnSpLocks/>
          </p:cNvCxnSpPr>
          <p:nvPr/>
        </p:nvCxnSpPr>
        <p:spPr>
          <a:xfrm>
            <a:off x="565876" y="2722939"/>
            <a:ext cx="3471200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32EB293-61A9-488D-84CB-337D153444BE}"/>
              </a:ext>
            </a:extLst>
          </p:cNvPr>
          <p:cNvCxnSpPr>
            <a:cxnSpLocks/>
          </p:cNvCxnSpPr>
          <p:nvPr/>
        </p:nvCxnSpPr>
        <p:spPr>
          <a:xfrm>
            <a:off x="4375876" y="2722939"/>
            <a:ext cx="3471200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723830B-8B67-4F32-8E4D-4E448BA42EC4}"/>
              </a:ext>
            </a:extLst>
          </p:cNvPr>
          <p:cNvCxnSpPr>
            <a:cxnSpLocks/>
          </p:cNvCxnSpPr>
          <p:nvPr/>
        </p:nvCxnSpPr>
        <p:spPr>
          <a:xfrm>
            <a:off x="8147776" y="2722939"/>
            <a:ext cx="3471200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4">
            <a:extLst>
              <a:ext uri="{FF2B5EF4-FFF2-40B4-BE49-F238E27FC236}">
                <a16:creationId xmlns:a16="http://schemas.microsoft.com/office/drawing/2014/main" id="{3D24466E-FC90-4376-8BD8-E50680EB5AE6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3924303"/>
            <a:ext cx="3465576" cy="2288556"/>
          </a:xfrm>
        </p:spPr>
        <p:txBody>
          <a:bodyPr/>
          <a:lstStyle>
            <a:lvl1pPr>
              <a:lnSpc>
                <a:spcPct val="120000"/>
              </a:lnSpc>
              <a:spcAft>
                <a:spcPts val="600"/>
              </a:spcAft>
              <a:defRPr lang="en-US" sz="2400" b="0" i="0" kern="0" spc="0" baseline="0" dirty="0" smtClean="0">
                <a:solidFill>
                  <a:schemeClr val="tx1"/>
                </a:soli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4">
            <a:extLst>
              <a:ext uri="{FF2B5EF4-FFF2-40B4-BE49-F238E27FC236}">
                <a16:creationId xmlns:a16="http://schemas.microsoft.com/office/drawing/2014/main" id="{678C22E8-F9F2-49FA-9DD8-9CC118CB5DD7}"/>
              </a:ext>
            </a:extLst>
          </p:cNvPr>
          <p:cNvSpPr>
            <a:spLocks noGrp="1"/>
          </p:cNvSpPr>
          <p:nvPr>
            <p:ph sz="quarter" idx="53"/>
          </p:nvPr>
        </p:nvSpPr>
        <p:spPr>
          <a:xfrm>
            <a:off x="4375876" y="3924303"/>
            <a:ext cx="3465576" cy="2288556"/>
          </a:xfrm>
        </p:spPr>
        <p:txBody>
          <a:bodyPr/>
          <a:lstStyle>
            <a:lvl1pPr>
              <a:lnSpc>
                <a:spcPct val="120000"/>
              </a:lnSpc>
              <a:spcAft>
                <a:spcPts val="600"/>
              </a:spcAft>
              <a:defRPr lang="en-US" sz="2400" b="0" i="0" kern="0" spc="0" baseline="0" dirty="0" smtClean="0">
                <a:solidFill>
                  <a:schemeClr val="tx1"/>
                </a:soli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4">
            <a:extLst>
              <a:ext uri="{FF2B5EF4-FFF2-40B4-BE49-F238E27FC236}">
                <a16:creationId xmlns:a16="http://schemas.microsoft.com/office/drawing/2014/main" id="{B4E730FA-1E59-4166-9057-E8D66C30AAE1}"/>
              </a:ext>
            </a:extLst>
          </p:cNvPr>
          <p:cNvSpPr>
            <a:spLocks noGrp="1"/>
          </p:cNvSpPr>
          <p:nvPr>
            <p:ph sz="quarter" idx="54"/>
          </p:nvPr>
        </p:nvSpPr>
        <p:spPr>
          <a:xfrm>
            <a:off x="8147776" y="3924303"/>
            <a:ext cx="3465576" cy="2288556"/>
          </a:xfrm>
        </p:spPr>
        <p:txBody>
          <a:bodyPr/>
          <a:lstStyle>
            <a:lvl1pPr>
              <a:lnSpc>
                <a:spcPct val="120000"/>
              </a:lnSpc>
              <a:spcAft>
                <a:spcPts val="600"/>
              </a:spcAft>
              <a:defRPr lang="en-US" sz="2400" b="0" i="0" kern="0" spc="0" baseline="0" dirty="0" smtClean="0">
                <a:solidFill>
                  <a:schemeClr val="tx1"/>
                </a:soli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09174A1F-AB8A-8146-9C35-B74BD4A357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54273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A6B7296C-F598-427B-A437-D8C765B431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AD7C8C7-9AFC-476C-A544-C0F944CC1FDB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6279623-6A91-4928-8563-9B47EE7B68EE}"/>
              </a:ext>
            </a:extLst>
          </p:cNvPr>
          <p:cNvSpPr>
            <a:spLocks noGrp="1"/>
          </p:cNvSpPr>
          <p:nvPr>
            <p:ph type="body" sz="half" idx="76" hasCustomPrompt="1"/>
          </p:nvPr>
        </p:nvSpPr>
        <p:spPr>
          <a:xfrm>
            <a:off x="571500" y="2966516"/>
            <a:ext cx="3465576" cy="91409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600" b="0" i="0" kern="0" spc="0" baseline="0" dirty="0">
                <a:gradFill>
                  <a:gsLst>
                    <a:gs pos="0">
                      <a:schemeClr val="accent3"/>
                    </a:gs>
                    <a:gs pos="97000">
                      <a:schemeClr val="accent4"/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2C896221-6AD6-49A1-8E05-717A0BF036AB}"/>
              </a:ext>
            </a:extLst>
          </p:cNvPr>
          <p:cNvSpPr>
            <a:spLocks noGrp="1"/>
          </p:cNvSpPr>
          <p:nvPr>
            <p:ph type="body" sz="half" idx="77" hasCustomPrompt="1"/>
          </p:nvPr>
        </p:nvSpPr>
        <p:spPr>
          <a:xfrm>
            <a:off x="4375876" y="2966516"/>
            <a:ext cx="3467099" cy="91409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600" b="0" i="0" kern="0" spc="0" baseline="0" dirty="0">
                <a:gradFill>
                  <a:gsLst>
                    <a:gs pos="0">
                      <a:schemeClr val="accent3"/>
                    </a:gs>
                    <a:gs pos="97000">
                      <a:schemeClr val="accent4"/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7128799-D0C6-4DAC-85AF-83E97C868B0F}"/>
              </a:ext>
            </a:extLst>
          </p:cNvPr>
          <p:cNvSpPr>
            <a:spLocks noGrp="1"/>
          </p:cNvSpPr>
          <p:nvPr>
            <p:ph type="body" sz="half" idx="78" hasCustomPrompt="1"/>
          </p:nvPr>
        </p:nvSpPr>
        <p:spPr>
          <a:xfrm>
            <a:off x="8147776" y="2966516"/>
            <a:ext cx="3467100" cy="91409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600" b="0" i="0" kern="0" spc="0" baseline="0" dirty="0">
                <a:gradFill>
                  <a:gsLst>
                    <a:gs pos="0">
                      <a:schemeClr val="accent3"/>
                    </a:gs>
                    <a:gs pos="97000">
                      <a:schemeClr val="accent4"/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5B6F9E6-68BA-4C12-B8D3-A5BCACEDF520}"/>
              </a:ext>
            </a:extLst>
          </p:cNvPr>
          <p:cNvCxnSpPr>
            <a:cxnSpLocks/>
          </p:cNvCxnSpPr>
          <p:nvPr/>
        </p:nvCxnSpPr>
        <p:spPr>
          <a:xfrm>
            <a:off x="565876" y="2722939"/>
            <a:ext cx="3471200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3CD8152-D577-4D1C-9C0E-9299D9CEF857}"/>
              </a:ext>
            </a:extLst>
          </p:cNvPr>
          <p:cNvCxnSpPr>
            <a:cxnSpLocks/>
          </p:cNvCxnSpPr>
          <p:nvPr/>
        </p:nvCxnSpPr>
        <p:spPr>
          <a:xfrm>
            <a:off x="4375876" y="2722939"/>
            <a:ext cx="3471200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7A5B70D-42C1-4D84-BB5D-B65829ABC4AC}"/>
              </a:ext>
            </a:extLst>
          </p:cNvPr>
          <p:cNvCxnSpPr>
            <a:cxnSpLocks/>
          </p:cNvCxnSpPr>
          <p:nvPr/>
        </p:nvCxnSpPr>
        <p:spPr>
          <a:xfrm>
            <a:off x="8147776" y="2722939"/>
            <a:ext cx="3471200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4">
            <a:extLst>
              <a:ext uri="{FF2B5EF4-FFF2-40B4-BE49-F238E27FC236}">
                <a16:creationId xmlns:a16="http://schemas.microsoft.com/office/drawing/2014/main" id="{9FEC68B2-8758-465E-BB66-6EC33A0D1E67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3924303"/>
            <a:ext cx="3465576" cy="2288556"/>
          </a:xfrm>
        </p:spPr>
        <p:txBody>
          <a:bodyPr/>
          <a:lstStyle>
            <a:lvl1pPr>
              <a:lnSpc>
                <a:spcPct val="120000"/>
              </a:lnSpc>
              <a:spcAft>
                <a:spcPts val="600"/>
              </a:spcAft>
              <a:defRPr lang="en-US" sz="2400" b="0" i="0" kern="0" spc="0" baseline="0" dirty="0" smtClean="0">
                <a:solidFill>
                  <a:schemeClr val="tx1"/>
                </a:soli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4">
            <a:extLst>
              <a:ext uri="{FF2B5EF4-FFF2-40B4-BE49-F238E27FC236}">
                <a16:creationId xmlns:a16="http://schemas.microsoft.com/office/drawing/2014/main" id="{424436AA-2AAB-4827-8EEF-FC50A3498F68}"/>
              </a:ext>
            </a:extLst>
          </p:cNvPr>
          <p:cNvSpPr>
            <a:spLocks noGrp="1"/>
          </p:cNvSpPr>
          <p:nvPr>
            <p:ph sz="quarter" idx="53"/>
          </p:nvPr>
        </p:nvSpPr>
        <p:spPr>
          <a:xfrm>
            <a:off x="4375876" y="3924303"/>
            <a:ext cx="3465576" cy="2288556"/>
          </a:xfrm>
        </p:spPr>
        <p:txBody>
          <a:bodyPr/>
          <a:lstStyle>
            <a:lvl1pPr>
              <a:lnSpc>
                <a:spcPct val="120000"/>
              </a:lnSpc>
              <a:spcAft>
                <a:spcPts val="600"/>
              </a:spcAft>
              <a:defRPr lang="en-US" sz="2400" b="0" i="0" kern="0" spc="0" baseline="0" dirty="0" smtClean="0">
                <a:solidFill>
                  <a:schemeClr val="tx1"/>
                </a:soli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4">
            <a:extLst>
              <a:ext uri="{FF2B5EF4-FFF2-40B4-BE49-F238E27FC236}">
                <a16:creationId xmlns:a16="http://schemas.microsoft.com/office/drawing/2014/main" id="{C3059A0E-2E05-4C73-9413-A86BB0DCC82D}"/>
              </a:ext>
            </a:extLst>
          </p:cNvPr>
          <p:cNvSpPr>
            <a:spLocks noGrp="1"/>
          </p:cNvSpPr>
          <p:nvPr>
            <p:ph sz="quarter" idx="54"/>
          </p:nvPr>
        </p:nvSpPr>
        <p:spPr>
          <a:xfrm>
            <a:off x="8147776" y="3924303"/>
            <a:ext cx="3465576" cy="2288556"/>
          </a:xfrm>
        </p:spPr>
        <p:txBody>
          <a:bodyPr/>
          <a:lstStyle>
            <a:lvl1pPr>
              <a:lnSpc>
                <a:spcPct val="120000"/>
              </a:lnSpc>
              <a:spcAft>
                <a:spcPts val="600"/>
              </a:spcAft>
              <a:defRPr lang="en-US" sz="2400" b="0" i="0" kern="0" spc="0" baseline="0" dirty="0" smtClean="0">
                <a:solidFill>
                  <a:schemeClr val="tx1"/>
                </a:soli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89FBB4EE-A0F7-D841-A1EF-54832B37E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249138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162CE302-798D-4C3C-B604-24580119C934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4177813"/>
            <a:ext cx="2547076" cy="2032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2F82E59B-78F5-4271-9409-6D4F8A622EB0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3429001" y="4177813"/>
            <a:ext cx="2510730" cy="2032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3530FA65-7386-4E1A-8266-06A3C45F9855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6244532" y="4175254"/>
            <a:ext cx="2518468" cy="2032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24F94952-8491-4257-AA6F-19C4844A06E9}"/>
              </a:ext>
            </a:extLst>
          </p:cNvPr>
          <p:cNvSpPr>
            <a:spLocks noGrp="1"/>
          </p:cNvSpPr>
          <p:nvPr>
            <p:ph sz="quarter" idx="74"/>
          </p:nvPr>
        </p:nvSpPr>
        <p:spPr>
          <a:xfrm>
            <a:off x="9088316" y="4175254"/>
            <a:ext cx="2518468" cy="2032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7ABEABA8-0A43-4B21-A605-FA08CE37E6CB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577124" y="3276601"/>
            <a:ext cx="2547076" cy="75516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50039D44-5BB5-4C25-98F6-3E0F66A63D44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3429001" y="3276601"/>
            <a:ext cx="2511833" cy="75516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A19B9925-0BD7-466F-A186-7A549FD6BE3C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6244532" y="3274042"/>
            <a:ext cx="2519576" cy="75516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20EEC14-E3FE-41CD-9F67-FE2892C20ACE}"/>
              </a:ext>
            </a:extLst>
          </p:cNvPr>
          <p:cNvSpPr>
            <a:spLocks noGrp="1"/>
          </p:cNvSpPr>
          <p:nvPr>
            <p:ph type="body" sz="half" idx="76" hasCustomPrompt="1"/>
          </p:nvPr>
        </p:nvSpPr>
        <p:spPr>
          <a:xfrm>
            <a:off x="9088316" y="3274042"/>
            <a:ext cx="2519576" cy="75516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1C7468CB-A68B-434E-9590-D44284A0DC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D3B3576-E092-44AC-9525-9DA3161E6EE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48B751F9-09AE-2549-8128-BEAB4951A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700822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162CE302-798D-4C3C-B604-24580119C934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4177813"/>
            <a:ext cx="2547076" cy="2032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2F82E59B-78F5-4271-9409-6D4F8A622EB0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3429001" y="4177813"/>
            <a:ext cx="2510730" cy="2032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3530FA65-7386-4E1A-8266-06A3C45F9855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6244532" y="4175254"/>
            <a:ext cx="2518468" cy="2032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24F94952-8491-4257-AA6F-19C4844A06E9}"/>
              </a:ext>
            </a:extLst>
          </p:cNvPr>
          <p:cNvSpPr>
            <a:spLocks noGrp="1"/>
          </p:cNvSpPr>
          <p:nvPr>
            <p:ph sz="quarter" idx="74"/>
          </p:nvPr>
        </p:nvSpPr>
        <p:spPr>
          <a:xfrm>
            <a:off x="9088316" y="4175254"/>
            <a:ext cx="2518468" cy="2032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7ABEABA8-0A43-4B21-A605-FA08CE37E6CB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577124" y="3276601"/>
            <a:ext cx="2547076" cy="75516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50039D44-5BB5-4C25-98F6-3E0F66A63D44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3429001" y="3276601"/>
            <a:ext cx="2511833" cy="75516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A19B9925-0BD7-466F-A186-7A549FD6BE3C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6244532" y="3274042"/>
            <a:ext cx="2519576" cy="75516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20EEC14-E3FE-41CD-9F67-FE2892C20ACE}"/>
              </a:ext>
            </a:extLst>
          </p:cNvPr>
          <p:cNvSpPr>
            <a:spLocks noGrp="1"/>
          </p:cNvSpPr>
          <p:nvPr>
            <p:ph type="body" sz="half" idx="76" hasCustomPrompt="1"/>
          </p:nvPr>
        </p:nvSpPr>
        <p:spPr>
          <a:xfrm>
            <a:off x="9088316" y="3274042"/>
            <a:ext cx="2519576" cy="75516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A96D39E-5D8D-42D5-A9CB-48811BA791BC}"/>
              </a:ext>
            </a:extLst>
          </p:cNvPr>
          <p:cNvSpPr>
            <a:spLocks noGrp="1"/>
          </p:cNvSpPr>
          <p:nvPr>
            <p:ph type="body" sz="half" idx="59" hasCustomPrompt="1"/>
          </p:nvPr>
        </p:nvSpPr>
        <p:spPr>
          <a:xfrm>
            <a:off x="577124" y="2389630"/>
            <a:ext cx="2547076" cy="72205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b="0" i="0" kern="0" spc="-241" baseline="0" dirty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Q1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0FEFC4D-2F16-462D-A52D-958E0CB97769}"/>
              </a:ext>
            </a:extLst>
          </p:cNvPr>
          <p:cNvSpPr>
            <a:spLocks noGrp="1"/>
          </p:cNvSpPr>
          <p:nvPr>
            <p:ph type="body" sz="half" idx="60" hasCustomPrompt="1"/>
          </p:nvPr>
        </p:nvSpPr>
        <p:spPr>
          <a:xfrm>
            <a:off x="3429001" y="2389630"/>
            <a:ext cx="2514600" cy="72205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b="0" i="0" kern="0" spc="-241" baseline="0" dirty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Q2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E20DB42-C25C-467E-8736-EB2196F17DD1}"/>
              </a:ext>
            </a:extLst>
          </p:cNvPr>
          <p:cNvSpPr>
            <a:spLocks noGrp="1"/>
          </p:cNvSpPr>
          <p:nvPr>
            <p:ph type="body" sz="half" idx="61" hasCustomPrompt="1"/>
          </p:nvPr>
        </p:nvSpPr>
        <p:spPr>
          <a:xfrm>
            <a:off x="6244532" y="2389630"/>
            <a:ext cx="2510730" cy="72205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b="0" i="0" kern="0" spc="-241" baseline="0" dirty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Q3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550F2E3-FD0F-4C51-97C5-36FE28456D38}"/>
              </a:ext>
            </a:extLst>
          </p:cNvPr>
          <p:cNvSpPr>
            <a:spLocks noGrp="1"/>
          </p:cNvSpPr>
          <p:nvPr>
            <p:ph type="body" sz="half" idx="62" hasCustomPrompt="1"/>
          </p:nvPr>
        </p:nvSpPr>
        <p:spPr>
          <a:xfrm>
            <a:off x="9088316" y="2389630"/>
            <a:ext cx="2547076" cy="722057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b="0" i="0" kern="0" spc="-241" baseline="0" dirty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Q4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BACEFDD6-FE69-4740-A6E7-35DA134007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2665831-746E-42DD-BA41-26E84A8C2973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E70FC654-A94F-3449-A580-AC30323C29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49173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29000" y="0"/>
            <a:ext cx="8762999" cy="6858000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5309CA-3E25-47B8-99B6-670FE796BB9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971800"/>
            <a:ext cx="2552700" cy="3238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8B3BBBD-95D5-473C-B5AA-4C86DA04A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2552700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028586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872">
          <p15:clr>
            <a:srgbClr val="A4A3A4"/>
          </p15:clr>
        </p15:guide>
        <p15:guide id="3" orient="horz" pos="1680">
          <p15:clr>
            <a:srgbClr val="A4A3A4"/>
          </p15:clr>
        </p15:guide>
      </p15:sldGuideLst>
    </p:ext>
  </p:extLst>
</p:sldLayout>
</file>

<file path=ppt/slideLayouts/slideLayout10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76700" y="1083565"/>
            <a:ext cx="7543800" cy="5126736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D9E6ED89-1E04-4F6D-B1F3-42C73A6902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336A642-95C4-40BE-AE95-D81502EF3AE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E0708104-F9EC-4157-95F0-FA326192EA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609600"/>
            <a:ext cx="2857500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</a:t>
            </a:r>
            <a:br>
              <a:rPr lang="en-US"/>
            </a:br>
            <a:r>
              <a:rPr lang="en-US"/>
              <a:t>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B1B1C66-A921-41B1-B007-79881FEFA60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971800"/>
            <a:ext cx="2857500" cy="3238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6130923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29000" y="0"/>
            <a:ext cx="8762999" cy="6858000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4891977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71499" y="5486401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000"/>
            </a:lvl1pPr>
            <a:lvl2pPr marL="173038" indent="-173038">
              <a:spcAft>
                <a:spcPts val="300"/>
              </a:spcAft>
              <a:defRPr sz="9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8" y="3631820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000"/>
            </a:lvl1pPr>
            <a:lvl2pPr marL="173038" indent="-173038">
              <a:spcAft>
                <a:spcPts val="300"/>
              </a:spcAft>
              <a:defRPr sz="9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8" y="3037396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F1A913C-478C-4159-AD61-19314F8B1D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2552699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127380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0"/>
            <a:ext cx="6095999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94026FE-B789-4F5D-805E-02B0631E7EC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8" y="4891977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0788797-0721-4FDF-B9A8-D8FD6A85E245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71498" y="5486401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000"/>
            </a:lvl1pPr>
            <a:lvl2pPr marL="173038" indent="-173038">
              <a:spcAft>
                <a:spcPts val="300"/>
              </a:spcAft>
              <a:defRPr sz="9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0231F72B-DB93-439F-8D5C-3A98DBB9C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609600"/>
            <a:ext cx="5372099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042C4D8C-C05E-40DC-A5F1-D8E216530543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8" y="3631820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000"/>
            </a:lvl1pPr>
            <a:lvl2pPr marL="173038" indent="-173038">
              <a:spcAft>
                <a:spcPts val="300"/>
              </a:spcAft>
              <a:defRPr sz="9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79DD178-20FD-4061-A4CF-ADAD80B00223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8" y="3037396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55C8534-6B0E-41CD-9706-61F591BFF126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390900" y="4891977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0DECDBD2-EF07-4EFE-81B0-67DD271A8E4A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390900" y="5486401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000"/>
            </a:lvl1pPr>
            <a:lvl2pPr marL="173038" indent="-173038">
              <a:spcAft>
                <a:spcPts val="300"/>
              </a:spcAft>
              <a:defRPr sz="9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A005CF03-ABB1-4046-89FC-A41C9CAD1DE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3390899" y="3631820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000"/>
            </a:lvl1pPr>
            <a:lvl2pPr marL="173038" indent="-173038">
              <a:spcAft>
                <a:spcPts val="300"/>
              </a:spcAft>
              <a:defRPr sz="9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49AEAAD6-2FA1-420B-BCE8-48233BD945BF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3390899" y="3037396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350423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10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81500" y="609600"/>
            <a:ext cx="3467100" cy="560070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80B26961-BE72-42FE-83E3-E9413C61E43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153400" y="609600"/>
            <a:ext cx="3467100" cy="560070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7117EB1-347D-42E5-8273-C02EF79929C2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8" y="3276600"/>
            <a:ext cx="3505201" cy="29337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E1DC698-4F08-40A9-8E7D-20E5FF561A26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8" y="2057400"/>
            <a:ext cx="3505201" cy="1066800"/>
          </a:xfrm>
        </p:spPr>
        <p:txBody>
          <a:bodyPr wrap="square" anchor="b" anchorCtr="0">
            <a:noAutofit/>
          </a:bodyPr>
          <a:lstStyle>
            <a:lvl1pPr>
              <a:defRPr lang="en-US" sz="2000" dirty="0" smtClean="0"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8B30B7B9-9490-49E3-8E9F-B76BDC2773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E0567A-A5F3-4C61-8B3C-08121E05DDC7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D3E41E21-7547-4B83-8F53-91A26F07F5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3505201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37787345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6" y="3316225"/>
            <a:ext cx="2552092" cy="58433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35F796C-3FA3-4D4C-9E57-306772BBFEB7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9" y="3316225"/>
            <a:ext cx="2552092" cy="58433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3094BC0-195B-294A-B09B-12005D172A0C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316225"/>
            <a:ext cx="2552092" cy="58433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A941269-22F0-1B4D-A516-00DAC2E11BF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316225"/>
            <a:ext cx="2552092" cy="58433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BA943510-C75F-4986-83E1-EC263D204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5390428" cy="14965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cons</a:t>
            </a:r>
          </a:p>
        </p:txBody>
      </p:sp>
      <p:sp>
        <p:nvSpPr>
          <p:cNvPr id="38" name="Slide Number Placeholder 4">
            <a:extLst>
              <a:ext uri="{FF2B5EF4-FFF2-40B4-BE49-F238E27FC236}">
                <a16:creationId xmlns:a16="http://schemas.microsoft.com/office/drawing/2014/main" id="{73F974E0-E6C8-49D5-B2CA-B9DD7D4D65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A680BB83-959F-4FDD-88B5-B99A3D5A146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3" y="4160176"/>
            <a:ext cx="2552095" cy="208212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4B47409-39CC-4AB0-89D1-284C38860D9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13561" y="4160176"/>
            <a:ext cx="2626704" cy="208212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F9B79A2-65D9-4B8F-8DB9-71B2D0007C2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47252" y="4160176"/>
            <a:ext cx="2552095" cy="208212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AB7D9D7-F3C2-4406-B72E-37E861D8E5AE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96913" y="4160176"/>
            <a:ext cx="2552095" cy="208212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325DA913-D561-481D-AC9D-C096DA657E3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3904" y="302763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C337FCA0-79CE-4E7B-B272-E4EFB372C12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403233" y="302763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C2E0F4FC-9970-45E4-9784-BCA838895F5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42564" y="302763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014E5A9-0003-43F7-A198-C160ED979BD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081892" y="302763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F166E02-7641-4BBC-8370-DFA541EB63A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F37FEAB2-9122-4DDC-B50E-7C2AADAF96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1810334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Dessk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6EE0FED-0F8F-1D4B-BDC6-134B0FE8D3AF}"/>
              </a:ext>
            </a:extLst>
          </p:cNvPr>
          <p:cNvSpPr/>
          <p:nvPr/>
        </p:nvSpPr>
        <p:spPr>
          <a:xfrm>
            <a:off x="3428999" y="0"/>
            <a:ext cx="8763001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FAE93A97-9654-7E4F-9CF0-9F35B5FD6339}"/>
              </a:ext>
            </a:extLst>
          </p:cNvPr>
          <p:cNvSpPr/>
          <p:nvPr/>
        </p:nvSpPr>
        <p:spPr>
          <a:xfrm>
            <a:off x="4175644" y="1200178"/>
            <a:ext cx="7217262" cy="4457644"/>
          </a:xfrm>
          <a:prstGeom prst="roundRect">
            <a:avLst>
              <a:gd name="adj" fmla="val 5660"/>
            </a:avLst>
          </a:prstGeom>
          <a:solidFill>
            <a:srgbClr val="262626"/>
          </a:solidFill>
          <a:ln>
            <a:noFill/>
          </a:ln>
          <a:effectLst>
            <a:outerShdw blurRad="218804" dist="106605" dir="2220000" sx="99000" sy="99000" algn="ctr" rotWithShape="0">
              <a:schemeClr val="bg1">
                <a:alpha val="3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00FA166-5D3F-4D89-9646-F16A985660E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25527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D5EF8DF4-D66B-4316-8BD1-64264C11AF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E9CD8F1-BCCB-4886-9A5C-6DBC2AED36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25527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title style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8D0EC113-20C8-0445-B4D9-812CEA97220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33238" y="1367246"/>
            <a:ext cx="6902134" cy="4123508"/>
          </a:xfrm>
          <a:prstGeom prst="roundRect">
            <a:avLst>
              <a:gd name="adj" fmla="val 1813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buNone/>
            </a:pPr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6187485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488">
          <p15:clr>
            <a:srgbClr val="A4A3A4"/>
          </p15:clr>
        </p15:guide>
        <p15:guide id="3" orient="horz" pos="1584">
          <p15:clr>
            <a:srgbClr val="A4A3A4"/>
          </p15:clr>
        </p15:guide>
      </p15:sldGuideLst>
    </p:ext>
  </p:extLst>
</p:sldLayout>
</file>

<file path=ppt/slideLayouts/slideLayout10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Tablet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6EE0FED-0F8F-1D4B-BDC6-134B0FE8D3AF}"/>
              </a:ext>
            </a:extLst>
          </p:cNvPr>
          <p:cNvSpPr/>
          <p:nvPr/>
        </p:nvSpPr>
        <p:spPr>
          <a:xfrm>
            <a:off x="3428999" y="0"/>
            <a:ext cx="8763001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00FA166-5D3F-4D89-9646-F16A985660E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25527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D5EF8DF4-D66B-4316-8BD1-64264C11AF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E9CD8F1-BCCB-4886-9A5C-6DBC2AED36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25527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title style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8F62C22D-7C45-2943-966E-FBA4298047A1}"/>
              </a:ext>
            </a:extLst>
          </p:cNvPr>
          <p:cNvSpPr/>
          <p:nvPr/>
        </p:nvSpPr>
        <p:spPr>
          <a:xfrm>
            <a:off x="4727643" y="1015568"/>
            <a:ext cx="6113264" cy="4699192"/>
          </a:xfrm>
          <a:prstGeom prst="roundRect">
            <a:avLst>
              <a:gd name="adj" fmla="val 5660"/>
            </a:avLst>
          </a:prstGeom>
          <a:solidFill>
            <a:srgbClr val="262626"/>
          </a:solidFill>
          <a:ln>
            <a:noFill/>
          </a:ln>
          <a:effectLst>
            <a:outerShdw blurRad="218804" dist="106605" dir="2220000" sx="99000" sy="99000" algn="ctr" rotWithShape="0">
              <a:schemeClr val="bg1">
                <a:alpha val="3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4D30945C-DF7E-8D49-8751-AB00D76B870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876800" y="1170241"/>
            <a:ext cx="5815010" cy="4386184"/>
          </a:xfrm>
          <a:prstGeom prst="roundRect">
            <a:avLst>
              <a:gd name="adj" fmla="val 2700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buNone/>
            </a:pPr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21685920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488">
          <p15:clr>
            <a:srgbClr val="A4A3A4"/>
          </p15:clr>
        </p15:guide>
        <p15:guide id="3" orient="horz" pos="1584">
          <p15:clr>
            <a:srgbClr val="A4A3A4"/>
          </p15:clr>
        </p15:guide>
      </p15:sldGuideLst>
    </p:ext>
  </p:extLst>
</p:sldLayout>
</file>

<file path=ppt/slideLayouts/slideLayout10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Tablet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97389CA-AA00-4146-B54D-B32C999B76FE}"/>
              </a:ext>
            </a:extLst>
          </p:cNvPr>
          <p:cNvSpPr/>
          <p:nvPr/>
        </p:nvSpPr>
        <p:spPr>
          <a:xfrm>
            <a:off x="4991100" y="0"/>
            <a:ext cx="72009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E8B3C47-863B-4574-B144-B549D7CCFA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3852A25-25D6-4B6B-902F-93AEC433B73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38100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CC6C67FE-13C1-4F4C-8B7C-A596738753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38100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title style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8039185F-7095-D049-97FC-BFF7D62AF8EE}"/>
              </a:ext>
            </a:extLst>
          </p:cNvPr>
          <p:cNvSpPr/>
          <p:nvPr/>
        </p:nvSpPr>
        <p:spPr>
          <a:xfrm>
            <a:off x="6575061" y="681135"/>
            <a:ext cx="4052426" cy="5314980"/>
          </a:xfrm>
          <a:prstGeom prst="roundRect">
            <a:avLst>
              <a:gd name="adj" fmla="val 5940"/>
            </a:avLst>
          </a:prstGeom>
          <a:solidFill>
            <a:srgbClr val="262626"/>
          </a:solidFill>
          <a:ln>
            <a:noFill/>
          </a:ln>
          <a:effectLst>
            <a:outerShdw blurRad="218804" dist="106605" dir="2220000" sx="99000" sy="99000" algn="ctr" rotWithShape="0">
              <a:schemeClr val="bg1">
                <a:alpha val="3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E032F884-63EC-C749-AC32-E47F61798E5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723212" y="831275"/>
            <a:ext cx="3756126" cy="5014700"/>
          </a:xfrm>
          <a:prstGeom prst="roundRect">
            <a:avLst>
              <a:gd name="adj" fmla="val 2134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buNone/>
            </a:pPr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27590656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5F55B17-88C3-D348-889E-49139B7173C6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4AE6AC6C-422E-43F2-83DB-CC011DBDD8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C55F65A-E884-4545-813B-8B12A150F0E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47244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C7E4F0C-628A-4B9F-8B0B-ACF8C8FB35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47244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title style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6FF90C28-67B9-1E49-AC7E-EF109D7D3A43}"/>
              </a:ext>
            </a:extLst>
          </p:cNvPr>
          <p:cNvSpPr/>
          <p:nvPr/>
        </p:nvSpPr>
        <p:spPr>
          <a:xfrm>
            <a:off x="7699813" y="478003"/>
            <a:ext cx="2895300" cy="5901994"/>
          </a:xfrm>
          <a:prstGeom prst="roundRect">
            <a:avLst>
              <a:gd name="adj" fmla="val 11930"/>
            </a:avLst>
          </a:prstGeom>
          <a:solidFill>
            <a:srgbClr val="262626"/>
          </a:solidFill>
          <a:ln>
            <a:noFill/>
          </a:ln>
          <a:effectLst>
            <a:outerShdw blurRad="218804" dist="106605" dir="2220000" sx="99000" sy="99000" algn="ctr" rotWithShape="0">
              <a:schemeClr val="bg1">
                <a:alpha val="3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C15CA0BD-F8C5-A84E-939A-8F74A46BD59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854198" y="621957"/>
            <a:ext cx="2586530" cy="5614086"/>
          </a:xfrm>
          <a:prstGeom prst="roundRect">
            <a:avLst>
              <a:gd name="adj" fmla="val 9942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buNone/>
            </a:pPr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3273277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wo Data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848778" y="3539749"/>
            <a:ext cx="3769708" cy="656398"/>
          </a:xfrm>
        </p:spPr>
        <p:txBody>
          <a:bodyPr wrap="square" anchor="b" anchorCtr="0">
            <a:spAutoFit/>
          </a:bodyPr>
          <a:lstStyle>
            <a:lvl1pPr>
              <a:defRPr lang="en-US" sz="4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847689" y="4298127"/>
            <a:ext cx="3772811" cy="1242697"/>
          </a:xfrm>
        </p:spPr>
        <p:txBody>
          <a:bodyPr/>
          <a:lstStyle>
            <a:lvl1pPr>
              <a:spcAft>
                <a:spcPts val="300"/>
              </a:spcAft>
              <a:defRPr lang="en-US" sz="24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7848600" y="1930780"/>
            <a:ext cx="3771900" cy="1242697"/>
          </a:xfrm>
        </p:spPr>
        <p:txBody>
          <a:bodyPr/>
          <a:lstStyle>
            <a:lvl1pPr>
              <a:spcAft>
                <a:spcPts val="300"/>
              </a:spcAft>
              <a:defRPr sz="2400">
                <a:latin typeface="+mj-lt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7848600" y="1172402"/>
            <a:ext cx="3771900" cy="656398"/>
          </a:xfrm>
        </p:spPr>
        <p:txBody>
          <a:bodyPr wrap="square" anchor="b" anchorCtr="0">
            <a:spAutoFit/>
          </a:bodyPr>
          <a:lstStyle>
            <a:lvl1pPr>
              <a:defRPr sz="40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XX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E4E13D-43FB-4287-8055-FE35994AA77F}"/>
              </a:ext>
            </a:extLst>
          </p:cNvPr>
          <p:cNvCxnSpPr>
            <a:cxnSpLocks/>
          </p:cNvCxnSpPr>
          <p:nvPr/>
        </p:nvCxnSpPr>
        <p:spPr>
          <a:xfrm>
            <a:off x="7847932" y="1066800"/>
            <a:ext cx="3780167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F04E06-6C46-46FE-9956-F0E8ED6633DF}"/>
              </a:ext>
            </a:extLst>
          </p:cNvPr>
          <p:cNvCxnSpPr>
            <a:cxnSpLocks/>
          </p:cNvCxnSpPr>
          <p:nvPr/>
        </p:nvCxnSpPr>
        <p:spPr>
          <a:xfrm>
            <a:off x="7847932" y="3429000"/>
            <a:ext cx="3780167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414493C8-3418-4410-BB03-4585076B5A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652CDCF-A770-46B4-8121-F76B79BBD16B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BC8C455-2242-44E3-A715-51CE102AB98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53721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C222245D-C3A3-4396-926D-88ECBE5C8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53721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23892273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Four Data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067269" y="3539749"/>
            <a:ext cx="2551216" cy="656398"/>
          </a:xfrm>
        </p:spPr>
        <p:txBody>
          <a:bodyPr wrap="square" anchor="b" anchorCtr="0">
            <a:spAutoFit/>
          </a:bodyPr>
          <a:lstStyle>
            <a:lvl1pPr>
              <a:defRPr lang="en-US" sz="4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9067184" y="4298127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9067800" y="1778380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067800" y="1020002"/>
            <a:ext cx="2552700" cy="656398"/>
          </a:xfrm>
        </p:spPr>
        <p:txBody>
          <a:bodyPr wrap="square" anchor="b" anchorCtr="0">
            <a:spAutoFit/>
          </a:bodyPr>
          <a:lstStyle>
            <a:lvl1pPr>
              <a:defRPr sz="40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XX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E4E13D-43FB-4287-8055-FE35994AA77F}"/>
              </a:ext>
            </a:extLst>
          </p:cNvPr>
          <p:cNvCxnSpPr>
            <a:cxnSpLocks/>
          </p:cNvCxnSpPr>
          <p:nvPr/>
        </p:nvCxnSpPr>
        <p:spPr>
          <a:xfrm>
            <a:off x="9069804" y="9144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F04E06-6C46-46FE-9956-F0E8ED6633DF}"/>
              </a:ext>
            </a:extLst>
          </p:cNvPr>
          <p:cNvCxnSpPr>
            <a:cxnSpLocks/>
          </p:cNvCxnSpPr>
          <p:nvPr/>
        </p:nvCxnSpPr>
        <p:spPr>
          <a:xfrm>
            <a:off x="9069804" y="342899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13425D7-1452-4F87-AE64-7C2F048C2469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248485" y="3539749"/>
            <a:ext cx="2551216" cy="656398"/>
          </a:xfrm>
        </p:spPr>
        <p:txBody>
          <a:bodyPr wrap="square" anchor="b" anchorCtr="0">
            <a:spAutoFit/>
          </a:bodyPr>
          <a:lstStyle>
            <a:lvl1pPr>
              <a:defRPr lang="en-US" sz="4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806E283-8E77-44C1-84BC-00B971D42EBD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248400" y="4298127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BDD5CD07-CCF1-451E-8B13-2BE3821C220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249016" y="1778385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sz="1600">
                <a:latin typeface="+mj-lt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DD3D7F-C0BF-415A-9378-D8759CED06B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9016" y="1020007"/>
            <a:ext cx="2552700" cy="656398"/>
          </a:xfrm>
        </p:spPr>
        <p:txBody>
          <a:bodyPr wrap="square" anchor="b" anchorCtr="0">
            <a:spAutoFit/>
          </a:bodyPr>
          <a:lstStyle>
            <a:lvl1pPr>
              <a:defRPr sz="40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XX%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B67A14D-E25C-4D75-8D2E-0D450CE9656D}"/>
              </a:ext>
            </a:extLst>
          </p:cNvPr>
          <p:cNvCxnSpPr>
            <a:cxnSpLocks/>
          </p:cNvCxnSpPr>
          <p:nvPr/>
        </p:nvCxnSpPr>
        <p:spPr>
          <a:xfrm>
            <a:off x="6251020" y="91440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9FFCD6B-6781-45B9-A0FF-441B99A220B5}"/>
              </a:ext>
            </a:extLst>
          </p:cNvPr>
          <p:cNvCxnSpPr>
            <a:cxnSpLocks/>
          </p:cNvCxnSpPr>
          <p:nvPr/>
        </p:nvCxnSpPr>
        <p:spPr>
          <a:xfrm>
            <a:off x="6251020" y="34290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12C73FE7-56E8-42D5-818A-03C740681C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8239EE2-4739-4DF9-A78C-6994DD9D6E29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8EBC35A6-C3F6-4CAA-B6FE-77A0C0F6904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53721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367F26D2-980E-498C-9B01-AEF3F1821C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53721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13382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eature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Picture Placeholder 2">
            <a:extLst>
              <a:ext uri="{FF2B5EF4-FFF2-40B4-BE49-F238E27FC236}">
                <a16:creationId xmlns:a16="http://schemas.microsoft.com/office/drawing/2014/main" id="{323133DF-7BD6-514D-BEB7-88A3F593064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803160" y="914400"/>
            <a:ext cx="6603168" cy="5295900"/>
          </a:xfrm>
          <a:prstGeom prst="rect">
            <a:avLst/>
          </a:prstGeom>
          <a:solidFill>
            <a:srgbClr val="121212"/>
          </a:solidFill>
        </p:spPr>
        <p:txBody>
          <a:bodyPr anchor="t" anchorCtr="0">
            <a:noAutofit/>
          </a:bodyPr>
          <a:lstStyle>
            <a:lvl1pPr marL="0" indent="0" algn="ctr">
              <a:buNone/>
              <a:defRPr sz="2509" spc="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2C6815B-F25D-4FB8-A5B2-8C120A8430E3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5128" y="1676400"/>
            <a:ext cx="1901372" cy="800099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E3D3A1F5-B3FB-4DAD-8501-E8B08F8FBBE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75128" y="1337628"/>
            <a:ext cx="1901372" cy="246221"/>
          </a:xfrm>
        </p:spPr>
        <p:txBody>
          <a:bodyPr wrap="square" anchor="t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4F3FC5E1-11E3-4A29-B448-36F606A1DD72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575128" y="3286585"/>
            <a:ext cx="1901372" cy="800099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5BABFD98-27DB-4A98-A530-907CFCD67D52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75128" y="2937828"/>
            <a:ext cx="1901372" cy="246221"/>
          </a:xfrm>
        </p:spPr>
        <p:txBody>
          <a:bodyPr wrap="square" anchor="t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0" name="Text Placeholder 5">
            <a:extLst>
              <a:ext uri="{FF2B5EF4-FFF2-40B4-BE49-F238E27FC236}">
                <a16:creationId xmlns:a16="http://schemas.microsoft.com/office/drawing/2014/main" id="{91B94912-A095-46D8-B475-7D14C4A4D493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575128" y="4884307"/>
            <a:ext cx="1901372" cy="800099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CB0FCE86-9DE6-4ACA-BEA2-7D0E7A7043DD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575128" y="4534511"/>
            <a:ext cx="1901372" cy="246221"/>
          </a:xfrm>
        </p:spPr>
        <p:txBody>
          <a:bodyPr wrap="square" anchor="t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ACAE389D-4DB8-4A87-8DB7-6A40E505504C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9717314" y="1677439"/>
            <a:ext cx="1901372" cy="800099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304526EE-39A8-42A9-8B14-951E99FC0D79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9717314" y="1338667"/>
            <a:ext cx="1901372" cy="246221"/>
          </a:xfrm>
        </p:spPr>
        <p:txBody>
          <a:bodyPr wrap="square" anchor="t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AE17BDD6-5D8A-41F9-8EED-B1F52BC6F0BA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9717314" y="3287624"/>
            <a:ext cx="1901372" cy="800099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BD6C943B-DC67-46A3-A209-4925548303D3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9717314" y="2938867"/>
            <a:ext cx="1901372" cy="246221"/>
          </a:xfrm>
        </p:spPr>
        <p:txBody>
          <a:bodyPr wrap="square" anchor="t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2DD0A6E6-7217-4CA9-B8AD-DE8CD1BE8D88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9717314" y="4884307"/>
            <a:ext cx="1901372" cy="800099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E0EEB87A-E2A9-4F6E-A9BF-99389EA9D735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9717314" y="4535550"/>
            <a:ext cx="1901372" cy="246221"/>
          </a:xfrm>
        </p:spPr>
        <p:txBody>
          <a:bodyPr wrap="square" anchor="t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4E8EA484-BEB3-4E97-8703-06A3D85D61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9D829AE-DC62-4440-B780-EBAB901AC0E0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106234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C865750-8F0C-6B4A-A308-228D6B53EE0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254B061-C071-4247-8356-D55F1F50C5D6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8E7470-A9D2-4756-B67E-9B25728B0E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AF4BA1F4-B51F-43B9-BB5B-BF3A6CFF80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E2BE28-CF01-49D3-AF0B-092C5B9F5DD1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543660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3CF4D5D8-BD86-4A59-A49A-CC44295EC6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6A164E9-1234-4BC2-B8E7-F3047AC35998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9BFEE4A-F2C6-4F21-8071-313D1B3C613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361C734-A636-4E0E-A708-B9C530351863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DDA5770-9471-B746-BDC8-3306A09120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</p:spTree>
    <p:extLst>
      <p:ext uri="{BB962C8B-B14F-4D97-AF65-F5344CB8AC3E}">
        <p14:creationId xmlns:p14="http://schemas.microsoft.com/office/powerpoint/2010/main" val="7796906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DF60AD67-D5E4-438D-BC4B-1DE6B0688A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9CBA9FE-67A6-43C6-8EE8-C7E8559F1DB7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1486C46-F4F9-421A-A39F-3E52A938244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BE82382-DE4E-4A48-A33B-C56A93877509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FAB8C5-AE86-9F4C-A87D-A5551D4E663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</p:spTree>
    <p:extLst>
      <p:ext uri="{BB962C8B-B14F-4D97-AF65-F5344CB8AC3E}">
        <p14:creationId xmlns:p14="http://schemas.microsoft.com/office/powerpoint/2010/main" val="31128398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Quarterly-Plan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88427184-4D4B-2842-98CC-0D13D99CD8BE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563906" y="3131640"/>
            <a:ext cx="2552092" cy="63196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spcBef>
                <a:spcPts val="0"/>
              </a:spcBef>
              <a:buNone/>
              <a:defRPr sz="4267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Q1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A3B11FAB-FB94-FE47-98B7-C4E703DCE021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3389551" y="3131640"/>
            <a:ext cx="2552092" cy="63196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spcBef>
                <a:spcPts val="0"/>
              </a:spcBef>
              <a:buNone/>
              <a:defRPr sz="4267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Q2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4F5FE934-EAAA-2544-B7A7-0D9F568038D5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6230187" y="3131640"/>
            <a:ext cx="2552092" cy="63196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spcBef>
                <a:spcPts val="0"/>
              </a:spcBef>
              <a:buNone/>
              <a:defRPr sz="4267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Q3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50C5B955-9C7B-6947-9744-010C19BBB567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9055831" y="3131640"/>
            <a:ext cx="2552092" cy="63196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spcBef>
                <a:spcPts val="0"/>
              </a:spcBef>
              <a:buNone/>
              <a:defRPr sz="4267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Q4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DA111987-1B3E-4A88-9CE0-11B85B6A696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6" y="3751101"/>
            <a:ext cx="2552092" cy="52451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CB765974-5A94-44D1-BEFA-32064162636B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9" y="3751101"/>
            <a:ext cx="2552092" cy="52451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2DCDDD54-163E-4B72-AC0A-9025AE8ED3A2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751101"/>
            <a:ext cx="2552092" cy="52451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633A5AB9-6304-4852-84C2-13EE0655D16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751101"/>
            <a:ext cx="2552092" cy="52451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9" name="Title Placeholder 1">
            <a:extLst>
              <a:ext uri="{FF2B5EF4-FFF2-40B4-BE49-F238E27FC236}">
                <a16:creationId xmlns:a16="http://schemas.microsoft.com/office/drawing/2014/main" id="{4EAFF05D-F126-4F6F-BC7A-D37D2D819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599"/>
            <a:ext cx="5390428" cy="1524436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Quarterly planning headline here</a:t>
            </a:r>
          </a:p>
        </p:txBody>
      </p:sp>
      <p:sp>
        <p:nvSpPr>
          <p:cNvPr id="42" name="Slide Number Placeholder 4">
            <a:extLst>
              <a:ext uri="{FF2B5EF4-FFF2-40B4-BE49-F238E27FC236}">
                <a16:creationId xmlns:a16="http://schemas.microsoft.com/office/drawing/2014/main" id="{B0C4E4CC-F4EF-41B1-859A-BEB4889102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5150659-4B06-4B5C-AEAE-D63AB44A0A0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63903" y="4442820"/>
            <a:ext cx="2552095" cy="162876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E905DCE-53B2-44BC-A04D-E154A3AAD85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13563" y="4442820"/>
            <a:ext cx="2552095" cy="162876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D54CEA9-0F8B-43FF-86F1-30D0A263E4D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47252" y="4442820"/>
            <a:ext cx="2552095" cy="162876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A21997B-0FCE-4F0F-9413-09FF3CABCAF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96913" y="4442820"/>
            <a:ext cx="2552095" cy="162876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CFF6099-0DAF-43E0-A2BE-4FC739C1BE3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BF218AE5-98EE-4C23-93DE-5E0E691847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67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546365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3F40CCC7-D537-4FB4-B366-622F4AD808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1C625C8-55F7-42AB-8D8D-C82E654BC331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0186643-EF92-49AB-B9EF-F60B91CE51F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9F60B38-DDF4-4AEE-AF0D-7CCB700281A7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09A891F-DADF-8F49-BA2B-2DA9C580F4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</p:spTree>
    <p:extLst>
      <p:ext uri="{BB962C8B-B14F-4D97-AF65-F5344CB8AC3E}">
        <p14:creationId xmlns:p14="http://schemas.microsoft.com/office/powerpoint/2010/main" val="35366723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-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2B69982-B253-4DE6-9C5E-FB93C3A27F4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22572" y="4880809"/>
            <a:ext cx="6145427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lang="en-US" sz="1400" b="0" i="0" kern="0" spc="0" baseline="0" dirty="0">
                <a:solidFill>
                  <a:schemeClr val="tx1"/>
                </a:solidFill>
                <a:latin typeface="CiscoSansTT Medium" panose="020B0903020201020303" pitchFamily="34" charset="0"/>
                <a:ea typeface="+mn-ea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Insert name her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46ED238B-31FF-436C-9838-14BADBEE1071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3429000" y="4648200"/>
            <a:ext cx="952500" cy="952500"/>
          </a:xfrm>
          <a:prstGeom prst="ellipse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67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13AA95C-29B9-4045-B598-AA928D1B9666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4522572" y="5225969"/>
            <a:ext cx="6145427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lang="en-US" sz="12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Job title, company, location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250445FA-EEE1-4137-AB6F-26D4A3DB4B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C98AB57-B534-43CE-8598-7264AC2F5F2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FB38577-29E6-6546-851F-B5859A13FFB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</p:spTree>
    <p:extLst>
      <p:ext uri="{BB962C8B-B14F-4D97-AF65-F5344CB8AC3E}">
        <p14:creationId xmlns:p14="http://schemas.microsoft.com/office/powerpoint/2010/main" val="32294902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Big Message">
    <p:bg>
      <p:bgPr>
        <a:blipFill dpi="0" rotWithShape="1">
          <a:blip r:embed="rId2">
            <a:lum/>
          </a:blip>
          <a:srcRect/>
          <a:stretch>
            <a:fillRect l="-1000" t="-1000" r="-1000" b="-1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FDE645EB-7566-458A-A5B5-3D308976F0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A20F9E4-16CA-4B30-ADCC-BD4809B43944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B76379CE-9A24-0343-A5E8-AD7132A6BD3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</p:spTree>
    <p:extLst>
      <p:ext uri="{BB962C8B-B14F-4D97-AF65-F5344CB8AC3E}">
        <p14:creationId xmlns:p14="http://schemas.microsoft.com/office/powerpoint/2010/main" val="19169198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Big Mess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810C81B9-7CCA-4D12-920B-B5DCB07545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ECCB6B-46C4-4E71-97ED-219163FCE9B9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D6199641-7AA8-3547-AB44-4C0969E57F1A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</p:spTree>
    <p:extLst>
      <p:ext uri="{BB962C8B-B14F-4D97-AF65-F5344CB8AC3E}">
        <p14:creationId xmlns:p14="http://schemas.microsoft.com/office/powerpoint/2010/main" val="4701675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Big Mess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63C86CC-9F1B-4BC4-B31D-B1F8DE70F5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4C5D01-C630-4FFC-963D-B04C145573C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ADDB34E3-C53E-9146-9E31-92CB7029823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</p:spTree>
    <p:extLst>
      <p:ext uri="{BB962C8B-B14F-4D97-AF65-F5344CB8AC3E}">
        <p14:creationId xmlns:p14="http://schemas.microsoft.com/office/powerpoint/2010/main" val="2584008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FDE645EB-7566-458A-A5B5-3D308976F0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A20F9E4-16CA-4B30-ADCC-BD4809B43944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444107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810C81B9-7CCA-4D12-920B-B5DCB07545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ECCB6B-46C4-4E71-97ED-219163FCE9B9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496913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63C86CC-9F1B-4BC4-B31D-B1F8DE70F5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4C5D01-C630-4FFC-963D-B04C145573C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236599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5" y="6431691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92773B-7150-44D2-AFDB-DE60A8A0F625}"/>
              </a:ext>
            </a:extLst>
          </p:cNvPr>
          <p:cNvSpPr/>
          <p:nvPr/>
        </p:nvSpPr>
        <p:spPr>
          <a:xfrm>
            <a:off x="304800" y="6414273"/>
            <a:ext cx="2819400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D6BBC4DA-0B82-4DC4-A56E-D13F5D8076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00575" y="2324100"/>
            <a:ext cx="2990850" cy="220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09766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5" y="6431691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B8EB6A92-1A18-4242-B37B-061D783A1E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33353" y="6061498"/>
            <a:ext cx="1633196" cy="49932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79071DA-63B2-46A2-892F-B272FF3B2408}"/>
              </a:ext>
            </a:extLst>
          </p:cNvPr>
          <p:cNvSpPr/>
          <p:nvPr/>
        </p:nvSpPr>
        <p:spPr>
          <a:xfrm>
            <a:off x="525451" y="6410479"/>
            <a:ext cx="503249" cy="1503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94626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480C16A7-AC87-3041-BFCA-5BAE809929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63903" y="2518229"/>
            <a:ext cx="2552092" cy="1294891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US" sz="2509" spc="-96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302668" lvl="0" indent="-302668" algn="ctr"/>
            <a:r>
              <a:rPr lang="en-US"/>
              <a:t>Insert image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8AFA0CDB-F372-1847-ACE3-8F2552F32E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01447" y="2518229"/>
            <a:ext cx="2552092" cy="1294891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US" sz="2509" spc="-96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302668" lvl="0" indent="-302668" algn="ctr"/>
            <a:r>
              <a:rPr lang="en-US"/>
              <a:t>Insert imag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2CEDA4E7-FEF8-A844-BD5D-9125501BED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246247" y="2518229"/>
            <a:ext cx="2552092" cy="1294891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US" sz="2509" spc="-96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302668" lvl="0" indent="-302668" algn="ctr"/>
            <a:r>
              <a:rPr lang="en-US"/>
              <a:t>Insert imag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0C5331F0-DC53-014A-AC10-09442296B48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076534" y="2518229"/>
            <a:ext cx="2552092" cy="1294891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US" sz="2509" spc="-96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302668" lvl="0" indent="-302668" algn="ctr"/>
            <a:r>
              <a:rPr lang="en-US"/>
              <a:t>Insert imag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6" y="3857641"/>
            <a:ext cx="2552092" cy="43638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35F796C-3FA3-4D4C-9E57-306772BBFEB7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9" y="3857641"/>
            <a:ext cx="2552092" cy="43638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3094BC0-195B-294A-B09B-12005D172A0C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857641"/>
            <a:ext cx="2552092" cy="43638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A941269-22F0-1B4D-A516-00DAC2E11BF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857641"/>
            <a:ext cx="2552092" cy="43638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E71F9B75-2801-4E3B-A4AF-EE2F5428DF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5390428" cy="14478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mages</a:t>
            </a:r>
          </a:p>
        </p:txBody>
      </p:sp>
      <p:sp>
        <p:nvSpPr>
          <p:cNvPr id="40" name="Slide Number Placeholder 4">
            <a:extLst>
              <a:ext uri="{FF2B5EF4-FFF2-40B4-BE49-F238E27FC236}">
                <a16:creationId xmlns:a16="http://schemas.microsoft.com/office/drawing/2014/main" id="{C287D7C0-FDBF-4DC2-A5AD-21F027C218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B282261E-4BBB-4DDF-A272-64831DF6A48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63903" y="4479690"/>
            <a:ext cx="2552095" cy="169843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35DF58A1-C9DA-4098-A483-3AF5EEE2823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13563" y="4479690"/>
            <a:ext cx="2552095" cy="169843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506F507-8135-47B0-B749-1ECA83F7A4C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47252" y="4479690"/>
            <a:ext cx="2552095" cy="169843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D835D938-BABF-448A-911C-81BC403D164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96913" y="4479690"/>
            <a:ext cx="2552095" cy="169843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91F740F-284B-4B91-944E-3E248D56447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45924221-968B-489A-B12E-3DB03CF53A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8027874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97389CA-AA00-4146-B54D-B32C999B76FE}"/>
              </a:ext>
            </a:extLst>
          </p:cNvPr>
          <p:cNvSpPr/>
          <p:nvPr/>
        </p:nvSpPr>
        <p:spPr>
          <a:xfrm>
            <a:off x="4991100" y="0"/>
            <a:ext cx="72009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3852A25-25D6-4B6B-902F-93AEC433B73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1024" y="2539999"/>
            <a:ext cx="3768725" cy="3746501"/>
          </a:xfrm>
        </p:spPr>
        <p:txBody>
          <a:bodyPr/>
          <a:lstStyle>
            <a:lvl2pPr marL="228600" indent="-228600">
              <a:defRPr/>
            </a:lvl2pPr>
            <a:lvl3pPr marL="457200" indent="-228600"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4CD93D0C-5ABB-6029-2F48-4A7FC04C7E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911" y="571500"/>
            <a:ext cx="376483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834446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4869789"/>
            <a:ext cx="7277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1500" y="5248892"/>
            <a:ext cx="72771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790701"/>
            <a:ext cx="7277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0" y="3431817"/>
            <a:ext cx="7277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0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C213C3D1-EB09-4146-8395-36A5B8D30F2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00053" y="6133088"/>
            <a:ext cx="1366496" cy="41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7051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lf &amp; Half Title Slide Dark Layout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4869789"/>
            <a:ext cx="5372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1500" y="5248892"/>
            <a:ext cx="53721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790701"/>
            <a:ext cx="5372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0" y="3431817"/>
            <a:ext cx="5372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0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73A75F9-B823-4C33-BC6A-70650FACD3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48400" y="0"/>
            <a:ext cx="5943600" cy="6858000"/>
          </a:xfrm>
          <a:noFill/>
        </p:spPr>
        <p:txBody>
          <a:bodyPr anchor="ctr" anchorCtr="0"/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10490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ive Topics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3721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213C59-7880-41D1-9DE5-B53FA71B4F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48400" y="609600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0BD0D78-FA9C-47FE-A8C5-A942C1A9A1E0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080810" y="609600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4D1B0561-72B3-4A7C-9434-B0EDE523688D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080810" y="1037804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FB88D30E-5998-42C2-BFDA-6C6AA1F33F7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48400" y="164719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6D18BF23-F279-48A8-8AFF-AC70F73F091E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7080810" y="1647193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8445664B-F9E1-4D1D-9F6E-DA27AF43C21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7080810" y="2075397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31F0F46D-89DF-46CA-934B-C124727D937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48400" y="2684788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8BB0DD2A-742F-4019-B2A6-6AC6CF3BEEA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080810" y="2684787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4D48E93A-11A3-45A0-961F-26062021432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080810" y="3112991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365D378F-8BFE-41E2-A048-4F1E113B408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48400" y="3722381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4681FE84-1510-4206-91AF-B290EF3C0E1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7080810" y="3722381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58EB90C9-03A7-449D-A8F3-B379B319950E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7080810" y="4150585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E3E332E3-41A2-4350-A7FE-20CB379706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0" y="475997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948A5A7B-49E0-4CF2-8080-E002145F2FF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10" y="4759974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B8F46644-76D3-4C51-9163-739A1F5F7650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10" y="5188178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7D1C11A-12D9-461B-A255-03DBC65A944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EA8191E0-49D0-4036-B896-597B5FEF138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134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Ten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3721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2875B737-D8C9-4B5A-A987-E648592F8AB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71500" y="2437942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1BC899D-37C3-4568-A4DF-0B0EDE20DC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403910" y="243794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B5D11EE-1D55-4041-81BF-2D405343AEB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1403910" y="286614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78F2AB5-8A22-4344-B743-464793BF69F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71500" y="327862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2A1D5CE-6473-44B2-BC10-1AC73E1B795C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403910" y="327862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D8A733FF-648D-413A-A965-9380FF19EB3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403910" y="370682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C4EAFF18-13A5-4454-9A4E-50C9683A086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71500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3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5CFB554-4FA5-44FE-AD9D-94ADB8A1596B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403910" y="4118817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E82D60C9-C7E6-4DE4-8E8B-9A9D85E509A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1403910" y="4547021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1C81A21-CB5C-4EBA-AA54-D73A670B36B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71500" y="4959740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4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3D704AA8-F2E6-4E6E-BA0F-C73614C721D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1403910" y="4959740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66AE59D2-11F7-416C-B366-F23200F2C468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403910" y="5387944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898C6801-7507-4803-A711-42CEC857E56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0" y="243794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5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7589C976-7FFB-4218-BF7E-1F78F2A1F02C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10" y="243794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0F3DDABD-EE25-49C3-9A53-2657DAD77A8C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10" y="286614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17167DB7-5308-42DC-AEE9-AAED2ED164D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248400" y="327862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6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620B5D7B-672A-4FB9-9717-E785586DA30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7080810" y="327862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E23B210E-5C88-4516-A864-36247F88D733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7080810" y="370682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37DB0FAF-76DD-43D1-B897-9417F5B3AB7B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48400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7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B0C7BE68-E1A9-48A3-8ADD-8FDB96C02A40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7080810" y="4118817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5195D37A-ED4A-4E1F-A476-81831613075B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080810" y="4547021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62FE476F-78D3-4BBD-ADB0-A014E40BC384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48400" y="4959740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8</a:t>
            </a:r>
          </a:p>
        </p:txBody>
      </p:sp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D42D2D51-155D-4C35-BC5F-B8F1C46DC335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7080810" y="4959740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EBF4B885-D002-47D6-8922-12B72E21CACE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7080810" y="5387944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0EEB412-0CE0-4F00-8756-0957743AE431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2DB28A58-94F9-401A-ADF6-47C90FEA956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66092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696DE5-6EFF-4C09-9943-5FCA93FF6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011A5B07-96E9-42C8-81C4-56D26550D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4FE852-4660-4623-83C0-2F7C9B6EDB27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CCC6C03-EF21-44ED-8593-CDA31C61E8DD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56040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564E15E-85C2-40F1-B654-E42DCFBA1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 marL="0" indent="0">
              <a:buNone/>
              <a:defRPr sz="1400"/>
            </a:lvl2pPr>
            <a:lvl3pPr marL="228600" indent="0">
              <a:buNone/>
              <a:defRPr sz="1200"/>
            </a:lvl3pPr>
            <a:lvl4pPr marL="406400" indent="0"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30370F4-DF08-4B4A-A3BB-EB8905622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3BE238-C084-4FBF-86DF-59C91AF8317F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1E1701B-4C10-476A-8FDF-6089699136E1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593087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E1C715D-9112-4A01-AD63-361439BFB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E43F6E-A8D0-4155-BD27-8561034BB2B8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A02B8EA-12A2-4673-BF3F-8D4FB8234D2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6410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8EE2313-2646-4E0B-B6B4-BA07574D2F8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572B255-D144-453C-90FA-BB07F680CF0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D9DF569-2B30-EE4C-8D21-F21B97793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C61E8BE-7C30-466D-96E8-145E0409391E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42084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7C7D94ED-0F39-4B30-8B40-B8D535783A5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CE85B47-180E-0542-8A98-FABBBFB2A6D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265EAF99-811E-0A42-AD86-6F1F07B547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BC72363-F3A6-5E44-AD40-7647C83973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 marL="174625" indent="-174625">
              <a:defRPr sz="1400"/>
            </a:lvl2pPr>
            <a:lvl3pPr marL="346075" indent="-171450"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A216F31-D19E-4174-ACB7-CAFBD6AE68A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64907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con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2" y="0"/>
            <a:ext cx="6096001" cy="6858000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509" spc="-96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Insert image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24644A4A-627D-4251-93AA-A2954900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2" y="990600"/>
            <a:ext cx="5125733" cy="12700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A8E6EAB-22F0-4C89-85F8-D4D94992ED22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63904" y="2960400"/>
            <a:ext cx="2319867" cy="46860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EF54FC4E-BD10-4F11-B8AA-EB5EF0D89E43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3268133" y="2960397"/>
            <a:ext cx="2319867" cy="46860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E64A8B51-1A62-459A-8DD3-93B84E82D8DE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563904" y="4880033"/>
            <a:ext cx="2319867" cy="46860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D090DEB6-2BCA-46D7-9263-9EB082FE8736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3268133" y="4880033"/>
            <a:ext cx="2319867" cy="46860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B195F9B-18C2-43DD-8D28-DB82565A615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63903" y="3493741"/>
            <a:ext cx="2319868" cy="89664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33" dirty="0"/>
            </a:lvl2pPr>
          </a:lstStyle>
          <a:p>
            <a:pPr marL="302668" lvl="0" indent="-302668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68" lvl="1" indent="-302668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F57C87-BB0F-4D2F-BDF2-DAE041C1A7D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260878" y="3493741"/>
            <a:ext cx="2319868" cy="89664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33" dirty="0"/>
            </a:lvl2pPr>
          </a:lstStyle>
          <a:p>
            <a:pPr marL="302668" lvl="0" indent="-302668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68" lvl="1" indent="-302668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F88AC67-0FCF-4070-8745-F2172B2CACC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63903" y="5421509"/>
            <a:ext cx="2319868" cy="89664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33" dirty="0"/>
            </a:lvl2pPr>
          </a:lstStyle>
          <a:p>
            <a:pPr marL="302668" lvl="0" indent="-302668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68" lvl="1" indent="-302668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3DC3002-031A-4736-AABA-949B2E31DDE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260878" y="5421509"/>
            <a:ext cx="2319868" cy="89664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33" dirty="0"/>
            </a:lvl2pPr>
          </a:lstStyle>
          <a:p>
            <a:pPr marL="302668" lvl="0" indent="-302668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68" lvl="1" indent="-302668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0695B177-CA0C-4E8C-A61A-DBFC0E3A7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1FCFB0F-38DF-40D9-884B-4BB884CABC0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3904" y="2551177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AB00DA7-3784-4F1E-BCF7-020A8B5BBBC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70276" y="2551177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4BF908E0-620E-4308-B4E4-794556D881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58800" y="45168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982949E-1A10-4260-ACD5-08C3395104A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265172" y="45168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881526-D455-4016-9E25-0B8C0592F64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50C5796D-69C7-4336-93B7-FBE71B2511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235315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49195570-1534-4F74-B303-B06313C227F6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66674A7-0DAD-C54D-BB6A-AB4B6F3D1CF2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48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4BFEFE0-97D7-B240-BC88-FC22052279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82028C6-D96F-A145-862B-ED80E5C5EF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600"/>
            </a:lvl1pPr>
            <a:lvl2pPr marL="0" indent="0">
              <a:buFontTx/>
              <a:buNone/>
              <a:defRPr sz="1400"/>
            </a:lvl2pPr>
            <a:lvl3pPr marL="228600" indent="0">
              <a:buFontTx/>
              <a:buNone/>
              <a:defRPr sz="1200"/>
            </a:lvl3pPr>
            <a:lvl4pPr marL="406400" indent="0">
              <a:buFontTx/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A8F312C-C046-4076-8AB0-7EBEDB95055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310652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8C469D-456E-4ECF-83FA-AF1F3BDB26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500" y="1905000"/>
            <a:ext cx="5372100" cy="4305301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8E86-A92A-495E-A49E-35F25D765A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1905000"/>
            <a:ext cx="5372100" cy="4305302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512763" indent="-169863"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  <a:lvl5pPr marL="746125" indent="-174625">
              <a:defRPr lang="en-US" sz="600" b="0" i="0" kern="1200" spc="0" baseline="0" dirty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274A685-F33F-448C-B6FE-AB508BA75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9306D53-D47B-4F16-A012-78C12883E1D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C62C271-F62D-7A6B-6CD2-F9D2B8FED011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766623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, Title &amp;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DC1BA0-9AAE-4457-AB7A-2225418D1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2663" y="1905000"/>
            <a:ext cx="5372100" cy="30777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87F35FC-680E-4287-99BA-ED6DF9E6085D}"/>
              </a:ext>
            </a:extLst>
          </p:cNvPr>
          <p:cNvSpPr>
            <a:spLocks noGrp="1"/>
          </p:cNvSpPr>
          <p:nvPr>
            <p:ph type="body" idx="57"/>
          </p:nvPr>
        </p:nvSpPr>
        <p:spPr>
          <a:xfrm>
            <a:off x="6249563" y="1905000"/>
            <a:ext cx="5372100" cy="307777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E451DCD-2B8C-4BF9-8D85-AA8F5ABE2826}"/>
              </a:ext>
            </a:extLst>
          </p:cNvPr>
          <p:cNvSpPr>
            <a:spLocks noGrp="1"/>
          </p:cNvSpPr>
          <p:nvPr>
            <p:ph sz="half" idx="58"/>
          </p:nvPr>
        </p:nvSpPr>
        <p:spPr>
          <a:xfrm>
            <a:off x="571500" y="2369053"/>
            <a:ext cx="5372100" cy="3841249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F39D5E2-4E9E-4B26-9E69-7D77328E4C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2369052"/>
            <a:ext cx="5372100" cy="3841249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 marL="746125" indent="-174625">
              <a:defRPr lang="en-US" sz="600" b="0" i="0" kern="1200" spc="0" baseline="0" dirty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C2285B0-0824-4973-8F1D-C24F2784A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D5DBBD6-CA78-4551-B263-2F8BFC4E781A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9F20D38-1511-243B-C616-B007FEE698C9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55978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58696A-2388-495D-981D-050920BB5C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5334000"/>
            <a:ext cx="5372099" cy="876300"/>
          </a:xfrm>
        </p:spPr>
        <p:txBody>
          <a:bodyPr>
            <a:noAutofit/>
          </a:bodyPr>
          <a:lstStyle>
            <a:lvl1pPr marL="0" indent="0">
              <a:buNone/>
              <a:tabLst/>
              <a:defRPr sz="16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C009990-5F38-4F94-ABE2-44DA301BD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0" y="5334000"/>
            <a:ext cx="5372099" cy="876300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D01E734-4CA7-4CBD-A769-BCC20375564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1500" y="1905000"/>
            <a:ext cx="5372100" cy="3271156"/>
          </a:xfrm>
          <a:solidFill>
            <a:schemeClr val="bg2"/>
          </a:solidFill>
        </p:spPr>
        <p:txBody>
          <a:bodyPr anchor="ctr" anchorCtr="0">
            <a:no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2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E24BD1C9-BB6F-4B1A-B0AC-70FBFBAD0DD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48400" y="1905000"/>
            <a:ext cx="5372100" cy="3271156"/>
          </a:xfrm>
          <a:solidFill>
            <a:schemeClr val="bg2"/>
          </a:solidFill>
        </p:spPr>
        <p:txBody>
          <a:bodyPr anchor="ctr" anchorCtr="0">
            <a:no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2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C3A3765-3130-474C-96F5-7E50AE68B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840F6A6-3445-46E0-90CD-B778CB75CB3D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184B485-7D26-1B6F-4883-5D474B461FFF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92292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AD8007C-DE91-4E81-8041-976C5135CD04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E9C8300-AF39-3E1C-C074-A3204A45B264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6670385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054F9D6-4889-4D51-9ADF-D453DFF1E8E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905000"/>
            <a:ext cx="12192000" cy="43053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algn="ctr"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3476B1-5604-4136-9D0F-58F8AF89B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CDEE37D-020A-4A22-922F-31441A6C8745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FDCAE80-932F-F985-4018-2DA3C0B3FE9F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60533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054F9D6-4889-4D51-9ADF-D453DFF1E8E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blipFill dpi="0" rotWithShape="1">
            <a:blip r:embed="rId2">
              <a:alphaModFix amt="2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96465F4-B55E-463E-9A4A-F93B1EE9FD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6807" y="6364637"/>
            <a:ext cx="503671" cy="221124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81D1E80-33EB-4E5D-9415-4B0EE02EBDF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1B057A9-545D-6CF4-2714-B01076FA3E97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846720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Section Header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6734A84-A20E-4265-848D-432FAF49C4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76FF25-9CEA-4D73-9CD8-BCF0613C55EA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6B71E33-4FDE-7B2D-F4A8-70D54700C3C6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119888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Section Header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4BE6003-571D-4817-A40A-6421214126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4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92C7D0-4978-4D65-A39E-9CB076EFBCC3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6949A3E-998F-94F8-A0D7-B0C7BC377A6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925593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Section Header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79EE8F-1900-4C5E-A4C1-BB6BE90235E1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4C9078B-3B52-02F8-D106-FD8416860069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65070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F16390-6737-46A8-8714-112CAB201308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509" spc="-96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0601"/>
            <a:ext cx="2350284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2344656" cy="3425840"/>
          </a:xfrm>
        </p:spPr>
        <p:txBody>
          <a:bodyPr>
            <a:noAutofit/>
          </a:bodyPr>
          <a:lstStyle>
            <a:lvl1pPr marL="228589" indent="-228589">
              <a:buFont typeface="Arial" panose="020B0604020202020204" pitchFamily="34" charset="0"/>
              <a:buChar char="•"/>
              <a:defRPr sz="1333"/>
            </a:lvl1pPr>
            <a:lvl2pPr>
              <a:defRPr sz="1067"/>
            </a:lvl2pPr>
            <a:lvl3pPr>
              <a:defRPr sz="800"/>
            </a:lvl3pPr>
            <a:lvl4pPr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0A03D6A-E3C9-4E0F-9561-1CDE1AE1995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2" y="339201"/>
            <a:ext cx="2701689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486C98BC-16EE-44A7-A5AA-7D9E634104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5987468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D6DF483-DD51-444D-AF16-AF31E72FDD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514350" indent="-171450">
              <a:buFont typeface="Arial" panose="020B0604020202020204" pitchFamily="34" charset="0"/>
              <a:buChar char="•"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0BAC715-F543-452A-80B1-3A07B10B2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73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524910-4FFE-49EA-99DE-65BFB724546B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8455780-F903-DE3F-D84E-076853B2768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303641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10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1E1BB935-C530-47D2-883E-00828E3A8FC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200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D970870-8847-48D6-ACCA-B0F7D662F2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 marL="514350" indent="-171450">
              <a:buFont typeface="Arial" panose="020B0604020202020204" pitchFamily="34" charset="0"/>
              <a:buChar char="•"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8CEBD18-98E9-4568-A90A-5715A834E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73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38F8A1A-3A97-4C8E-9550-2C62BC10A83F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3F5762F-E82B-41B6-657C-DC38CB8901C4}"/>
              </a:ext>
            </a:extLst>
          </p:cNvPr>
          <p:cNvSpPr txBox="1"/>
          <p:nvPr/>
        </p:nvSpPr>
        <p:spPr>
          <a:xfrm>
            <a:off x="3200400" y="6447255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301635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10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FEF2E81-694A-4A5A-BEDE-DF13285D820B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5E2598-51C8-4F83-B09D-69C86C142A3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1905000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737D39F-19A0-4D2A-8E85-527465AFD610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188208" y="1905000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4FE5E7B-ECDC-404D-9B30-E7B580CCEED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714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1CDB75F-12E1-4403-B291-31A3B1C83B0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1882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BA687946-9318-4CD5-B900-AA488A7BDA5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200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ECBF8DC3-DA3E-470B-AE86-6B154E24E3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73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312C61A-B9D3-456C-953D-82B30FE7C4A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F91F6E9-643F-C504-CB38-F0BE0D9E92D6}"/>
              </a:ext>
            </a:extLst>
          </p:cNvPr>
          <p:cNvSpPr txBox="1"/>
          <p:nvPr/>
        </p:nvSpPr>
        <p:spPr>
          <a:xfrm>
            <a:off x="3200400" y="6447255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7079384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552">
          <p15:clr>
            <a:srgbClr val="A4A3A4"/>
          </p15:clr>
        </p15:guide>
        <p15:guide id="3" pos="4128">
          <p15:clr>
            <a:srgbClr val="A4A3A4"/>
          </p15:clr>
        </p15:guide>
        <p15:guide id="4" orient="horz" pos="1656">
          <p15:clr>
            <a:srgbClr val="A4A3A4"/>
          </p15:clr>
        </p15:guide>
        <p15:guide id="5" orient="horz" pos="1752">
          <p15:clr>
            <a:srgbClr val="A4A3A4"/>
          </p15:clr>
        </p15:guide>
      </p15:sldGuideLst>
    </p:ext>
  </p:extLst>
</p:sldLayout>
</file>

<file path=ppt/slideLayouts/slideLayout10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689F426-4C63-454D-B133-BC94D9D160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B15451E-AF4B-4B3A-B376-2003DB48C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912331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9F1EE91-F457-4893-88BA-AF3B71081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490D2D3-F0B6-4527-A912-AE8F2F7E703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714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D27C7EF2-E1C7-403F-81BA-2822B0BADEE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1882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322DDD1-796F-4817-A0A2-B54629B89214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1905000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5075854-0A14-4136-BC79-1BC72756705A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188208" y="1905000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0EE9024-F09A-067B-CE8A-BB74A0888E2E}"/>
              </a:ext>
            </a:extLst>
          </p:cNvPr>
          <p:cNvSpPr txBox="1"/>
          <p:nvPr/>
        </p:nvSpPr>
        <p:spPr>
          <a:xfrm>
            <a:off x="3200400" y="6447255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602139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552">
          <p15:clr>
            <a:srgbClr val="A4A3A4"/>
          </p15:clr>
        </p15:guide>
        <p15:guide id="2" pos="4152">
          <p15:clr>
            <a:srgbClr val="A4A3A4"/>
          </p15:clr>
        </p15:guide>
      </p15:sldGuideLst>
    </p:ext>
  </p:extLst>
</p:sldLayout>
</file>

<file path=ppt/slideLayouts/slideLayout10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AEEE0BE-B874-4CB1-92B1-404602B5CA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B74128E-BA5E-4242-8B4E-D1F742670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613D29C-0961-4A3D-8A56-1E1B5BC7445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1F61BA1-F848-4E08-8C07-5D6D5E6C0A8C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706624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10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C82BCFB0-2C06-4262-9388-B4438F4E968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68778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E96ABEA8-C693-429B-8E00-CBD848A92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1F330DC-3ED8-470C-84C4-C7D10A9020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8BD350E-1BA7-4789-8917-9D2180DC456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94A1132-A435-6CB3-A850-584C4C0D3046}"/>
              </a:ext>
            </a:extLst>
          </p:cNvPr>
          <p:cNvSpPr txBox="1"/>
          <p:nvPr/>
        </p:nvSpPr>
        <p:spPr>
          <a:xfrm>
            <a:off x="3752850" y="6441817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579867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10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2BE86DFA-31C3-4F24-A7FF-57697A0FEFD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68778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BA23DE7-CFFA-40A9-9A64-A60D8665455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553199" y="1910149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60001BE-2917-4768-B6B6-BEC070C85F3E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71232" y="1910149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F033B061-30E2-4203-B7D3-0E4FF6C4CC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4F90B59D-E2BD-42BC-B3BC-06F77504882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5531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8269256-DD80-4564-A3AF-D017D4A7ED5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1699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BB20381-4C93-463A-927C-0BB3E602CAA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30655C9-4176-C729-7B20-6858043032D1}"/>
              </a:ext>
            </a:extLst>
          </p:cNvPr>
          <p:cNvSpPr txBox="1"/>
          <p:nvPr/>
        </p:nvSpPr>
        <p:spPr>
          <a:xfrm>
            <a:off x="3752850" y="6441817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7314921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10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F60A532-8EEA-467C-8E7E-39CF1DB485A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6D3B650-5EC2-4F87-A7DF-85C7547613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4FB1BE2-EC71-4AA4-B103-A670DCD7AA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55836A8-05ED-470D-9C33-44AD1D4866F1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8A3D5E0-339A-19CA-388E-DA005BC76DE6}"/>
              </a:ext>
            </a:extLst>
          </p:cNvPr>
          <p:cNvSpPr txBox="1"/>
          <p:nvPr/>
        </p:nvSpPr>
        <p:spPr>
          <a:xfrm>
            <a:off x="3752850" y="6441817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288757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10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F60A532-8EEA-467C-8E7E-39CF1DB485A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9A0B76E-2F1E-4BD6-AA72-3682A69C9C34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553199" y="1910149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5818B49-B6BC-412E-A21D-631A69222221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71232" y="1910149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442FDF7C-40C4-4C20-819D-D8B06F0E8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7B14163-B0FE-4287-968A-93DE8034681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5531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4927BC81-4C08-47F4-BA08-8F857CA477A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1699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E009170-4223-4B7A-A077-F74B3DE3688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0C46089E-1BE8-CF9D-38C5-039C71D1BC5D}"/>
              </a:ext>
            </a:extLst>
          </p:cNvPr>
          <p:cNvSpPr txBox="1"/>
          <p:nvPr/>
        </p:nvSpPr>
        <p:spPr>
          <a:xfrm>
            <a:off x="3752850" y="6441817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328426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F16390-6737-46A8-8714-112CAB201308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240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903365" y="990599"/>
            <a:ext cx="7790845" cy="5035913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509" spc="-96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0601"/>
            <a:ext cx="2350284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2344656" cy="3425840"/>
          </a:xfrm>
        </p:spPr>
        <p:txBody>
          <a:bodyPr>
            <a:noAutofit/>
          </a:bodyPr>
          <a:lstStyle>
            <a:lvl1pPr marL="228589" indent="-228589">
              <a:buFont typeface="Arial" panose="020B0604020202020204" pitchFamily="34" charset="0"/>
              <a:buChar char="•"/>
              <a:defRPr sz="1333"/>
            </a:lvl1pPr>
            <a:lvl2pPr>
              <a:defRPr sz="1067"/>
            </a:lvl2pPr>
            <a:lvl3pPr>
              <a:defRPr sz="800"/>
            </a:lvl3pPr>
            <a:lvl4pPr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2854662-684B-46F5-B1C9-A8380A9FAEC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2" y="339201"/>
            <a:ext cx="2729556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BD02289-A003-4F50-8A0B-E04C3A5D3D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4" y="6390603"/>
            <a:ext cx="382947" cy="93184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3C0D703A-5C8B-4D7D-9178-8D74110152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9915391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A305123-92F2-4B89-A355-7539327F08C3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1500" y="2787408"/>
            <a:ext cx="3465576" cy="3420333"/>
          </a:xfrm>
        </p:spPr>
        <p:txBody>
          <a:bodyPr/>
          <a:lstStyle>
            <a:lvl3pPr>
              <a:defRPr/>
            </a:lvl3pPr>
            <a:lvl4pPr marL="514350" indent="-17145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1907558"/>
            <a:ext cx="3465576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2" name="Content Placeholder 4">
            <a:extLst>
              <a:ext uri="{FF2B5EF4-FFF2-40B4-BE49-F238E27FC236}">
                <a16:creationId xmlns:a16="http://schemas.microsoft.com/office/drawing/2014/main" id="{F96C995E-58E0-4A91-AA56-8759CFD3EA73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499" y="2787408"/>
            <a:ext cx="3467099" cy="3420333"/>
          </a:xfrm>
        </p:spPr>
        <p:txBody>
          <a:bodyPr/>
          <a:lstStyle>
            <a:lvl3pPr>
              <a:defRPr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071BF92C-4C07-4794-8CC8-D51F3173376C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0" y="1907558"/>
            <a:ext cx="3467099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4" name="Content Placeholder 4">
            <a:extLst>
              <a:ext uri="{FF2B5EF4-FFF2-40B4-BE49-F238E27FC236}">
                <a16:creationId xmlns:a16="http://schemas.microsoft.com/office/drawing/2014/main" id="{47F7CD6B-9884-4317-A0E7-31AE02F93993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0" y="2787408"/>
            <a:ext cx="3467100" cy="3420333"/>
          </a:xfrm>
        </p:spPr>
        <p:txBody>
          <a:bodyPr/>
          <a:lstStyle>
            <a:lvl3pPr marL="346075" indent="-171450">
              <a:buFont typeface="Arial" panose="020B0604020202020204" pitchFamily="34" charset="0"/>
              <a:buChar char="•"/>
              <a:defRPr/>
            </a:lvl3pPr>
            <a:lvl4pPr marL="512763" indent="-169863"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EECB8C3-35E8-4930-A0AE-3BA62609BFD9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8153400" y="1904999"/>
            <a:ext cx="3467100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9A2394E-0E95-4850-A756-0015178A4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50DAF14-F79F-48F1-BCFF-1EC74CF6ED79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DD45F0-2AB5-0863-0859-AA78FD6572B4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531772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9CE094B7-A2CC-4860-A57D-F142C2E63FC6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4041159"/>
            <a:ext cx="3465576" cy="2169141"/>
          </a:xfrm>
        </p:spPr>
        <p:txBody>
          <a:bodyPr/>
          <a:lstStyle>
            <a:lvl3pPr marL="346075" indent="-17145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E2DCECB4-BB48-48B5-A871-A080DE20BDFF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499" y="4041159"/>
            <a:ext cx="3467099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Content Placeholder 4">
            <a:extLst>
              <a:ext uri="{FF2B5EF4-FFF2-40B4-BE49-F238E27FC236}">
                <a16:creationId xmlns:a16="http://schemas.microsoft.com/office/drawing/2014/main" id="{868F585C-1E6D-44C6-9295-9866846056CD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0" y="4038600"/>
            <a:ext cx="3467100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A1EBBB-1490-4A58-9FEB-3DAB9E66019A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577124" y="3429000"/>
            <a:ext cx="3465576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6C65CC39-4D00-45CB-AE15-8C3D3E976756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0" y="3429000"/>
            <a:ext cx="3467099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9291D51-BC1A-4ED4-8278-30B67F7C4AA7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8153400" y="3426441"/>
            <a:ext cx="3467100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94344F4-D05A-E24F-A679-CB39B058D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1084CAD-AB1E-47FC-A2EF-2D347CCE071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5B2099-9F82-31FB-3A0E-432D20F28750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880122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C21223BB-13C2-46FE-9733-BCC3C77A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2102BF9D-05AF-4C40-AEC2-376EE9F4E666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577124" y="4041159"/>
            <a:ext cx="2514600" cy="2169141"/>
          </a:xfrm>
        </p:spPr>
        <p:txBody>
          <a:bodyPr/>
          <a:lstStyle>
            <a:lvl3pPr>
              <a:defRPr/>
            </a:lvl3pPr>
            <a:lvl4pPr marL="342900" indent="0">
              <a:buNone/>
              <a:defRPr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F548FAB6-7AFF-4D5A-A1E9-06C746623E4C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429001" y="4041159"/>
            <a:ext cx="2510730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FB91503-30B7-4FD7-846E-47F4CF9F474A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6244532" y="4041159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E14F77AB-427A-46FA-9A58-62890F9733C1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9088316" y="4041159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72B32549-6990-4E43-A843-9EEA9CC29CF0}"/>
              </a:ext>
            </a:extLst>
          </p:cNvPr>
          <p:cNvSpPr>
            <a:spLocks noGrp="1"/>
          </p:cNvSpPr>
          <p:nvPr>
            <p:ph type="body" sz="half" idx="77" hasCustomPrompt="1"/>
          </p:nvPr>
        </p:nvSpPr>
        <p:spPr>
          <a:xfrm>
            <a:off x="577124" y="3429000"/>
            <a:ext cx="25146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A54DA02-E155-45D5-B886-1EDF7135C93F}"/>
              </a:ext>
            </a:extLst>
          </p:cNvPr>
          <p:cNvSpPr>
            <a:spLocks noGrp="1"/>
          </p:cNvSpPr>
          <p:nvPr>
            <p:ph type="body" sz="half" idx="78" hasCustomPrompt="1"/>
          </p:nvPr>
        </p:nvSpPr>
        <p:spPr>
          <a:xfrm>
            <a:off x="3429001" y="3429000"/>
            <a:ext cx="2514599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EC4E001-5A82-4221-8FE3-9B25D98B0EA9}"/>
              </a:ext>
            </a:extLst>
          </p:cNvPr>
          <p:cNvSpPr>
            <a:spLocks noGrp="1"/>
          </p:cNvSpPr>
          <p:nvPr>
            <p:ph type="body" sz="half" idx="79" hasCustomPrompt="1"/>
          </p:nvPr>
        </p:nvSpPr>
        <p:spPr>
          <a:xfrm>
            <a:off x="6244532" y="3426441"/>
            <a:ext cx="2511833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E779C7D-755B-428C-BB0F-6496238D6D83}"/>
              </a:ext>
            </a:extLst>
          </p:cNvPr>
          <p:cNvSpPr>
            <a:spLocks noGrp="1"/>
          </p:cNvSpPr>
          <p:nvPr>
            <p:ph type="body" sz="half" idx="80" hasCustomPrompt="1"/>
          </p:nvPr>
        </p:nvSpPr>
        <p:spPr>
          <a:xfrm>
            <a:off x="9088316" y="3426441"/>
            <a:ext cx="2511833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A758410-2F69-431F-99F7-B6259194CBFF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BD901DF-882B-E6F1-583B-A92B46C04BC7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022267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29000" y="0"/>
            <a:ext cx="8762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5309CA-3E25-47B8-99B6-670FE796BB9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971800"/>
            <a:ext cx="2552700" cy="3238500"/>
          </a:xfrm>
        </p:spPr>
        <p:txBody>
          <a:bodyPr/>
          <a:lstStyle>
            <a:lvl3pPr marL="346075" indent="-17145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8B3BBBD-95D5-473C-B5AA-4C86DA04A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2552700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29692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872">
          <p15:clr>
            <a:srgbClr val="A4A3A4"/>
          </p15:clr>
        </p15:guide>
        <p15:guide id="3" orient="horz" pos="1680">
          <p15:clr>
            <a:srgbClr val="A4A3A4"/>
          </p15:clr>
        </p15:guide>
      </p15:sldGuideLst>
    </p:ext>
  </p:extLst>
</p:sldLayout>
</file>

<file path=ppt/slideLayouts/slideLayout10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76700" y="609600"/>
            <a:ext cx="75438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4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E0708104-F9EC-4157-95F0-FA326192EA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609600"/>
            <a:ext cx="2857500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</a:t>
            </a:r>
            <a:br>
              <a:rPr lang="en-US"/>
            </a:br>
            <a:r>
              <a:rPr lang="en-US"/>
              <a:t>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B1B1C66-A921-41B1-B007-79881FEFA60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971800"/>
            <a:ext cx="2857500" cy="3238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C2511D1-1C83-4E3F-B853-447E699CCCF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A795F60-D099-89D1-8B91-085835DE45E7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598220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29000" y="0"/>
            <a:ext cx="8762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4891977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71499" y="5486401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8" y="3631820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8" y="3037396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F1A913C-478C-4159-AD61-19314F8B1D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2552699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259899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0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94026FE-B789-4F5D-805E-02B0631E7EC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8" y="4891977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0788797-0721-4FDF-B9A8-D8FD6A85E245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71498" y="5486401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0231F72B-DB93-439F-8D5C-3A98DBB9C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609600"/>
            <a:ext cx="5372099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042C4D8C-C05E-40DC-A5F1-D8E216530543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8" y="3631820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79DD178-20FD-4061-A4CF-ADAD80B00223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8" y="3037396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55C8534-6B0E-41CD-9706-61F591BFF126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390900" y="4891977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0DECDBD2-EF07-4EFE-81B0-67DD271A8E4A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390900" y="5486401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A005CF03-ABB1-4046-89FC-A41C9CAD1DE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3390899" y="3631820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49AEAAD6-2FA1-420B-BCE8-48233BD945BF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3390899" y="3037396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5683E64-96D0-6F9D-15BE-63612B206B69}"/>
              </a:ext>
            </a:extLst>
          </p:cNvPr>
          <p:cNvSpPr txBox="1"/>
          <p:nvPr/>
        </p:nvSpPr>
        <p:spPr>
          <a:xfrm>
            <a:off x="1847848" y="647064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289987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10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81500" y="609600"/>
            <a:ext cx="34671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</a:t>
            </a:r>
            <a:br>
              <a:rPr lang="en-US"/>
            </a:br>
            <a:r>
              <a:rPr lang="en-US"/>
              <a:t>photo here or click or tap </a:t>
            </a:r>
            <a:br>
              <a:rPr lang="en-US"/>
            </a:br>
            <a:r>
              <a:rPr lang="en-US"/>
              <a:t>icon 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80B26961-BE72-42FE-83E3-E9413C61E43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153400" y="609600"/>
            <a:ext cx="34671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</a:t>
            </a:r>
            <a:br>
              <a:rPr lang="en-US"/>
            </a:br>
            <a:r>
              <a:rPr lang="en-US"/>
              <a:t>photo here or click or tap </a:t>
            </a:r>
            <a:br>
              <a:rPr lang="en-US"/>
            </a:br>
            <a:r>
              <a:rPr lang="en-US"/>
              <a:t>icon 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7117EB1-347D-42E5-8273-C02EF79929C2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8" y="3276600"/>
            <a:ext cx="3505201" cy="29337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E1DC698-4F08-40A9-8E7D-20E5FF561A26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8" y="2057400"/>
            <a:ext cx="3505201" cy="1066800"/>
          </a:xfrm>
        </p:spPr>
        <p:txBody>
          <a:bodyPr wrap="square" anchor="b" anchorCtr="0">
            <a:noAutofit/>
          </a:bodyPr>
          <a:lstStyle>
            <a:lvl1pPr>
              <a:defRPr lang="en-US" sz="2000" dirty="0" smtClean="0"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D3E41E21-7547-4B83-8F53-91A26F07F5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3505201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6FBF98B-2A50-454A-BE00-7C981795572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7DEA1D3-A612-E05E-5A2B-8E93AD9B5D40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04507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0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6EE0FED-0F8F-1D4B-BDC6-134B0FE8D3AF}"/>
              </a:ext>
            </a:extLst>
          </p:cNvPr>
          <p:cNvSpPr/>
          <p:nvPr/>
        </p:nvSpPr>
        <p:spPr>
          <a:xfrm>
            <a:off x="3428999" y="0"/>
            <a:ext cx="8763001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00FA166-5D3F-4D89-9646-F16A985660E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25527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E9CD8F1-BCCB-4886-9A5C-6DBC2AED36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25527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8F119A-0C2E-4A56-861D-52501224E76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64421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488">
          <p15:clr>
            <a:srgbClr val="A4A3A4"/>
          </p15:clr>
        </p15:guide>
        <p15:guide id="3" orient="horz" pos="1584">
          <p15:clr>
            <a:srgbClr val="A4A3A4"/>
          </p15:clr>
        </p15:guide>
      </p15:sldGuideLst>
    </p:ext>
  </p:extLst>
</p:sldLayout>
</file>

<file path=ppt/slideLayouts/slideLayout10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97389CA-AA00-4146-B54D-B32C999B76FE}"/>
              </a:ext>
            </a:extLst>
          </p:cNvPr>
          <p:cNvSpPr/>
          <p:nvPr/>
        </p:nvSpPr>
        <p:spPr>
          <a:xfrm>
            <a:off x="4991100" y="0"/>
            <a:ext cx="72009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3852A25-25D6-4B6B-902F-93AEC433B73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38100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CC6C67FE-13C1-4F4C-8B7C-A596738753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38100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74ED29-7748-494F-852C-C675DE7124A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12CB196-F92C-F75A-C29C-4BEBAC86FD9D}"/>
              </a:ext>
            </a:extLst>
          </p:cNvPr>
          <p:cNvSpPr txBox="1"/>
          <p:nvPr/>
        </p:nvSpPr>
        <p:spPr>
          <a:xfrm>
            <a:off x="585216" y="6458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042946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BC7AE7-158D-4519-8464-722F5EF35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1" y="990600"/>
            <a:ext cx="10796588" cy="105568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324A219-BAAE-44FA-9F17-70A08A4E4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0F9371A-4233-460B-91A9-B91A8429B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631F93F1-F5D5-44EF-B435-0444DF40D6A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58696A-2388-495D-981D-050920BB5C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1" y="5698889"/>
            <a:ext cx="4993217" cy="585216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C009990-5F38-4F94-ABE2-44DA301BD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1" y="5698889"/>
            <a:ext cx="4993217" cy="585216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D01E734-4CA7-4CBD-A769-BCC20375564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8800" y="2870201"/>
            <a:ext cx="5029200" cy="2563284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E24BD1C9-BB6F-4B1A-B0AC-70FBFBAD0D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48400" y="2870201"/>
            <a:ext cx="5029200" cy="2563284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7E62B0A-EF1F-854D-A9F9-BF31256EA55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8842699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2441477-13D0-4DAF-BFCF-92EDFB2CE56C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2400"/>
          </a:p>
        </p:txBody>
      </p:sp>
      <p:pic>
        <p:nvPicPr>
          <p:cNvPr id="4" name="Picture 3" descr="Shape&#10;&#10;Description automatically generated">
            <a:extLst>
              <a:ext uri="{FF2B5EF4-FFF2-40B4-BE49-F238E27FC236}">
                <a16:creationId xmlns:a16="http://schemas.microsoft.com/office/drawing/2014/main" id="{9230B9B9-BCBD-4356-9BF1-AF8137B137B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360" t="7770" r="20142" b="9149"/>
          <a:stretch/>
        </p:blipFill>
        <p:spPr>
          <a:xfrm>
            <a:off x="3405576" y="0"/>
            <a:ext cx="8786424" cy="685800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857849" y="1427666"/>
            <a:ext cx="5830683" cy="3929236"/>
          </a:xfrm>
          <a:prstGeom prst="roundRect">
            <a:avLst>
              <a:gd name="adj" fmla="val 705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Autofit/>
          </a:bodyPr>
          <a:lstStyle>
            <a:lvl1pPr>
              <a:defRPr lang="en-US" sz="1824" kern="1200" dirty="0">
                <a:solidFill>
                  <a:schemeClr val="bg1"/>
                </a:solidFill>
              </a:defRPr>
            </a:lvl1pPr>
          </a:lstStyle>
          <a:p>
            <a:pPr marL="0" lvl="0" indent="0" algn="ctr" defTabSz="926349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0601"/>
            <a:ext cx="2658548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2652920" cy="3425840"/>
          </a:xfrm>
        </p:spPr>
        <p:txBody>
          <a:bodyPr>
            <a:noAutofit/>
          </a:bodyPr>
          <a:lstStyle>
            <a:lvl1pPr marL="228589" indent="-228589">
              <a:buFont typeface="Arial" panose="020B0604020202020204" pitchFamily="34" charset="0"/>
              <a:buChar char="•"/>
              <a:defRPr sz="1333"/>
            </a:lvl1pPr>
            <a:lvl2pPr>
              <a:defRPr sz="1067"/>
            </a:lvl2pPr>
            <a:lvl3pPr>
              <a:defRPr sz="800"/>
            </a:lvl3pPr>
            <a:lvl4pPr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3C7D3DC-2DC5-4057-B84E-B06E1CD75C2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1" y="339201"/>
            <a:ext cx="2743491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C15C4C3-36C5-465F-B4BF-6BEB428777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4" y="6390603"/>
            <a:ext cx="382947" cy="93184"/>
          </a:xfrm>
          <a:prstGeom prst="rect">
            <a:avLst/>
          </a:prstGeom>
        </p:spPr>
      </p:pic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A1FD2D83-81B0-4F92-BC25-92C64DA93F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6965094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5F55B17-88C3-D348-889E-49139B7173C6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C55F65A-E884-4545-813B-8B12A150F0E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47244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C7E4F0C-628A-4B9F-8B0B-ACF8C8FB35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47244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B4C80E-343D-4240-BC0E-A777164C587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714CDB1-F9FC-24C4-FFA5-8E35DA7FB43A}"/>
              </a:ext>
            </a:extLst>
          </p:cNvPr>
          <p:cNvSpPr txBox="1"/>
          <p:nvPr/>
        </p:nvSpPr>
        <p:spPr>
          <a:xfrm>
            <a:off x="1619250" y="646330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359647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wo Data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7848600" y="1905380"/>
            <a:ext cx="3771900" cy="1242697"/>
          </a:xfrm>
        </p:spPr>
        <p:txBody>
          <a:bodyPr/>
          <a:lstStyle>
            <a:lvl1pPr>
              <a:spcAft>
                <a:spcPts val="300"/>
              </a:spcAft>
              <a:defRPr sz="2400">
                <a:latin typeface="+mj-lt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7848600" y="1172402"/>
            <a:ext cx="3771900" cy="553998"/>
          </a:xfrm>
        </p:spPr>
        <p:txBody>
          <a:bodyPr wrap="square" anchor="t" anchorCtr="0">
            <a:spAutoFit/>
          </a:bodyPr>
          <a:lstStyle>
            <a:lvl1pPr>
              <a:defRPr sz="3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XX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E4E13D-43FB-4287-8055-FE35994AA77F}"/>
              </a:ext>
            </a:extLst>
          </p:cNvPr>
          <p:cNvCxnSpPr>
            <a:cxnSpLocks/>
          </p:cNvCxnSpPr>
          <p:nvPr/>
        </p:nvCxnSpPr>
        <p:spPr>
          <a:xfrm>
            <a:off x="7847932" y="1066800"/>
            <a:ext cx="3780167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F04E06-6C46-46FE-9956-F0E8ED6633DF}"/>
              </a:ext>
            </a:extLst>
          </p:cNvPr>
          <p:cNvCxnSpPr>
            <a:cxnSpLocks/>
          </p:cNvCxnSpPr>
          <p:nvPr/>
        </p:nvCxnSpPr>
        <p:spPr>
          <a:xfrm>
            <a:off x="7847932" y="3429000"/>
            <a:ext cx="3780167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BC8C455-2242-44E3-A715-51CE102AB98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53721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C222245D-C3A3-4396-926D-88ECBE5C8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53721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0676A19-4AB7-4E11-A8A8-87E09D920368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848600" y="4276402"/>
            <a:ext cx="3771900" cy="1242697"/>
          </a:xfrm>
        </p:spPr>
        <p:txBody>
          <a:bodyPr/>
          <a:lstStyle>
            <a:lvl1pPr>
              <a:spcAft>
                <a:spcPts val="300"/>
              </a:spcAft>
              <a:defRPr sz="2400">
                <a:latin typeface="+mj-lt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05020DF-F1F5-4BD5-B207-F94988F4F455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848600" y="3543424"/>
            <a:ext cx="37719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A0EEA72-5966-4ADA-9370-9330195584D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ECD9AB7-97A8-BF4A-A28E-76ABE593CDE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687423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Four Data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067269" y="3539749"/>
            <a:ext cx="2551216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9067184" y="4298127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9067800" y="1778380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067800" y="1020002"/>
            <a:ext cx="25527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E4E13D-43FB-4287-8055-FE35994AA77F}"/>
              </a:ext>
            </a:extLst>
          </p:cNvPr>
          <p:cNvCxnSpPr>
            <a:cxnSpLocks/>
          </p:cNvCxnSpPr>
          <p:nvPr/>
        </p:nvCxnSpPr>
        <p:spPr>
          <a:xfrm>
            <a:off x="9069804" y="9144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F04E06-6C46-46FE-9956-F0E8ED6633DF}"/>
              </a:ext>
            </a:extLst>
          </p:cNvPr>
          <p:cNvCxnSpPr>
            <a:cxnSpLocks/>
          </p:cNvCxnSpPr>
          <p:nvPr/>
        </p:nvCxnSpPr>
        <p:spPr>
          <a:xfrm>
            <a:off x="9069804" y="342899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13425D7-1452-4F87-AE64-7C2F048C2469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248485" y="3539749"/>
            <a:ext cx="2551216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806E283-8E77-44C1-84BC-00B971D42EBD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248400" y="4298127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BDD5CD07-CCF1-451E-8B13-2BE3821C220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249016" y="1778385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sz="1600">
                <a:latin typeface="+mj-lt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DD3D7F-C0BF-415A-9378-D8759CED06B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9016" y="1020002"/>
            <a:ext cx="25527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B67A14D-E25C-4D75-8D2E-0D450CE9656D}"/>
              </a:ext>
            </a:extLst>
          </p:cNvPr>
          <p:cNvCxnSpPr>
            <a:cxnSpLocks/>
          </p:cNvCxnSpPr>
          <p:nvPr/>
        </p:nvCxnSpPr>
        <p:spPr>
          <a:xfrm>
            <a:off x="6251020" y="91440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9FFCD6B-6781-45B9-A0FF-441B99A220B5}"/>
              </a:ext>
            </a:extLst>
          </p:cNvPr>
          <p:cNvCxnSpPr>
            <a:cxnSpLocks/>
          </p:cNvCxnSpPr>
          <p:nvPr/>
        </p:nvCxnSpPr>
        <p:spPr>
          <a:xfrm>
            <a:off x="6251020" y="34290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8EBC35A6-C3F6-4CAA-B6FE-77A0C0F6904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53721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367F26D2-980E-498C-9B01-AEF3F1821C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53721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1DE9A97B-CB1E-4FA3-9806-5D1E1D446DEE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BACA019-2B56-3264-4A3B-A1E2A085FFF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351703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C865750-8F0C-6B4A-A308-228D6B53EE0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254B061-C071-4247-8356-D55F1F50C5D6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8E7470-A9D2-4756-B67E-9B25728B0E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7E1B09A-7737-4F73-8857-1144D4CA24F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CE9F515-E6F6-269C-5B0E-148942CFF2C8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034241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9BFEE4A-F2C6-4F21-8071-313D1B3C613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361C734-A636-4E0E-A708-B9C530351863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DDA5770-9471-B746-BDC8-3306A09120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2453D8B-1785-4D30-B87D-91AEE8A23A9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6337E22-83BC-BFD2-2916-1AA2793E40FF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668941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1486C46-F4F9-421A-A39F-3E52A938244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BE82382-DE4E-4A48-A33B-C56A93877509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FAB8C5-AE86-9F4C-A87D-A5551D4E663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40A3314-D7F9-4E72-B2F7-E008E985900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3163D0F-71E4-2E65-716E-221F098D2F5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266082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2B69982-B253-4DE6-9C5E-FB93C3A27F4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22572" y="4880809"/>
            <a:ext cx="6145427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lang="en-US" sz="1400" b="0" i="0" kern="0" spc="0" baseline="0" dirty="0">
                <a:solidFill>
                  <a:schemeClr val="tx1"/>
                </a:solidFill>
                <a:latin typeface="CiscoSansTT Medium" panose="020B0903020201020303" pitchFamily="34" charset="0"/>
                <a:ea typeface="+mn-ea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Insert name her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46ED238B-31FF-436C-9838-14BADBEE1071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3429000" y="4648200"/>
            <a:ext cx="952500" cy="952500"/>
          </a:xfrm>
          <a:prstGeom prst="ellipse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67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13AA95C-29B9-4045-B598-AA928D1B9666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4522572" y="5225969"/>
            <a:ext cx="6145427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lang="en-US" sz="12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Job title, company, location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FB38577-29E6-6546-851F-B5859A13FFB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C6E4486-5C09-4179-B8AA-BE5DFD4AA98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4B90DA7-DCC4-9BB4-346C-4753AEF2821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27927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lor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D938136-20C6-401D-BA2C-F3CC96E9757F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57B65B0-E854-2430-9599-E4D5718E681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699912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or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0FB953B-93BA-45FD-AD0D-5A607DEF5ABD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5A0A4F74-0B2F-3D4F-E0DB-9D872A1DE999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018724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or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348D590-B05C-4613-AFD1-D65C0ED502C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3083442-66E2-984F-0690-E75AA9D9D50B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754567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compu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205681A-15F4-4542-8501-C515AC30D1BA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2400"/>
          </a:p>
        </p:txBody>
      </p:sp>
      <p:pic>
        <p:nvPicPr>
          <p:cNvPr id="7" name="Picture 6" descr="Shape&#10;&#10;Description automatically generated">
            <a:extLst>
              <a:ext uri="{FF2B5EF4-FFF2-40B4-BE49-F238E27FC236}">
                <a16:creationId xmlns:a16="http://schemas.microsoft.com/office/drawing/2014/main" id="{7C31CFF2-9CE4-4C8C-B374-53D157BB711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415" t="1786" r="13313" b="5272"/>
          <a:stretch/>
        </p:blipFill>
        <p:spPr>
          <a:xfrm>
            <a:off x="3405576" y="-1"/>
            <a:ext cx="8786424" cy="6858001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876199" y="1233574"/>
            <a:ext cx="5787064" cy="3876959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Autofit/>
          </a:bodyPr>
          <a:lstStyle>
            <a:lvl1pPr>
              <a:defRPr lang="en-US" sz="1824" kern="1200" dirty="0">
                <a:solidFill>
                  <a:schemeClr val="bg1"/>
                </a:solidFill>
              </a:defRPr>
            </a:lvl1pPr>
          </a:lstStyle>
          <a:p>
            <a:pPr marL="0" lvl="0" indent="0" algn="ctr" defTabSz="926349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0601"/>
            <a:ext cx="2658548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2652920" cy="3425840"/>
          </a:xfrm>
        </p:spPr>
        <p:txBody>
          <a:bodyPr>
            <a:noAutofit/>
          </a:bodyPr>
          <a:lstStyle>
            <a:lvl1pPr marL="228589" indent="-228589">
              <a:buFont typeface="Arial" panose="020B0604020202020204" pitchFamily="34" charset="0"/>
              <a:buChar char="•"/>
              <a:defRPr sz="1333"/>
            </a:lvl1pPr>
            <a:lvl2pPr>
              <a:defRPr sz="1067"/>
            </a:lvl2pPr>
            <a:lvl3pPr>
              <a:defRPr sz="800"/>
            </a:lvl3pPr>
            <a:lvl4pPr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8B830AC-8012-4125-8901-3EA856DB354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2" y="339201"/>
            <a:ext cx="2736524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455A85-3BAA-4504-A757-E35C45FC3E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4" y="6390603"/>
            <a:ext cx="382947" cy="93184"/>
          </a:xfrm>
          <a:prstGeom prst="rect">
            <a:avLst/>
          </a:prstGeom>
        </p:spPr>
      </p:pic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734BE57E-606B-4977-A535-DBC83B7104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226443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5" y="6431691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92773B-7150-44D2-AFDB-DE60A8A0F625}"/>
              </a:ext>
            </a:extLst>
          </p:cNvPr>
          <p:cNvSpPr/>
          <p:nvPr/>
        </p:nvSpPr>
        <p:spPr>
          <a:xfrm>
            <a:off x="304800" y="6414273"/>
            <a:ext cx="2819400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BEBFBF78-0E90-472B-B2BB-48C8ECC385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39585" y="2209800"/>
            <a:ext cx="2912830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179453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5" y="6431691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B8EB6A92-1A18-4242-B37B-061D783A1E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33353" y="6061498"/>
            <a:ext cx="1633196" cy="49932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79071DA-63B2-46A2-892F-B272FF3B2408}"/>
              </a:ext>
            </a:extLst>
          </p:cNvPr>
          <p:cNvSpPr/>
          <p:nvPr/>
        </p:nvSpPr>
        <p:spPr>
          <a:xfrm>
            <a:off x="525451" y="6410479"/>
            <a:ext cx="503249" cy="1503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C4638AC6-6E62-C14E-C769-6069DBD991C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856075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Midnigh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4C42D79D-196D-79B2-C9D9-9E420F6F73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8011" y="3200817"/>
            <a:ext cx="10962553" cy="1504200"/>
          </a:xfrm>
          <a:prstGeom prst="rect">
            <a:avLst/>
          </a:prstGeom>
          <a:noFill/>
        </p:spPr>
        <p:txBody>
          <a:bodyPr lIns="0" tIns="0" rIns="0" bIns="0"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400" b="0" i="0" spc="0" baseline="0">
                <a:solidFill>
                  <a:schemeClr val="bg1"/>
                </a:solidFill>
                <a:latin typeface="CiscoSansTT ExtraLight" panose="020B0303020201020303" pitchFamily="34" charset="0"/>
                <a:cs typeface="CiscoSansTT ExtraLight"/>
              </a:defRPr>
            </a:lvl1pPr>
          </a:lstStyle>
          <a:p>
            <a:r>
              <a:rPr lang="en-GB"/>
              <a:t>Presenta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8D946DB3-26D2-2EE1-728C-7D32C4930F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8011" y="4807254"/>
            <a:ext cx="10962553" cy="398668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l"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406371" indent="0">
              <a:buNone/>
              <a:defRPr/>
            </a:lvl2pPr>
            <a:lvl3pPr marL="569863" indent="0">
              <a:buNone/>
              <a:defRPr/>
            </a:lvl3pPr>
            <a:lvl4pPr marL="688920" indent="0">
              <a:buNone/>
              <a:defRPr/>
            </a:lvl4pPr>
            <a:lvl5pPr marL="801621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07CA8F8-C47B-50F4-9C65-C46111F86B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8011" y="5314225"/>
            <a:ext cx="10962553" cy="807177"/>
          </a:xfrm>
          <a:prstGeom prst="rect">
            <a:avLst/>
          </a:prstGeom>
          <a:noFill/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  <a:defRPr sz="1300" b="0" i="0">
                <a:solidFill>
                  <a:schemeClr val="tx1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457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, Speaker title </a:t>
            </a:r>
            <a:br>
              <a:rPr lang="en-GB"/>
            </a:br>
            <a:r>
              <a:rPr lang="en-GB"/>
              <a:t>Department</a:t>
            </a:r>
          </a:p>
          <a:p>
            <a:r>
              <a:rPr lang="en-GB"/>
              <a:t>Date</a:t>
            </a:r>
            <a:endParaRPr lang="en-US"/>
          </a:p>
        </p:txBody>
      </p:sp>
      <p:pic>
        <p:nvPicPr>
          <p:cNvPr id="25" name="Picture 7">
            <a:extLst>
              <a:ext uri="{FF2B5EF4-FFF2-40B4-BE49-F238E27FC236}">
                <a16:creationId xmlns:a16="http://schemas.microsoft.com/office/drawing/2014/main" id="{C5A29C15-48D7-6644-9164-6F819B3D7D8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09602" y="431800"/>
            <a:ext cx="714359" cy="37534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71B54770-F62B-1E79-374B-1F3FEF7BD487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087750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03D5E998-E8C1-71E7-456F-382F87F4235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111694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1199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775" indent="-156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6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137" indent="-152362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399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499" indent="-152362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89861" indent="-152362">
              <a:buClr>
                <a:schemeClr val="tx1"/>
              </a:buClr>
              <a:buSzPct val="60000"/>
              <a:buFont typeface="Arial"/>
              <a:buChar char="•"/>
              <a:defRPr sz="1866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223" indent="-152362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41155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775" indent="-156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6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137" indent="-152362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399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499" indent="-152362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89861" indent="-152362">
              <a:buClr>
                <a:schemeClr val="tx1"/>
              </a:buClr>
              <a:buSzPct val="60000"/>
              <a:buFont typeface="Arial"/>
              <a:buChar char="•"/>
              <a:defRPr sz="1866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223" indent="-152362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74654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564E15E-85C2-40F1-B654-E42DCFBA1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 marL="0" indent="0">
              <a:buNone/>
              <a:defRPr sz="1400"/>
            </a:lvl2pPr>
            <a:lvl3pPr marL="228600" indent="0">
              <a:buNone/>
              <a:defRPr sz="1200"/>
            </a:lvl3pPr>
            <a:lvl4pPr marL="406400" indent="0"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30370F4-DF08-4B4A-A3BB-EB8905622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1E1701B-4C10-476A-8FDF-6089699136E1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A23C2995-F6D4-9758-2BB2-32F1B799647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AB757C2-9433-EE33-9AEC-9B7D396D62D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53606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160200" y="6507857"/>
            <a:ext cx="479555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800" kern="1200" smtClean="0">
                <a:solidFill>
                  <a:schemeClr val="tx1"/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B5FA396-B4AF-E342-FC11-61B4FC56EF39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359788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4869789"/>
            <a:ext cx="7277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1500" y="5248892"/>
            <a:ext cx="72771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790701"/>
            <a:ext cx="7277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0" y="3431817"/>
            <a:ext cx="7277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0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C213C3D1-EB09-4146-8395-36A5B8D30F2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00053" y="6133088"/>
            <a:ext cx="1366496" cy="41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3098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lf &amp; Half Title Slide Dark Layout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4869789"/>
            <a:ext cx="5372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1500" y="5248892"/>
            <a:ext cx="53721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790701"/>
            <a:ext cx="5372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0" y="3431817"/>
            <a:ext cx="5372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0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73A75F9-B823-4C33-BC6A-70650FACD3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48400" y="0"/>
            <a:ext cx="5943600" cy="6858000"/>
          </a:xfrm>
          <a:noFill/>
        </p:spPr>
        <p:txBody>
          <a:bodyPr anchor="ctr" anchorCtr="0"/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4377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ive Topics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3721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213C59-7880-41D1-9DE5-B53FA71B4F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48400" y="609600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0BD0D78-FA9C-47FE-A8C5-A942C1A9A1E0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080810" y="609600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4D1B0561-72B3-4A7C-9434-B0EDE523688D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080810" y="1037804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FB88D30E-5998-42C2-BFDA-6C6AA1F33F7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48400" y="164719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6D18BF23-F279-48A8-8AFF-AC70F73F091E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7080810" y="1647193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8445664B-F9E1-4D1D-9F6E-DA27AF43C21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7080810" y="2075397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31F0F46D-89DF-46CA-934B-C124727D937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48400" y="2684788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8BB0DD2A-742F-4019-B2A6-6AC6CF3BEEA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080810" y="2684787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4D48E93A-11A3-45A0-961F-26062021432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080810" y="3112991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365D378F-8BFE-41E2-A048-4F1E113B408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48400" y="3722381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4681FE84-1510-4206-91AF-B290EF3C0E1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7080810" y="3722381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58EB90C9-03A7-449D-A8F3-B379B319950E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7080810" y="4150585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E3E332E3-41A2-4350-A7FE-20CB379706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0" y="475997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948A5A7B-49E0-4CF2-8080-E002145F2FF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10" y="4759974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B8F46644-76D3-4C51-9163-739A1F5F7650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10" y="5188178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7D1C11A-12D9-461B-A255-03DBC65A944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EA8191E0-49D0-4036-B896-597B5FEF138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7775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1E636F5-6A4B-4828-9183-C8400F5ABCF5}"/>
              </a:ext>
            </a:extLst>
          </p:cNvPr>
          <p:cNvSpPr/>
          <p:nvPr/>
        </p:nvSpPr>
        <p:spPr>
          <a:xfrm>
            <a:off x="5057940" y="0"/>
            <a:ext cx="7134061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2400"/>
          </a:p>
        </p:txBody>
      </p:sp>
      <p:pic>
        <p:nvPicPr>
          <p:cNvPr id="4" name="Picture 3" descr="Shape&#10;&#10;Description automatically generated with low confidence">
            <a:extLst>
              <a:ext uri="{FF2B5EF4-FFF2-40B4-BE49-F238E27FC236}">
                <a16:creationId xmlns:a16="http://schemas.microsoft.com/office/drawing/2014/main" id="{6B69FA11-F1E1-4B33-8E32-5B46A1FDAB9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233" t="7036" r="21762" b="5471"/>
          <a:stretch/>
        </p:blipFill>
        <p:spPr>
          <a:xfrm>
            <a:off x="5057940" y="1"/>
            <a:ext cx="7134061" cy="685800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707733" y="808589"/>
            <a:ext cx="3834479" cy="5078947"/>
          </a:xfrm>
          <a:prstGeom prst="roundRect">
            <a:avLst>
              <a:gd name="adj" fmla="val 3419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Autofit/>
          </a:bodyPr>
          <a:lstStyle>
            <a:lvl1pPr>
              <a:defRPr lang="en-US" sz="1824" kern="1200" dirty="0">
                <a:solidFill>
                  <a:schemeClr val="bg1"/>
                </a:solidFill>
              </a:defRPr>
            </a:lvl1pPr>
          </a:lstStyle>
          <a:p>
            <a:pPr marL="0" lvl="0" indent="0" algn="ctr" defTabSz="926349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0601"/>
            <a:ext cx="4127796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4122168" cy="3425840"/>
          </a:xfrm>
        </p:spPr>
        <p:txBody>
          <a:bodyPr>
            <a:noAutofit/>
          </a:bodyPr>
          <a:lstStyle>
            <a:lvl1pPr marL="228589" indent="-228589">
              <a:buFont typeface="Arial" panose="020B0604020202020204" pitchFamily="34" charset="0"/>
              <a:buChar char="•"/>
              <a:defRPr sz="1333"/>
            </a:lvl1pPr>
            <a:lvl2pPr>
              <a:defRPr sz="1067"/>
            </a:lvl2pPr>
            <a:lvl3pPr>
              <a:defRPr sz="800"/>
            </a:lvl3pPr>
            <a:lvl4pPr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424E698-4494-46F3-8F20-9F3B17235C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2" y="339201"/>
            <a:ext cx="43389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8AF7E76-8209-411A-B757-C8624EF0A9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4" y="6390603"/>
            <a:ext cx="382947" cy="93184"/>
          </a:xfrm>
          <a:prstGeom prst="rect">
            <a:avLst/>
          </a:prstGeom>
        </p:spPr>
      </p:pic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8E5B2ECF-4C99-4006-811B-9D446CFDFF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608843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Ten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3721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2875B737-D8C9-4B5A-A987-E648592F8AB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71500" y="2437942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1BC899D-37C3-4568-A4DF-0B0EDE20DC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403910" y="243794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B5D11EE-1D55-4041-81BF-2D405343AEB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1403910" y="286614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78F2AB5-8A22-4344-B743-464793BF69F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71500" y="327862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2A1D5CE-6473-44B2-BC10-1AC73E1B795C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403910" y="327862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D8A733FF-648D-413A-A965-9380FF19EB3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403910" y="370682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C4EAFF18-13A5-4454-9A4E-50C9683A086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71500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3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5CFB554-4FA5-44FE-AD9D-94ADB8A1596B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403910" y="4118817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E82D60C9-C7E6-4DE4-8E8B-9A9D85E509A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1403910" y="4547021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1C81A21-CB5C-4EBA-AA54-D73A670B36B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71500" y="4959740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4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3D704AA8-F2E6-4E6E-BA0F-C73614C721D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1403910" y="4959740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66AE59D2-11F7-416C-B366-F23200F2C468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403910" y="5387944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898C6801-7507-4803-A711-42CEC857E56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0" y="243794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5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7589C976-7FFB-4218-BF7E-1F78F2A1F02C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10" y="243794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0F3DDABD-EE25-49C3-9A53-2657DAD77A8C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10" y="286614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17167DB7-5308-42DC-AEE9-AAED2ED164D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248400" y="327862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6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620B5D7B-672A-4FB9-9717-E785586DA30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7080810" y="327862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E23B210E-5C88-4516-A864-36247F88D733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7080810" y="370682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37DB0FAF-76DD-43D1-B897-9417F5B3AB7B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48400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7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B0C7BE68-E1A9-48A3-8ADD-8FDB96C02A40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7080810" y="4118817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5195D37A-ED4A-4E1F-A476-81831613075B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080810" y="4547021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62FE476F-78D3-4BBD-ADB0-A014E40BC384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48400" y="4959740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8</a:t>
            </a:r>
          </a:p>
        </p:txBody>
      </p:sp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D42D2D51-155D-4C35-BC5F-B8F1C46DC335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7080810" y="4959740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EBF4B885-D002-47D6-8922-12B72E21CACE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7080810" y="5387944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0EEB412-0CE0-4F00-8756-0957743AE431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2DB28A58-94F9-401A-ADF6-47C90FEA956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802535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696DE5-6EFF-4C09-9943-5FCA93FF6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011A5B07-96E9-42C8-81C4-56D26550D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4FE852-4660-4623-83C0-2F7C9B6EDB27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CCC6C03-EF21-44ED-8593-CDA31C61E8DD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00412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564E15E-85C2-40F1-B654-E42DCFBA1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 marL="0" indent="0">
              <a:buNone/>
              <a:defRPr sz="1400"/>
            </a:lvl2pPr>
            <a:lvl3pPr marL="228600" indent="0">
              <a:buNone/>
              <a:defRPr sz="1200"/>
            </a:lvl3pPr>
            <a:lvl4pPr marL="406400" indent="0"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30370F4-DF08-4B4A-A3BB-EB8905622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3BE238-C084-4FBF-86DF-59C91AF8317F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1E1701B-4C10-476A-8FDF-6089699136E1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26633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E1C715D-9112-4A01-AD63-361439BFB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A02B8EA-12A2-4673-BF3F-8D4FB8234D2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16084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8EE2313-2646-4E0B-B6B4-BA07574D2F8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572B255-D144-453C-90FA-BB07F680CF0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D9DF569-2B30-EE4C-8D21-F21B97793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C61E8BE-7C30-466D-96E8-145E0409391E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83074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7C7D94ED-0F39-4B30-8B40-B8D535783A5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CE85B47-180E-0542-8A98-FABBBFB2A6D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265EAF99-811E-0A42-AD86-6F1F07B547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BC72363-F3A6-5E44-AD40-7647C83973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 marL="174625" indent="-174625">
              <a:defRPr sz="1400"/>
            </a:lvl2pPr>
            <a:lvl3pPr marL="346075" indent="-171450"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A216F31-D19E-4174-ACB7-CAFBD6AE68A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40068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49195570-1534-4F74-B303-B06313C227F6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66674A7-0DAD-C54D-BB6A-AB4B6F3D1CF2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48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4BFEFE0-97D7-B240-BC88-FC22052279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82028C6-D96F-A145-862B-ED80E5C5EF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600"/>
            </a:lvl1pPr>
            <a:lvl2pPr marL="0" indent="0">
              <a:buFontTx/>
              <a:buNone/>
              <a:defRPr sz="1400"/>
            </a:lvl2pPr>
            <a:lvl3pPr marL="228600" indent="0">
              <a:buFontTx/>
              <a:buNone/>
              <a:defRPr sz="1200"/>
            </a:lvl3pPr>
            <a:lvl4pPr marL="406400" indent="0">
              <a:buFontTx/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A8F312C-C046-4076-8AB0-7EBEDB95055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65958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8C469D-456E-4ECF-83FA-AF1F3BDB26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500" y="1905000"/>
            <a:ext cx="5372100" cy="4305301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8E86-A92A-495E-A49E-35F25D765A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1905000"/>
            <a:ext cx="5372100" cy="4305302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512763" indent="-169863"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  <a:lvl5pPr marL="746125" indent="-174625">
              <a:defRPr lang="en-US" sz="600" b="0" i="0" kern="1200" spc="0" baseline="0" dirty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274A685-F33F-448C-B6FE-AB508BA75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DAB2D8-1539-4822-9614-2E04B2120F5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9306D53-D47B-4F16-A012-78C12883E1D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24238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, Title &amp;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DC1BA0-9AAE-4457-AB7A-2225418D1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2663" y="1905000"/>
            <a:ext cx="5372100" cy="30777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87F35FC-680E-4287-99BA-ED6DF9E6085D}"/>
              </a:ext>
            </a:extLst>
          </p:cNvPr>
          <p:cNvSpPr>
            <a:spLocks noGrp="1"/>
          </p:cNvSpPr>
          <p:nvPr>
            <p:ph type="body" idx="57"/>
          </p:nvPr>
        </p:nvSpPr>
        <p:spPr>
          <a:xfrm>
            <a:off x="6249563" y="1905000"/>
            <a:ext cx="5372100" cy="307777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E451DCD-2B8C-4BF9-8D85-AA8F5ABE2826}"/>
              </a:ext>
            </a:extLst>
          </p:cNvPr>
          <p:cNvSpPr>
            <a:spLocks noGrp="1"/>
          </p:cNvSpPr>
          <p:nvPr>
            <p:ph sz="half" idx="58"/>
          </p:nvPr>
        </p:nvSpPr>
        <p:spPr>
          <a:xfrm>
            <a:off x="571500" y="2369053"/>
            <a:ext cx="5372100" cy="3841249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F39D5E2-4E9E-4B26-9E69-7D77328E4C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2369052"/>
            <a:ext cx="5372100" cy="3841249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 marL="746125" indent="-174625">
              <a:defRPr lang="en-US" sz="600" b="0" i="0" kern="1200" spc="0" baseline="0" dirty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C2285B0-0824-4973-8F1D-C24F2784A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C254480-49EA-44F8-91E6-0FCF9F498DC6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D5DBBD6-CA78-4551-B263-2F8BFC4E781A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114867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58696A-2388-495D-981D-050920BB5C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5334000"/>
            <a:ext cx="5372099" cy="876300"/>
          </a:xfrm>
        </p:spPr>
        <p:txBody>
          <a:bodyPr>
            <a:noAutofit/>
          </a:bodyPr>
          <a:lstStyle>
            <a:lvl1pPr marL="0" indent="0">
              <a:buNone/>
              <a:tabLst/>
              <a:defRPr sz="16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C009990-5F38-4F94-ABE2-44DA301BD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0" y="5334000"/>
            <a:ext cx="5372099" cy="876300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D01E734-4CA7-4CBD-A769-BCC20375564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1500" y="1905000"/>
            <a:ext cx="5372100" cy="3271156"/>
          </a:xfrm>
          <a:solidFill>
            <a:schemeClr val="bg2"/>
          </a:solidFill>
        </p:spPr>
        <p:txBody>
          <a:bodyPr anchor="ctr" anchorCtr="0">
            <a:no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2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E24BD1C9-BB6F-4B1A-B0AC-70FBFBAD0DD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48400" y="1905000"/>
            <a:ext cx="5372100" cy="3271156"/>
          </a:xfrm>
          <a:solidFill>
            <a:schemeClr val="bg2"/>
          </a:solidFill>
        </p:spPr>
        <p:txBody>
          <a:bodyPr anchor="ctr" anchorCtr="0">
            <a:no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2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C3A3765-3130-474C-96F5-7E50AE68B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CEFB623-3BE4-41A5-AD7A-7D81E50E12F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840F6A6-3445-46E0-90CD-B778CB75CB3D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84268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EBBE46E-B9BB-40B1-95D6-649264D774C8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24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1"/>
            <a:ext cx="5034456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5029200" cy="3425840"/>
          </a:xfrm>
        </p:spPr>
        <p:txBody>
          <a:bodyPr>
            <a:noAutofit/>
          </a:bodyPr>
          <a:lstStyle>
            <a:lvl1pPr marL="228589" indent="-228589">
              <a:buFont typeface="Arial" panose="020B0604020202020204" pitchFamily="34" charset="0"/>
              <a:buChar char="•"/>
              <a:defRPr sz="1333"/>
            </a:lvl1pPr>
            <a:lvl2pPr>
              <a:defRPr sz="1067"/>
            </a:lvl2pPr>
            <a:lvl3pPr>
              <a:defRPr sz="800"/>
            </a:lvl3pPr>
            <a:lvl4pPr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048EA1C-81C8-41B0-B2DC-FB9CC18F813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514775F1-40EF-4939-89BC-5E25CD229E1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652" r="22652"/>
          <a:stretch/>
        </p:blipFill>
        <p:spPr>
          <a:xfrm>
            <a:off x="6096001" y="0"/>
            <a:ext cx="6096000" cy="685800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836363" y="606458"/>
            <a:ext cx="2615279" cy="5628519"/>
          </a:xfrm>
          <a:prstGeom prst="roundRect">
            <a:avLst>
              <a:gd name="adj" fmla="val 104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Autofit/>
          </a:bodyPr>
          <a:lstStyle>
            <a:lvl1pPr>
              <a:defRPr lang="en-US" sz="1824" kern="1200" dirty="0">
                <a:solidFill>
                  <a:schemeClr val="bg1"/>
                </a:solidFill>
              </a:defRPr>
            </a:lvl1pPr>
          </a:lstStyle>
          <a:p>
            <a:pPr marL="0" lvl="0" indent="0" algn="ctr" defTabSz="926349">
              <a:buNone/>
            </a:pPr>
            <a:r>
              <a:rPr lang="en-US"/>
              <a:t>Insert imag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91ECEB5-1B89-4D2E-9E59-533839F6095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4" y="6390603"/>
            <a:ext cx="382947" cy="93184"/>
          </a:xfrm>
          <a:prstGeom prst="rect">
            <a:avLst/>
          </a:prstGeom>
        </p:spPr>
      </p:pic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7F3FB011-CB8F-4F59-A86A-B06A9101E3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2641387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8C1C862-6F14-47C3-885D-12D6E1A99AA2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AD8007C-DE91-4E81-8041-976C5135CD04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01523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DDEF7496-FB76-482F-B4DC-5B78B30B1B0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054F9D6-4889-4D51-9ADF-D453DFF1E8E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905000"/>
            <a:ext cx="12192000" cy="43053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algn="ctr"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3476B1-5604-4136-9D0F-58F8AF89B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CDEE37D-020A-4A22-922F-31441A6C8745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10931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054F9D6-4889-4D51-9ADF-D453DFF1E8E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blipFill dpi="0" rotWithShape="1">
            <a:blip r:embed="rId2">
              <a:alphaModFix amt="2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DEF7496-FB76-482F-B4DC-5B78B30B1B0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96465F4-B55E-463E-9A4A-F93B1EE9FD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6807" y="6364637"/>
            <a:ext cx="503671" cy="221124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81D1E80-33EB-4E5D-9415-4B0EE02EBDF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83788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6734A84-A20E-4265-848D-432FAF49C4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2236BEA-8B84-4433-AC6E-DE816054A44B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76FF25-9CEA-4D73-9CD8-BCF0613C55EA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59480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4BE6003-571D-4817-A40A-6421214126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4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4156D67-C67F-41CF-BA17-0B2BFD535E2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92C7D0-4978-4D65-A39E-9CB076EFBCC3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614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10703F-CBA9-4296-B386-BA35019F8F44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79EE8F-1900-4C5E-A4C1-BB6BE90235E1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327316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D6DF483-DD51-444D-AF16-AF31E72FDD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514350" indent="-171450">
              <a:buFont typeface="Arial" panose="020B0604020202020204" pitchFamily="34" charset="0"/>
              <a:buChar char="•"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0BAC715-F543-452A-80B1-3A07B10B2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73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F48862-22C1-482F-B821-3D8CC682DAB1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524910-4FFE-49EA-99DE-65BFB724546B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56605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11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1E1BB935-C530-47D2-883E-00828E3A8FC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200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D970870-8847-48D6-ACCA-B0F7D662F2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 marL="514350" indent="-171450">
              <a:buFont typeface="Arial" panose="020B0604020202020204" pitchFamily="34" charset="0"/>
              <a:buChar char="•"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8CEBD18-98E9-4568-A90A-5715A834E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73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38F8A1A-3A97-4C8E-9550-2C62BC10A83F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03171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1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FEF2E81-694A-4A5A-BEDE-DF13285D820B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5E2598-51C8-4F83-B09D-69C86C142A3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1905000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737D39F-19A0-4D2A-8E85-527465AFD610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188208" y="1905000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4FE5E7B-ECDC-404D-9B30-E7B580CCEED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714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1CDB75F-12E1-4403-B291-31A3B1C83B0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1882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BA687946-9318-4CD5-B900-AA488A7BDA5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200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ECBF8DC3-DA3E-470B-AE86-6B154E24E3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73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312C61A-B9D3-456C-953D-82B30FE7C4A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27985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552">
          <p15:clr>
            <a:srgbClr val="A4A3A4"/>
          </p15:clr>
        </p15:guide>
        <p15:guide id="3" pos="4128">
          <p15:clr>
            <a:srgbClr val="A4A3A4"/>
          </p15:clr>
        </p15:guide>
        <p15:guide id="4" orient="horz" pos="1656">
          <p15:clr>
            <a:srgbClr val="A4A3A4"/>
          </p15:clr>
        </p15:guide>
        <p15:guide id="5" orient="horz" pos="1752">
          <p15:clr>
            <a:srgbClr val="A4A3A4"/>
          </p15:clr>
        </p15:guide>
      </p15:sldGuideLst>
    </p:ext>
  </p:extLst>
</p:sldLayout>
</file>

<file path=ppt/slideLayouts/slideLayout1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689F426-4C63-454D-B133-BC94D9D160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B15451E-AF4B-4B3A-B376-2003DB48C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912774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con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24644A4A-627D-4251-93AA-A2954900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2639207" cy="12700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A8E6EAB-22F0-4C89-85F8-D4D94992ED22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63904" y="2960400"/>
            <a:ext cx="2628477" cy="46860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E64A8B51-1A62-459A-8DD3-93B84E82D8DE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563904" y="4880033"/>
            <a:ext cx="2628477" cy="46860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B195F9B-18C2-43DD-8D28-DB82565A615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63903" y="3562115"/>
            <a:ext cx="2628476" cy="828268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33" dirty="0"/>
            </a:lvl2pPr>
          </a:lstStyle>
          <a:p>
            <a:pPr marL="302668" lvl="0" indent="-302668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68" lvl="1" indent="-302668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F88AC67-0FCF-4070-8745-F2172B2CACC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63903" y="5489883"/>
            <a:ext cx="2628476" cy="828268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33" dirty="0"/>
            </a:lvl2pPr>
          </a:lstStyle>
          <a:p>
            <a:pPr marL="302668" lvl="0" indent="-302668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68" lvl="1" indent="-302668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0695B177-CA0C-4E8C-A61A-DBFC0E3A7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444E932-C1FA-4694-B252-213CE981534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3904" y="2551177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49D67FC-44E3-4A0F-B284-2778CCA9C97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58800" y="45168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4FEE173B-1D21-4AB4-A421-1AB61B9F8D8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509" spc="-96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Insert imag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84F5CA4-EDBB-48D4-AAFB-EA7E85ACF64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2722589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F01439ED-29DA-4405-95E2-BA47702ECD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899155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9F1EE91-F457-4893-88BA-AF3B71081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490D2D3-F0B6-4527-A912-AE8F2F7E703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714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D27C7EF2-E1C7-403F-81BA-2822B0BADEE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1882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322DDD1-796F-4817-A0A2-B54629B89214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1905000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5075854-0A14-4136-BC79-1BC72756705A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188208" y="1905000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886047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552">
          <p15:clr>
            <a:srgbClr val="A4A3A4"/>
          </p15:clr>
        </p15:guide>
        <p15:guide id="2" pos="4152">
          <p15:clr>
            <a:srgbClr val="A4A3A4"/>
          </p15:clr>
        </p15:guide>
      </p15:sldGuideLst>
    </p:ext>
  </p:extLst>
</p:sldLayout>
</file>

<file path=ppt/slideLayouts/slideLayout1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AEEE0BE-B874-4CB1-92B1-404602B5CA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B74128E-BA5E-4242-8B4E-D1F742670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613D29C-0961-4A3D-8A56-1E1B5BC7445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1F61BA1-F848-4E08-8C07-5D6D5E6C0A8C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20800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1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C82BCFB0-2C06-4262-9388-B4438F4E968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68778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E96ABEA8-C693-429B-8E00-CBD848A92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1F330DC-3ED8-470C-84C4-C7D10A9020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8BD350E-1BA7-4789-8917-9D2180DC456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501673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1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2BE86DFA-31C3-4F24-A7FF-57697A0FEFD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68778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BA23DE7-CFFA-40A9-9A64-A60D8665455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553199" y="1910149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60001BE-2917-4768-B6B6-BEC070C85F3E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71232" y="1910149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F033B061-30E2-4203-B7D3-0E4FF6C4CC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4F90B59D-E2BD-42BC-B3BC-06F77504882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5531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8269256-DD80-4564-A3AF-D017D4A7ED5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1699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BB20381-4C93-463A-927C-0BB3E602CAA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8086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1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F60A532-8EEA-467C-8E7E-39CF1DB485A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6D3B650-5EC2-4F87-A7DF-85C7547613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4FB1BE2-EC71-4AA4-B103-A670DCD7AA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55836A8-05ED-470D-9C33-44AD1D4866F1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3844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1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F60A532-8EEA-467C-8E7E-39CF1DB485A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9A0B76E-2F1E-4BD6-AA72-3682A69C9C34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553199" y="1910149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5818B49-B6BC-412E-A21D-631A69222221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71232" y="1910149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442FDF7C-40C4-4C20-819D-D8B06F0E8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7B14163-B0FE-4287-968A-93DE8034681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5531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4927BC81-4C08-47F4-BA08-8F857CA477A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1699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E009170-4223-4B7A-A077-F74B3DE3688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581163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1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A305123-92F2-4B89-A355-7539327F08C3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1500" y="2787408"/>
            <a:ext cx="3465576" cy="3420333"/>
          </a:xfrm>
        </p:spPr>
        <p:txBody>
          <a:bodyPr/>
          <a:lstStyle>
            <a:lvl3pPr>
              <a:defRPr/>
            </a:lvl3pPr>
            <a:lvl4pPr marL="514350" indent="-17145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1907558"/>
            <a:ext cx="3465576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2" name="Content Placeholder 4">
            <a:extLst>
              <a:ext uri="{FF2B5EF4-FFF2-40B4-BE49-F238E27FC236}">
                <a16:creationId xmlns:a16="http://schemas.microsoft.com/office/drawing/2014/main" id="{F96C995E-58E0-4A91-AA56-8759CFD3EA73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499" y="2787408"/>
            <a:ext cx="3467099" cy="3420333"/>
          </a:xfrm>
        </p:spPr>
        <p:txBody>
          <a:bodyPr/>
          <a:lstStyle>
            <a:lvl3pPr>
              <a:defRPr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071BF92C-4C07-4794-8CC8-D51F3173376C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0" y="1907558"/>
            <a:ext cx="3467099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4" name="Content Placeholder 4">
            <a:extLst>
              <a:ext uri="{FF2B5EF4-FFF2-40B4-BE49-F238E27FC236}">
                <a16:creationId xmlns:a16="http://schemas.microsoft.com/office/drawing/2014/main" id="{47F7CD6B-9884-4317-A0E7-31AE02F93993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0" y="2787408"/>
            <a:ext cx="3467100" cy="3420333"/>
          </a:xfrm>
        </p:spPr>
        <p:txBody>
          <a:bodyPr/>
          <a:lstStyle>
            <a:lvl3pPr marL="346075" indent="-171450">
              <a:buFont typeface="Arial" panose="020B0604020202020204" pitchFamily="34" charset="0"/>
              <a:buChar char="•"/>
              <a:defRPr/>
            </a:lvl3pPr>
            <a:lvl4pPr marL="512763" indent="-169863"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EECB8C3-35E8-4930-A0AE-3BA62609BFD9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8153400" y="1904999"/>
            <a:ext cx="3467100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1D46A44-801A-40B4-8117-1D09F7B03348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9A2394E-0E95-4850-A756-0015178A4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50DAF14-F79F-48F1-BCFF-1EC74CF6ED79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7991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9CE094B7-A2CC-4860-A57D-F142C2E63FC6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4041159"/>
            <a:ext cx="3465576" cy="2169141"/>
          </a:xfrm>
        </p:spPr>
        <p:txBody>
          <a:bodyPr/>
          <a:lstStyle>
            <a:lvl3pPr marL="346075" indent="-17145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E2DCECB4-BB48-48B5-A871-A080DE20BDFF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499" y="4041159"/>
            <a:ext cx="3467099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Content Placeholder 4">
            <a:extLst>
              <a:ext uri="{FF2B5EF4-FFF2-40B4-BE49-F238E27FC236}">
                <a16:creationId xmlns:a16="http://schemas.microsoft.com/office/drawing/2014/main" id="{868F585C-1E6D-44C6-9295-9866846056CD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0" y="4038600"/>
            <a:ext cx="3467100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A1EBBB-1490-4A58-9FEB-3DAB9E66019A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577124" y="3429000"/>
            <a:ext cx="3465576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6C65CC39-4D00-45CB-AE15-8C3D3E976756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0" y="3429000"/>
            <a:ext cx="3467099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9291D51-BC1A-4ED4-8278-30B67F7C4AA7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8153400" y="3426441"/>
            <a:ext cx="3467100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42E7DBE-A450-4BC3-A3EC-3A1EE7839F6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94344F4-D05A-E24F-A679-CB39B058D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1084CAD-AB1E-47FC-A2EF-2D347CCE071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15510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8D3B3576-E092-44AC-9525-9DA3161E6EE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C21223BB-13C2-46FE-9733-BCC3C77A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2102BF9D-05AF-4C40-AEC2-376EE9F4E666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577124" y="4041159"/>
            <a:ext cx="2514600" cy="2169141"/>
          </a:xfrm>
        </p:spPr>
        <p:txBody>
          <a:bodyPr/>
          <a:lstStyle>
            <a:lvl3pPr>
              <a:defRPr/>
            </a:lvl3pPr>
            <a:lvl4pPr marL="342900" indent="0">
              <a:buNone/>
              <a:defRPr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F548FAB6-7AFF-4D5A-A1E9-06C746623E4C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429001" y="4041159"/>
            <a:ext cx="2510730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FB91503-30B7-4FD7-846E-47F4CF9F474A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6244532" y="4041159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E14F77AB-427A-46FA-9A58-62890F9733C1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9088316" y="4041159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72B32549-6990-4E43-A843-9EEA9CC29CF0}"/>
              </a:ext>
            </a:extLst>
          </p:cNvPr>
          <p:cNvSpPr>
            <a:spLocks noGrp="1"/>
          </p:cNvSpPr>
          <p:nvPr>
            <p:ph type="body" sz="half" idx="77" hasCustomPrompt="1"/>
          </p:nvPr>
        </p:nvSpPr>
        <p:spPr>
          <a:xfrm>
            <a:off x="577124" y="3429000"/>
            <a:ext cx="25146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A54DA02-E155-45D5-B886-1EDF7135C93F}"/>
              </a:ext>
            </a:extLst>
          </p:cNvPr>
          <p:cNvSpPr>
            <a:spLocks noGrp="1"/>
          </p:cNvSpPr>
          <p:nvPr>
            <p:ph type="body" sz="half" idx="78" hasCustomPrompt="1"/>
          </p:nvPr>
        </p:nvSpPr>
        <p:spPr>
          <a:xfrm>
            <a:off x="3429001" y="3429000"/>
            <a:ext cx="2514599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EC4E001-5A82-4221-8FE3-9B25D98B0EA9}"/>
              </a:ext>
            </a:extLst>
          </p:cNvPr>
          <p:cNvSpPr>
            <a:spLocks noGrp="1"/>
          </p:cNvSpPr>
          <p:nvPr>
            <p:ph type="body" sz="half" idx="79" hasCustomPrompt="1"/>
          </p:nvPr>
        </p:nvSpPr>
        <p:spPr>
          <a:xfrm>
            <a:off x="6244532" y="3426441"/>
            <a:ext cx="2511833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E779C7D-755B-428C-BB0F-6496238D6D83}"/>
              </a:ext>
            </a:extLst>
          </p:cNvPr>
          <p:cNvSpPr>
            <a:spLocks noGrp="1"/>
          </p:cNvSpPr>
          <p:nvPr>
            <p:ph type="body" sz="half" idx="80" hasCustomPrompt="1"/>
          </p:nvPr>
        </p:nvSpPr>
        <p:spPr>
          <a:xfrm>
            <a:off x="9088316" y="3426441"/>
            <a:ext cx="2511833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A758410-2F69-431F-99F7-B6259194CBFF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3234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29000" y="0"/>
            <a:ext cx="8762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5309CA-3E25-47B8-99B6-670FE796BB9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971800"/>
            <a:ext cx="2552700" cy="3238500"/>
          </a:xfrm>
        </p:spPr>
        <p:txBody>
          <a:bodyPr/>
          <a:lstStyle>
            <a:lvl3pPr marL="346075" indent="-17145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8B3BBBD-95D5-473C-B5AA-4C86DA04A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2552700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074A9E-3E44-8B47-A88F-5D9A8A1F15B7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31515986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872">
          <p15:clr>
            <a:srgbClr val="A4A3A4"/>
          </p15:clr>
        </p15:guide>
        <p15:guide id="3" orient="horz" pos="1680">
          <p15:clr>
            <a:srgbClr val="A4A3A4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C02DD20F-504D-C649-86C3-0A7F098F66D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110018" y="986529"/>
            <a:ext cx="3518084" cy="4999727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509" spc="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Insert imag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93DBED3D-CA03-E943-B119-9872641B21D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336957" y="986529"/>
            <a:ext cx="3503571" cy="4999727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509" spc="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Insert imag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B2924BE-0F83-44F9-8B78-9A892E025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3431871" cy="12700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7350F883-4CBA-438B-9F10-05CAA3763AF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2612574"/>
            <a:ext cx="3421387" cy="96404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spc="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9CBC7F64-D22B-46D6-976F-39473E94D2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A76585B6-D6AA-4B89-AF27-606CBEE93F5F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799" y="3776036"/>
            <a:ext cx="3426244" cy="2225208"/>
          </a:xfrm>
        </p:spPr>
        <p:txBody>
          <a:bodyPr>
            <a:noAutofit/>
          </a:bodyPr>
          <a:lstStyle>
            <a:lvl1pPr marL="228589" indent="-228589">
              <a:buFont typeface="Arial" panose="020B0604020202020204" pitchFamily="34" charset="0"/>
              <a:buChar char="•"/>
              <a:defRPr sz="1333" spc="0"/>
            </a:lvl1pPr>
            <a:lvl2pPr>
              <a:defRPr sz="1067" spc="0"/>
            </a:lvl2pPr>
            <a:lvl3pPr>
              <a:defRPr sz="800" spc="0"/>
            </a:lvl3pPr>
            <a:lvl4pPr>
              <a:defRPr sz="400" spc="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AF259D3-3646-418A-ACF1-144AE8A5AA6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161CFB47-5D97-455D-9076-8BE7CF7DCA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0955149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76700" y="609600"/>
            <a:ext cx="75438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4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336A642-95C4-40BE-AE95-D81502EF3AE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E0708104-F9EC-4157-95F0-FA326192EA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609600"/>
            <a:ext cx="2857500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</a:t>
            </a:r>
            <a:br>
              <a:rPr lang="en-US"/>
            </a:br>
            <a:r>
              <a:rPr lang="en-US"/>
              <a:t>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B1B1C66-A921-41B1-B007-79881FEFA60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971800"/>
            <a:ext cx="2857500" cy="3238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C2511D1-1C83-4E3F-B853-447E699CCCF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17252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29000" y="0"/>
            <a:ext cx="8762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4891977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71499" y="5486401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8" y="3631820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8" y="3037396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F1A913C-478C-4159-AD61-19314F8B1D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2552699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4859573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94026FE-B789-4F5D-805E-02B0631E7EC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8" y="4891977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0788797-0721-4FDF-B9A8-D8FD6A85E245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71498" y="5486401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0231F72B-DB93-439F-8D5C-3A98DBB9C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609600"/>
            <a:ext cx="5372099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042C4D8C-C05E-40DC-A5F1-D8E216530543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8" y="3631820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79DD178-20FD-4061-A4CF-ADAD80B00223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8" y="3037396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55C8534-6B0E-41CD-9706-61F591BFF126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390900" y="4891977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0DECDBD2-EF07-4EFE-81B0-67DD271A8E4A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390900" y="5486401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A005CF03-ABB1-4046-89FC-A41C9CAD1DE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3390899" y="3631820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49AEAAD6-2FA1-420B-BCE8-48233BD945BF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3390899" y="3037396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406041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1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81500" y="609600"/>
            <a:ext cx="34671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</a:t>
            </a:r>
            <a:br>
              <a:rPr lang="en-US"/>
            </a:br>
            <a:r>
              <a:rPr lang="en-US"/>
              <a:t>photo here or click or tap </a:t>
            </a:r>
            <a:br>
              <a:rPr lang="en-US"/>
            </a:br>
            <a:r>
              <a:rPr lang="en-US"/>
              <a:t>icon 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80B26961-BE72-42FE-83E3-E9413C61E43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153400" y="609600"/>
            <a:ext cx="34671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</a:t>
            </a:r>
            <a:br>
              <a:rPr lang="en-US"/>
            </a:br>
            <a:r>
              <a:rPr lang="en-US"/>
              <a:t>photo here or click or tap </a:t>
            </a:r>
            <a:br>
              <a:rPr lang="en-US"/>
            </a:br>
            <a:r>
              <a:rPr lang="en-US"/>
              <a:t>icon 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7117EB1-347D-42E5-8273-C02EF79929C2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8" y="3276600"/>
            <a:ext cx="3505201" cy="29337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E1DC698-4F08-40A9-8E7D-20E5FF561A26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8" y="2057400"/>
            <a:ext cx="3505201" cy="1066800"/>
          </a:xfrm>
        </p:spPr>
        <p:txBody>
          <a:bodyPr wrap="square" anchor="b" anchorCtr="0">
            <a:noAutofit/>
          </a:bodyPr>
          <a:lstStyle>
            <a:lvl1pPr>
              <a:defRPr lang="en-US" sz="2000" dirty="0" smtClean="0"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E0567A-A5F3-4C61-8B3C-08121E05DDC7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D3E41E21-7547-4B83-8F53-91A26F07F5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3505201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6FBF98B-2A50-454A-BE00-7C981795572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53036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6EE0FED-0F8F-1D4B-BDC6-134B0FE8D3AF}"/>
              </a:ext>
            </a:extLst>
          </p:cNvPr>
          <p:cNvSpPr/>
          <p:nvPr/>
        </p:nvSpPr>
        <p:spPr>
          <a:xfrm>
            <a:off x="3428999" y="0"/>
            <a:ext cx="8763001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00FA166-5D3F-4D89-9646-F16A985660E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25527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E9CD8F1-BCCB-4886-9A5C-6DBC2AED36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25527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8F119A-0C2E-4A56-861D-52501224E76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486708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488">
          <p15:clr>
            <a:srgbClr val="A4A3A4"/>
          </p15:clr>
        </p15:guide>
        <p15:guide id="3" orient="horz" pos="1584">
          <p15:clr>
            <a:srgbClr val="A4A3A4"/>
          </p15:clr>
        </p15:guide>
      </p15:sldGuideLst>
    </p:ext>
  </p:extLst>
</p:sldLayout>
</file>

<file path=ppt/slideLayouts/slideLayout1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97389CA-AA00-4146-B54D-B32C999B76FE}"/>
              </a:ext>
            </a:extLst>
          </p:cNvPr>
          <p:cNvSpPr/>
          <p:nvPr/>
        </p:nvSpPr>
        <p:spPr>
          <a:xfrm>
            <a:off x="4991100" y="0"/>
            <a:ext cx="72009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3852A25-25D6-4B6B-902F-93AEC433B73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38100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CC6C67FE-13C1-4F4C-8B7C-A596738753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38100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74ED29-7748-494F-852C-C675DE7124A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032276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5F55B17-88C3-D348-889E-49139B7173C6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C55F65A-E884-4545-813B-8B12A150F0E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47244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C7E4F0C-628A-4B9F-8B0B-ACF8C8FB35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47244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B4C80E-343D-4240-BC0E-A777164C587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20054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wo Data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7848600" y="1905380"/>
            <a:ext cx="3771900" cy="1242697"/>
          </a:xfrm>
        </p:spPr>
        <p:txBody>
          <a:bodyPr/>
          <a:lstStyle>
            <a:lvl1pPr>
              <a:spcAft>
                <a:spcPts val="300"/>
              </a:spcAft>
              <a:defRPr sz="2400">
                <a:latin typeface="+mj-lt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7848600" y="1172402"/>
            <a:ext cx="3771900" cy="553998"/>
          </a:xfrm>
        </p:spPr>
        <p:txBody>
          <a:bodyPr wrap="square" anchor="t" anchorCtr="0">
            <a:spAutoFit/>
          </a:bodyPr>
          <a:lstStyle>
            <a:lvl1pPr>
              <a:defRPr sz="3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XX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E4E13D-43FB-4287-8055-FE35994AA77F}"/>
              </a:ext>
            </a:extLst>
          </p:cNvPr>
          <p:cNvCxnSpPr>
            <a:cxnSpLocks/>
          </p:cNvCxnSpPr>
          <p:nvPr/>
        </p:nvCxnSpPr>
        <p:spPr>
          <a:xfrm>
            <a:off x="7847932" y="1066800"/>
            <a:ext cx="3780167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F04E06-6C46-46FE-9956-F0E8ED6633DF}"/>
              </a:ext>
            </a:extLst>
          </p:cNvPr>
          <p:cNvCxnSpPr>
            <a:cxnSpLocks/>
          </p:cNvCxnSpPr>
          <p:nvPr/>
        </p:nvCxnSpPr>
        <p:spPr>
          <a:xfrm>
            <a:off x="7847932" y="3429000"/>
            <a:ext cx="3780167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C652CDCF-A770-46B4-8121-F76B79BBD16B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BC8C455-2242-44E3-A715-51CE102AB98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53721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C222245D-C3A3-4396-926D-88ECBE5C8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53721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0676A19-4AB7-4E11-A8A8-87E09D920368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848600" y="4276402"/>
            <a:ext cx="3771900" cy="1242697"/>
          </a:xfrm>
        </p:spPr>
        <p:txBody>
          <a:bodyPr/>
          <a:lstStyle>
            <a:lvl1pPr>
              <a:spcAft>
                <a:spcPts val="300"/>
              </a:spcAft>
              <a:defRPr sz="2400">
                <a:latin typeface="+mj-lt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05020DF-F1F5-4BD5-B207-F94988F4F455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848600" y="3543424"/>
            <a:ext cx="37719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A0EEA72-5966-4ADA-9370-9330195584D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77160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Four Data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067269" y="3539749"/>
            <a:ext cx="2551216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9067184" y="4298127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9067800" y="1778380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067800" y="1020002"/>
            <a:ext cx="25527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E4E13D-43FB-4287-8055-FE35994AA77F}"/>
              </a:ext>
            </a:extLst>
          </p:cNvPr>
          <p:cNvCxnSpPr>
            <a:cxnSpLocks/>
          </p:cNvCxnSpPr>
          <p:nvPr/>
        </p:nvCxnSpPr>
        <p:spPr>
          <a:xfrm>
            <a:off x="9069804" y="9144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F04E06-6C46-46FE-9956-F0E8ED6633DF}"/>
              </a:ext>
            </a:extLst>
          </p:cNvPr>
          <p:cNvCxnSpPr>
            <a:cxnSpLocks/>
          </p:cNvCxnSpPr>
          <p:nvPr/>
        </p:nvCxnSpPr>
        <p:spPr>
          <a:xfrm>
            <a:off x="9069804" y="342899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13425D7-1452-4F87-AE64-7C2F048C2469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248485" y="3539749"/>
            <a:ext cx="2551216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806E283-8E77-44C1-84BC-00B971D42EBD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248400" y="4298127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BDD5CD07-CCF1-451E-8B13-2BE3821C220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249016" y="1778385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sz="1600">
                <a:latin typeface="+mj-lt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DD3D7F-C0BF-415A-9378-D8759CED06B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9016" y="1020002"/>
            <a:ext cx="25527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B67A14D-E25C-4D75-8D2E-0D450CE9656D}"/>
              </a:ext>
            </a:extLst>
          </p:cNvPr>
          <p:cNvCxnSpPr>
            <a:cxnSpLocks/>
          </p:cNvCxnSpPr>
          <p:nvPr/>
        </p:nvCxnSpPr>
        <p:spPr>
          <a:xfrm>
            <a:off x="6251020" y="91440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9FFCD6B-6781-45B9-A0FF-441B99A220B5}"/>
              </a:ext>
            </a:extLst>
          </p:cNvPr>
          <p:cNvCxnSpPr>
            <a:cxnSpLocks/>
          </p:cNvCxnSpPr>
          <p:nvPr/>
        </p:nvCxnSpPr>
        <p:spPr>
          <a:xfrm>
            <a:off x="6251020" y="34290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58239EE2-4739-4DF9-A78C-6994DD9D6E29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8EBC35A6-C3F6-4CAA-B6FE-77A0C0F6904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53721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367F26D2-980E-498C-9B01-AEF3F1821C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53721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1DE9A97B-CB1E-4FA3-9806-5D1E1D446DEE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26662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C865750-8F0C-6B4A-A308-228D6B53EE0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254B061-C071-4247-8356-D55F1F50C5D6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8E7470-A9D2-4756-B67E-9B25728B0E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E2BE28-CF01-49D3-AF0B-092C5B9F5DD1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7E1B09A-7737-4F73-8857-1144D4CA24F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605927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and data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642F883-A541-DB46-9654-B4F21790C041}"/>
              </a:ext>
            </a:extLst>
          </p:cNvPr>
          <p:cNvCxnSpPr>
            <a:cxnSpLocks/>
          </p:cNvCxnSpPr>
          <p:nvPr/>
        </p:nvCxnSpPr>
        <p:spPr>
          <a:xfrm>
            <a:off x="563903" y="3013016"/>
            <a:ext cx="3501661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56930F6-4614-C940-AA31-EB153B9A3C14}"/>
              </a:ext>
            </a:extLst>
          </p:cNvPr>
          <p:cNvCxnSpPr>
            <a:cxnSpLocks/>
          </p:cNvCxnSpPr>
          <p:nvPr/>
        </p:nvCxnSpPr>
        <p:spPr>
          <a:xfrm>
            <a:off x="4337616" y="3013016"/>
            <a:ext cx="3501661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E609397-087F-854B-9535-E4D803EA438C}"/>
              </a:ext>
            </a:extLst>
          </p:cNvPr>
          <p:cNvCxnSpPr>
            <a:cxnSpLocks/>
          </p:cNvCxnSpPr>
          <p:nvPr/>
        </p:nvCxnSpPr>
        <p:spPr>
          <a:xfrm>
            <a:off x="8125847" y="3013016"/>
            <a:ext cx="3501661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F6D98EE6-CE26-5746-9F24-417E0C5D93D7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513104" y="3284434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20%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756C9CF0-3AB5-A549-A273-298CB4402764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4308588" y="3284434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-300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47EE0A8E-A5BD-3644-A4C4-B97D607EF556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8089559" y="3284434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80+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8A16D6C-FD3D-414B-9631-678E295DE32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3" y="4160321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9F0397D-3C93-7845-879A-16F144523B4C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2" y="4164766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A03067A-3923-2647-97D3-023C8639F1D2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8" y="4160321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1FC53C6-F2F8-42A2-A49B-A9238A0EDA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599"/>
            <a:ext cx="5390428" cy="14756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data</a:t>
            </a:r>
          </a:p>
        </p:txBody>
      </p:sp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8A082190-6F7B-4BB6-90A3-08A8220E1F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1FA8DC3-99FB-49CE-B894-90F025FACC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CAF1C110-2104-4113-AC2A-0735ED1299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8893796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6A164E9-1234-4BC2-B8E7-F3047AC35998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9BFEE4A-F2C6-4F21-8071-313D1B3C613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361C734-A636-4E0E-A708-B9C530351863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DDA5770-9471-B746-BDC8-3306A09120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2453D8B-1785-4D30-B87D-91AEE8A23A9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07404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9CBA9FE-67A6-43C6-8EE8-C7E8559F1DB7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1486C46-F4F9-421A-A39F-3E52A938244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BE82382-DE4E-4A48-A33B-C56A93877509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FAB8C5-AE86-9F4C-A87D-A5551D4E663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40A3314-D7F9-4E72-B2F7-E008E985900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77604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2B69982-B253-4DE6-9C5E-FB93C3A27F4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22572" y="4880809"/>
            <a:ext cx="6145427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lang="en-US" sz="1400" b="0" i="0" kern="0" spc="0" baseline="0" dirty="0">
                <a:solidFill>
                  <a:schemeClr val="tx1"/>
                </a:solidFill>
                <a:latin typeface="CiscoSansTT Medium" panose="020B0903020201020303" pitchFamily="34" charset="0"/>
                <a:ea typeface="+mn-ea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Insert name her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46ED238B-31FF-436C-9838-14BADBEE1071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3429000" y="4648200"/>
            <a:ext cx="952500" cy="952500"/>
          </a:xfrm>
          <a:prstGeom prst="ellipse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67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13AA95C-29B9-4045-B598-AA928D1B9666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4522572" y="5225969"/>
            <a:ext cx="6145427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lang="en-US" sz="12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Job title, company, loc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C98AB57-B534-43CE-8598-7264AC2F5F2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FB38577-29E6-6546-851F-B5859A13FFB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C6E4486-5C09-4179-B8AA-BE5DFD4AA98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42089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lo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8ECCB6B-46C4-4E71-97ED-219163FCE9B9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D938136-20C6-401D-BA2C-F3CC96E9757F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29296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o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20F9E4-16CA-4B30-ADCC-BD4809B43944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0FB953B-93BA-45FD-AD0D-5A607DEF5ABD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859078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o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D4C5D01-C630-4FFC-963D-B04C145573C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348D590-B05C-4613-AFD1-D65C0ED502C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1457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5" y="6431691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92773B-7150-44D2-AFDB-DE60A8A0F625}"/>
              </a:ext>
            </a:extLst>
          </p:cNvPr>
          <p:cNvSpPr/>
          <p:nvPr/>
        </p:nvSpPr>
        <p:spPr>
          <a:xfrm>
            <a:off x="304800" y="6414273"/>
            <a:ext cx="2819400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BEBFBF78-0E90-472B-B2BB-48C8ECC3854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9585" y="2209800"/>
            <a:ext cx="2912830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1966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5" y="6431691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B8EB6A92-1A18-4242-B37B-061D783A1E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33353" y="6061498"/>
            <a:ext cx="1633196" cy="49932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79071DA-63B2-46A2-892F-B272FF3B2408}"/>
              </a:ext>
            </a:extLst>
          </p:cNvPr>
          <p:cNvSpPr/>
          <p:nvPr/>
        </p:nvSpPr>
        <p:spPr>
          <a:xfrm>
            <a:off x="525451" y="6410479"/>
            <a:ext cx="503249" cy="1503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89146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B4490E3A-EE7B-48AF-BD6B-46266697BF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E1C715D-9112-4A01-AD63-361439BFB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E43F6E-A8D0-4155-BD27-8561034BB2B8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23621727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eatur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Picture Placeholder 2">
            <a:extLst>
              <a:ext uri="{FF2B5EF4-FFF2-40B4-BE49-F238E27FC236}">
                <a16:creationId xmlns:a16="http://schemas.microsoft.com/office/drawing/2014/main" id="{323133DF-7BD6-514D-BEB7-88A3F593064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803160" y="914400"/>
            <a:ext cx="6603168" cy="5295900"/>
          </a:xfrm>
          <a:prstGeom prst="rect">
            <a:avLst/>
          </a:prstGeom>
          <a:solidFill>
            <a:schemeClr val="tx2"/>
          </a:solidFill>
        </p:spPr>
        <p:txBody>
          <a:bodyPr anchor="t" anchorCtr="0">
            <a:noAutofit/>
          </a:bodyPr>
          <a:lstStyle>
            <a:lvl1pPr marL="0" indent="0" algn="ctr">
              <a:buNone/>
              <a:defRPr sz="2509" spc="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2C6815B-F25D-4FB8-A5B2-8C120A8430E3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5128" y="1676400"/>
            <a:ext cx="1901372" cy="800099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E3D3A1F5-B3FB-4DAD-8501-E8B08F8FBBE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75128" y="1337628"/>
            <a:ext cx="1901372" cy="246221"/>
          </a:xfrm>
        </p:spPr>
        <p:txBody>
          <a:bodyPr wrap="square" anchor="t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4F3FC5E1-11E3-4A29-B448-36F606A1DD72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575128" y="3286585"/>
            <a:ext cx="1901372" cy="800099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5BABFD98-27DB-4A98-A530-907CFCD67D52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75128" y="2937828"/>
            <a:ext cx="1901372" cy="246221"/>
          </a:xfrm>
        </p:spPr>
        <p:txBody>
          <a:bodyPr wrap="square" anchor="t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0" name="Text Placeholder 5">
            <a:extLst>
              <a:ext uri="{FF2B5EF4-FFF2-40B4-BE49-F238E27FC236}">
                <a16:creationId xmlns:a16="http://schemas.microsoft.com/office/drawing/2014/main" id="{91B94912-A095-46D8-B475-7D14C4A4D493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575128" y="4884307"/>
            <a:ext cx="1901372" cy="800099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CB0FCE86-9DE6-4ACA-BEA2-7D0E7A7043DD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575128" y="4534511"/>
            <a:ext cx="1901372" cy="246221"/>
          </a:xfrm>
        </p:spPr>
        <p:txBody>
          <a:bodyPr wrap="square" anchor="t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ACAE389D-4DB8-4A87-8DB7-6A40E505504C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9717314" y="1677439"/>
            <a:ext cx="1901372" cy="800099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304526EE-39A8-42A9-8B14-951E99FC0D79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9717314" y="1338667"/>
            <a:ext cx="1901372" cy="246221"/>
          </a:xfrm>
        </p:spPr>
        <p:txBody>
          <a:bodyPr wrap="square" anchor="t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AE17BDD6-5D8A-41F9-8EED-B1F52BC6F0BA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9717314" y="3287624"/>
            <a:ext cx="1901372" cy="800099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BD6C943B-DC67-46A3-A209-4925548303D3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9717314" y="2938867"/>
            <a:ext cx="1901372" cy="246221"/>
          </a:xfrm>
        </p:spPr>
        <p:txBody>
          <a:bodyPr wrap="square" anchor="t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2DD0A6E6-7217-4CA9-B8AD-DE8CD1BE8D88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9717314" y="4884307"/>
            <a:ext cx="1901372" cy="800099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E0EEB87A-E2A9-4F6E-A9BF-99389EA9D735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9717314" y="4535550"/>
            <a:ext cx="1901372" cy="246221"/>
          </a:xfrm>
        </p:spPr>
        <p:txBody>
          <a:bodyPr wrap="square" anchor="t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9D829AE-DC62-4440-B780-EBAB901AC0E0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1 Cisco and/or its affiliates. All rights reserved. Cisco Confidential</a:t>
            </a:r>
          </a:p>
        </p:txBody>
      </p:sp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91551531-CC31-D942-8654-541EB789F1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09F3EC91-A65C-0B4B-86A9-7C776BF63977}"/>
              </a:ext>
            </a:extLst>
          </p:cNvPr>
          <p:cNvSpPr txBox="1"/>
          <p:nvPr/>
        </p:nvSpPr>
        <p:spPr>
          <a:xfrm>
            <a:off x="3427836" y="6436606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137785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and data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5F276A7-E979-4340-9836-CA9BE4464ED1}"/>
              </a:ext>
            </a:extLst>
          </p:cNvPr>
          <p:cNvCxnSpPr>
            <a:cxnSpLocks/>
          </p:cNvCxnSpPr>
          <p:nvPr/>
        </p:nvCxnSpPr>
        <p:spPr>
          <a:xfrm>
            <a:off x="563903" y="3013016"/>
            <a:ext cx="3501661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3936A3C-3E7D-9C41-9C09-B7B969F5C00B}"/>
              </a:ext>
            </a:extLst>
          </p:cNvPr>
          <p:cNvCxnSpPr>
            <a:cxnSpLocks/>
          </p:cNvCxnSpPr>
          <p:nvPr/>
        </p:nvCxnSpPr>
        <p:spPr>
          <a:xfrm>
            <a:off x="4337616" y="3013016"/>
            <a:ext cx="3501661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5D45874-2D43-0B46-A5F4-6E94698AFB20}"/>
              </a:ext>
            </a:extLst>
          </p:cNvPr>
          <p:cNvCxnSpPr>
            <a:cxnSpLocks/>
          </p:cNvCxnSpPr>
          <p:nvPr/>
        </p:nvCxnSpPr>
        <p:spPr>
          <a:xfrm>
            <a:off x="8125847" y="3013016"/>
            <a:ext cx="3501661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D83CB5A-02A6-8446-87FF-B791E6474486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513104" y="3284434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20%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D444B7E-7F71-4B46-976B-5429DA2173B3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4308588" y="3284434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-300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00F2D7A-7571-4B4B-A546-B2325912C04B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8089559" y="3284434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80+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12EFBABB-5C70-4107-9088-C1B0E1BE156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3" y="4160321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ACC72060-E493-431B-8465-A5C938B0E36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2" y="4164766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B9A7DD94-38AB-4DFD-B3B1-7698117E5AA4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8" y="4160321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B2DA6EB3-F09E-4753-9759-61F5E48DA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5390428" cy="148263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data</a:t>
            </a:r>
          </a:p>
        </p:txBody>
      </p:sp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95FD79ED-DC24-410F-98FA-8961227CA5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9419B13-A039-4394-A6EA-FE5AE56A5A7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73EE716-0BC0-46EB-9154-7E5AAA8CE8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144677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 lIns="45720" tIns="22860" rIns="45720" bIns="2286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  <a:prstGeom prst="rect">
            <a:avLst/>
          </a:prstGeom>
        </p:spPr>
        <p:txBody>
          <a:bodyPr lIns="45720" tIns="22860" rIns="45720" bIns="22860"/>
          <a:lstStyle>
            <a:lvl1pPr marL="0" indent="0" algn="ctr">
              <a:buNone/>
              <a:defRPr/>
            </a:lvl1pPr>
            <a:lvl2pPr marL="228594" indent="0" algn="ctr">
              <a:buNone/>
              <a:defRPr/>
            </a:lvl2pPr>
            <a:lvl3pPr marL="457189" indent="0" algn="ctr">
              <a:buNone/>
              <a:defRPr/>
            </a:lvl3pPr>
            <a:lvl4pPr marL="685783" indent="0" algn="ctr">
              <a:buNone/>
              <a:defRPr/>
            </a:lvl4pPr>
            <a:lvl5pPr marL="914377" indent="0" algn="ctr">
              <a:buNone/>
              <a:defRPr/>
            </a:lvl5pPr>
            <a:lvl6pPr marL="1142971" indent="0" algn="ctr">
              <a:buNone/>
              <a:defRPr/>
            </a:lvl6pPr>
            <a:lvl7pPr marL="1371566" indent="0" algn="ctr">
              <a:buNone/>
              <a:defRPr/>
            </a:lvl7pPr>
            <a:lvl8pPr marL="1600160" indent="0" algn="ctr">
              <a:buNone/>
              <a:defRPr/>
            </a:lvl8pPr>
            <a:lvl9pPr marL="1828754" indent="0" algn="ctr">
              <a:buNone/>
              <a:defRPr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5979320" y="6540501"/>
            <a:ext cx="226219" cy="234951"/>
          </a:xfrm>
          <a:prstGeom prst="rect">
            <a:avLst/>
          </a:prstGeom>
        </p:spPr>
        <p:txBody>
          <a:bodyPr lIns="45720" tIns="22860" rIns="45720" bIns="22860"/>
          <a:lstStyle>
            <a:lvl1pPr>
              <a:defRPr smtClean="0"/>
            </a:lvl1pPr>
          </a:lstStyle>
          <a:p>
            <a:fld id="{A9A7B679-AC04-9B41-A37B-4AF17ADEDA64}" type="slidenum">
              <a:rPr lang="en-US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92433B4-66F7-1048-A29D-8C47A7223150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3885031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8055855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32884" y="1797052"/>
            <a:ext cx="11040076" cy="409859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80825" marR="0" indent="-380825" algn="ctr" defTabSz="609321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666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841186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A5877EA4-4A09-46D2-82FE-1D6A2A18CE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5E95C68-EC25-4279-A219-13EAA699CFAB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544782C-C2F5-45B3-A604-80B79EBB5C23}"/>
              </a:ext>
            </a:extLst>
          </p:cNvPr>
          <p:cNvSpPr>
            <a:spLocks noGrp="1"/>
          </p:cNvSpPr>
          <p:nvPr>
            <p:ph type="body" sz="half" idx="76" hasCustomPrompt="1"/>
          </p:nvPr>
        </p:nvSpPr>
        <p:spPr>
          <a:xfrm>
            <a:off x="571500" y="2966516"/>
            <a:ext cx="3465576" cy="91409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600" b="0" i="0" kern="0" spc="0" baseline="0" dirty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CFF48D5-E389-4A6C-B64A-67912CE45A53}"/>
              </a:ext>
            </a:extLst>
          </p:cNvPr>
          <p:cNvSpPr>
            <a:spLocks noGrp="1"/>
          </p:cNvSpPr>
          <p:nvPr>
            <p:ph type="body" sz="half" idx="77" hasCustomPrompt="1"/>
          </p:nvPr>
        </p:nvSpPr>
        <p:spPr>
          <a:xfrm>
            <a:off x="4375876" y="2966516"/>
            <a:ext cx="3467099" cy="91409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600" b="0" i="0" kern="0" spc="0" baseline="0" dirty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88B652E-0041-4A7E-BB10-F4B58E1B7992}"/>
              </a:ext>
            </a:extLst>
          </p:cNvPr>
          <p:cNvSpPr>
            <a:spLocks noGrp="1"/>
          </p:cNvSpPr>
          <p:nvPr>
            <p:ph type="body" sz="half" idx="78" hasCustomPrompt="1"/>
          </p:nvPr>
        </p:nvSpPr>
        <p:spPr>
          <a:xfrm>
            <a:off x="8147776" y="2966516"/>
            <a:ext cx="3467100" cy="91409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600" b="0" i="0" kern="0" spc="0" baseline="0" dirty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97F8836-8CBD-4C32-AA06-8929682EEA32}"/>
              </a:ext>
            </a:extLst>
          </p:cNvPr>
          <p:cNvCxnSpPr>
            <a:cxnSpLocks/>
          </p:cNvCxnSpPr>
          <p:nvPr/>
        </p:nvCxnSpPr>
        <p:spPr>
          <a:xfrm>
            <a:off x="565876" y="2722939"/>
            <a:ext cx="3471200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32EB293-61A9-488D-84CB-337D153444BE}"/>
              </a:ext>
            </a:extLst>
          </p:cNvPr>
          <p:cNvCxnSpPr>
            <a:cxnSpLocks/>
          </p:cNvCxnSpPr>
          <p:nvPr/>
        </p:nvCxnSpPr>
        <p:spPr>
          <a:xfrm>
            <a:off x="4375876" y="2722939"/>
            <a:ext cx="3471200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723830B-8B67-4F32-8E4D-4E448BA42EC4}"/>
              </a:ext>
            </a:extLst>
          </p:cNvPr>
          <p:cNvCxnSpPr>
            <a:cxnSpLocks/>
          </p:cNvCxnSpPr>
          <p:nvPr/>
        </p:nvCxnSpPr>
        <p:spPr>
          <a:xfrm>
            <a:off x="8147776" y="2722939"/>
            <a:ext cx="3471200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4">
            <a:extLst>
              <a:ext uri="{FF2B5EF4-FFF2-40B4-BE49-F238E27FC236}">
                <a16:creationId xmlns:a16="http://schemas.microsoft.com/office/drawing/2014/main" id="{3D24466E-FC90-4376-8BD8-E50680EB5AE6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3924303"/>
            <a:ext cx="3465576" cy="2288556"/>
          </a:xfrm>
        </p:spPr>
        <p:txBody>
          <a:bodyPr/>
          <a:lstStyle>
            <a:lvl1pPr>
              <a:lnSpc>
                <a:spcPct val="120000"/>
              </a:lnSpc>
              <a:spcAft>
                <a:spcPts val="600"/>
              </a:spcAft>
              <a:defRPr lang="en-US" sz="2400" b="0" i="0" kern="0" spc="0" baseline="0" dirty="0" smtClean="0">
                <a:solidFill>
                  <a:schemeClr val="tx1"/>
                </a:soli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4">
            <a:extLst>
              <a:ext uri="{FF2B5EF4-FFF2-40B4-BE49-F238E27FC236}">
                <a16:creationId xmlns:a16="http://schemas.microsoft.com/office/drawing/2014/main" id="{678C22E8-F9F2-49FA-9DD8-9CC118CB5DD7}"/>
              </a:ext>
            </a:extLst>
          </p:cNvPr>
          <p:cNvSpPr>
            <a:spLocks noGrp="1"/>
          </p:cNvSpPr>
          <p:nvPr>
            <p:ph sz="quarter" idx="53"/>
          </p:nvPr>
        </p:nvSpPr>
        <p:spPr>
          <a:xfrm>
            <a:off x="4375876" y="3924303"/>
            <a:ext cx="3465576" cy="2288556"/>
          </a:xfrm>
        </p:spPr>
        <p:txBody>
          <a:bodyPr/>
          <a:lstStyle>
            <a:lvl1pPr>
              <a:lnSpc>
                <a:spcPct val="120000"/>
              </a:lnSpc>
              <a:spcAft>
                <a:spcPts val="600"/>
              </a:spcAft>
              <a:defRPr lang="en-US" sz="2400" b="0" i="0" kern="0" spc="0" baseline="0" dirty="0" smtClean="0">
                <a:solidFill>
                  <a:schemeClr val="tx1"/>
                </a:soli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4">
            <a:extLst>
              <a:ext uri="{FF2B5EF4-FFF2-40B4-BE49-F238E27FC236}">
                <a16:creationId xmlns:a16="http://schemas.microsoft.com/office/drawing/2014/main" id="{B4E730FA-1E59-4166-9057-E8D66C30AAE1}"/>
              </a:ext>
            </a:extLst>
          </p:cNvPr>
          <p:cNvSpPr>
            <a:spLocks noGrp="1"/>
          </p:cNvSpPr>
          <p:nvPr>
            <p:ph sz="quarter" idx="54"/>
          </p:nvPr>
        </p:nvSpPr>
        <p:spPr>
          <a:xfrm>
            <a:off x="8147776" y="3924303"/>
            <a:ext cx="3465576" cy="2288556"/>
          </a:xfrm>
        </p:spPr>
        <p:txBody>
          <a:bodyPr/>
          <a:lstStyle>
            <a:lvl1pPr>
              <a:lnSpc>
                <a:spcPct val="120000"/>
              </a:lnSpc>
              <a:spcAft>
                <a:spcPts val="600"/>
              </a:spcAft>
              <a:defRPr lang="en-US" sz="2400" b="0" i="0" kern="0" spc="0" baseline="0" dirty="0" smtClean="0">
                <a:solidFill>
                  <a:schemeClr val="tx1"/>
                </a:soli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09174A1F-AB8A-8146-9C35-B74BD4A357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667579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564E15E-85C2-40F1-B654-E42DCFBA1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 marL="0" indent="0">
              <a:buNone/>
              <a:defRPr sz="1400"/>
            </a:lvl2pPr>
            <a:lvl3pPr marL="228600" indent="0">
              <a:buNone/>
              <a:defRPr sz="1200"/>
            </a:lvl3pPr>
            <a:lvl4pPr marL="406400" indent="0"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30370F4-DF08-4B4A-A3BB-EB8905622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1E1701B-4C10-476A-8FDF-6089699136E1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A23C2995-F6D4-9758-2BB2-32F1B799647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04E33EB1-D551-CF67-7130-875100ED8A8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09602" y="6342698"/>
            <a:ext cx="396305" cy="208228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24792E0E-C395-0BE2-9CCF-C005F7FB9856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</a:t>
            </a:r>
          </a:p>
        </p:txBody>
      </p:sp>
    </p:spTree>
    <p:extLst>
      <p:ext uri="{BB962C8B-B14F-4D97-AF65-F5344CB8AC3E}">
        <p14:creationId xmlns:p14="http://schemas.microsoft.com/office/powerpoint/2010/main" val="10999492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70620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1199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775" indent="-156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6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137" indent="-152362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399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499" indent="-152362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89861" indent="-152362">
              <a:buClr>
                <a:schemeClr val="tx1"/>
              </a:buClr>
              <a:buSzPct val="60000"/>
              <a:buFont typeface="Arial"/>
              <a:buChar char="•"/>
              <a:defRPr sz="1866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223" indent="-152362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41155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775" indent="-156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6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137" indent="-152362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399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499" indent="-152362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89861" indent="-152362">
              <a:buClr>
                <a:schemeClr val="tx1"/>
              </a:buClr>
              <a:buSzPct val="60000"/>
              <a:buFont typeface="Arial"/>
              <a:buChar char="•"/>
              <a:defRPr sz="1866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223" indent="-152362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8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A0671BF-ADA2-8E47-387E-08AD816BAF94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738213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81025" y="4869789"/>
            <a:ext cx="7254875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81025" y="5220317"/>
            <a:ext cx="725487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025" y="1905000"/>
            <a:ext cx="7254875" cy="140969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81026" y="3431817"/>
            <a:ext cx="725487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A3B5A03-FFA4-F84F-801A-F8BB90548EB0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rPr>
              <a:t>© 2023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2857166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ive Topics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213C59-7880-41D1-9DE5-B53FA71B4F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48400" y="571500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0BD0D78-FA9C-47FE-A8C5-A942C1A9A1E0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080810" y="571500"/>
            <a:ext cx="4525974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4D1B0561-72B3-4A7C-9434-B0EDE523688D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080810" y="1037804"/>
            <a:ext cx="4526280" cy="215444"/>
          </a:xfrm>
        </p:spPr>
        <p:txBody>
          <a:bodyPr wrap="square">
            <a:spAutoFit/>
          </a:bodyPr>
          <a:lstStyle>
            <a:lvl1pPr>
              <a:defRPr sz="14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FB88D30E-5998-42C2-BFDA-6C6AA1F33F7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48400" y="164719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6D18BF23-F279-48A8-8AFF-AC70F73F091E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7080810" y="1647193"/>
            <a:ext cx="452628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8445664B-F9E1-4D1D-9F6E-DA27AF43C21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7080810" y="2075397"/>
            <a:ext cx="4526280" cy="215444"/>
          </a:xfrm>
        </p:spPr>
        <p:txBody>
          <a:bodyPr wrap="square">
            <a:spAutoFit/>
          </a:bodyPr>
          <a:lstStyle>
            <a:lvl1pPr>
              <a:defRPr lang="en-US" sz="14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31F0F46D-89DF-46CA-934B-C124727D937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48400" y="2684788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8BB0DD2A-742F-4019-B2A6-6AC6CF3BEEA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080810" y="2684787"/>
            <a:ext cx="452628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4D48E93A-11A3-45A0-961F-26062021432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080810" y="3112991"/>
            <a:ext cx="4526280" cy="215444"/>
          </a:xfrm>
        </p:spPr>
        <p:txBody>
          <a:bodyPr wrap="square">
            <a:spAutoFit/>
          </a:bodyPr>
          <a:lstStyle>
            <a:lvl1pPr>
              <a:defRPr lang="en-US" sz="14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365D378F-8BFE-41E2-A048-4F1E113B408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48400" y="3722381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4681FE84-1510-4206-91AF-B290EF3C0E1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7080810" y="3722381"/>
            <a:ext cx="452628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58EB90C9-03A7-449D-A8F3-B379B319950E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7080810" y="4150585"/>
            <a:ext cx="4526280" cy="215444"/>
          </a:xfrm>
        </p:spPr>
        <p:txBody>
          <a:bodyPr wrap="square">
            <a:spAutoFit/>
          </a:bodyPr>
          <a:lstStyle>
            <a:lvl1pPr>
              <a:defRPr lang="en-US" sz="14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E3E332E3-41A2-4350-A7FE-20CB379706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0" y="475997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948A5A7B-49E0-4CF2-8080-E002145F2FF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10" y="4759974"/>
            <a:ext cx="452628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B8F46644-76D3-4C51-9163-739A1F5F7650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10" y="5188178"/>
            <a:ext cx="4526280" cy="215444"/>
          </a:xfrm>
        </p:spPr>
        <p:txBody>
          <a:bodyPr wrap="square">
            <a:spAutoFit/>
          </a:bodyPr>
          <a:lstStyle>
            <a:lvl1pPr>
              <a:defRPr lang="en-US" sz="14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1AF73E0-3985-7E89-6B88-B7BFEE3478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910" y="571500"/>
            <a:ext cx="4425240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0D04C6-25CF-9624-C0A9-B438D473B232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5615639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Ten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910" y="571500"/>
            <a:ext cx="5365040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2875B737-D8C9-4B5A-A987-E648592F8AB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84910" y="2437942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1BC899D-37C3-4568-A4DF-0B0EDE20DC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423670" y="2437942"/>
            <a:ext cx="452628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B5D11EE-1D55-4041-81BF-2D405343AEB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1423670" y="2866146"/>
            <a:ext cx="4526280" cy="215444"/>
          </a:xfrm>
        </p:spPr>
        <p:txBody>
          <a:bodyPr wrap="square">
            <a:spAutoFit/>
          </a:bodyPr>
          <a:lstStyle>
            <a:lvl1pPr>
              <a:defRPr lang="en-US" sz="14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78F2AB5-8A22-4344-B743-464793BF69F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84910" y="327862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2A1D5CE-6473-44B2-BC10-1AC73E1B795C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423670" y="3278622"/>
            <a:ext cx="452628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D8A733FF-648D-413A-A965-9380FF19EB3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423670" y="3706826"/>
            <a:ext cx="4526280" cy="215444"/>
          </a:xfrm>
        </p:spPr>
        <p:txBody>
          <a:bodyPr wrap="square">
            <a:spAutoFit/>
          </a:bodyPr>
          <a:lstStyle>
            <a:lvl1pPr>
              <a:defRPr lang="en-US" sz="14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C4EAFF18-13A5-4454-9A4E-50C9683A086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84910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3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5CFB554-4FA5-44FE-AD9D-94ADB8A1596B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423670" y="4118817"/>
            <a:ext cx="452628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E82D60C9-C7E6-4DE4-8E8B-9A9D85E509A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1423670" y="4547021"/>
            <a:ext cx="4526280" cy="215444"/>
          </a:xfrm>
        </p:spPr>
        <p:txBody>
          <a:bodyPr wrap="square">
            <a:spAutoFit/>
          </a:bodyPr>
          <a:lstStyle>
            <a:lvl1pPr>
              <a:defRPr lang="en-US" sz="14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1C81A21-CB5C-4EBA-AA54-D73A670B36B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84910" y="4959740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4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3D704AA8-F2E6-4E6E-BA0F-C73614C721D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1423670" y="4959740"/>
            <a:ext cx="452628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66AE59D2-11F7-416C-B366-F23200F2C468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423670" y="5387944"/>
            <a:ext cx="4526280" cy="215444"/>
          </a:xfrm>
        </p:spPr>
        <p:txBody>
          <a:bodyPr wrap="square">
            <a:spAutoFit/>
          </a:bodyPr>
          <a:lstStyle>
            <a:lvl1pPr>
              <a:defRPr lang="en-US" sz="14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898C6801-7507-4803-A711-42CEC857E56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0" y="243794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5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7589C976-7FFB-4218-BF7E-1F78F2A1F02C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10" y="2437942"/>
            <a:ext cx="452628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0F3DDABD-EE25-49C3-9A53-2657DAD77A8C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10" y="2866146"/>
            <a:ext cx="4526280" cy="215444"/>
          </a:xfrm>
        </p:spPr>
        <p:txBody>
          <a:bodyPr wrap="square">
            <a:spAutoFit/>
          </a:bodyPr>
          <a:lstStyle>
            <a:lvl1pPr>
              <a:defRPr lang="en-US" sz="14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17167DB7-5308-42DC-AEE9-AAED2ED164D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248400" y="327862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6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620B5D7B-672A-4FB9-9717-E785586DA30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7080810" y="3278622"/>
            <a:ext cx="452628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E23B210E-5C88-4516-A864-36247F88D733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7080810" y="3706826"/>
            <a:ext cx="4526280" cy="215444"/>
          </a:xfrm>
        </p:spPr>
        <p:txBody>
          <a:bodyPr wrap="square">
            <a:spAutoFit/>
          </a:bodyPr>
          <a:lstStyle>
            <a:lvl1pPr>
              <a:defRPr lang="en-US" sz="14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37DB0FAF-76DD-43D1-B897-9417F5B3AB7B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48400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7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B0C7BE68-E1A9-48A3-8ADD-8FDB96C02A40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7080810" y="4118817"/>
            <a:ext cx="452628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5195D37A-ED4A-4E1F-A476-81831613075B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080810" y="4547021"/>
            <a:ext cx="4526280" cy="215444"/>
          </a:xfrm>
        </p:spPr>
        <p:txBody>
          <a:bodyPr wrap="square">
            <a:spAutoFit/>
          </a:bodyPr>
          <a:lstStyle>
            <a:lvl1pPr>
              <a:defRPr lang="en-US" sz="14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62FE476F-78D3-4BBD-ADB0-A014E40BC384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48400" y="4959740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8</a:t>
            </a:r>
          </a:p>
        </p:txBody>
      </p:sp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D42D2D51-155D-4C35-BC5F-B8F1C46DC335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7080810" y="4959740"/>
            <a:ext cx="452628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EBF4B885-D002-47D6-8922-12B72E21CACE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7080810" y="5387944"/>
            <a:ext cx="4526280" cy="215444"/>
          </a:xfrm>
        </p:spPr>
        <p:txBody>
          <a:bodyPr wrap="square">
            <a:spAutoFit/>
          </a:bodyPr>
          <a:lstStyle>
            <a:lvl1pPr>
              <a:defRPr lang="en-US" sz="14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2E5CEDE-A9F4-3AE3-7136-8D4824CAED51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3967774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and data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06B558A-BDEC-464B-B491-D9BC21129A9D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513104" y="3284434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3"/>
                    </a:gs>
                    <a:gs pos="97000">
                      <a:schemeClr val="accent4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20%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6ABD542-E4AD-F141-9F7C-F9D7647A7A44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4308588" y="3284434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3"/>
                    </a:gs>
                    <a:gs pos="97000">
                      <a:schemeClr val="accent4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-300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67E3190-6EA7-2940-AF53-00DFF865B774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8089559" y="3284434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3"/>
                    </a:gs>
                    <a:gs pos="97000">
                      <a:schemeClr val="accent4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80+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8AAE14-673A-48C3-AB34-E203F644B8E4}"/>
              </a:ext>
            </a:extLst>
          </p:cNvPr>
          <p:cNvCxnSpPr>
            <a:cxnSpLocks/>
          </p:cNvCxnSpPr>
          <p:nvPr/>
        </p:nvCxnSpPr>
        <p:spPr>
          <a:xfrm>
            <a:off x="563903" y="3013016"/>
            <a:ext cx="3501661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3373FB8-5D9C-4D1B-987C-CE9B05227EC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3" y="4160321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73D7130-65B2-418E-A28A-88D753AF2669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2" y="4164766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18B7352-50C9-4EB3-B44F-091AA75BB5B2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8" y="4160321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25ABD418-4BFF-46CA-8258-2592F20AD1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1"/>
            <a:ext cx="5390428" cy="148960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data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B8A52325-3C8A-4F56-829E-2C83AA7B78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4DB9AD6-305E-4CAC-884E-012D9656B7A1}"/>
              </a:ext>
            </a:extLst>
          </p:cNvPr>
          <p:cNvCxnSpPr>
            <a:cxnSpLocks/>
          </p:cNvCxnSpPr>
          <p:nvPr/>
        </p:nvCxnSpPr>
        <p:spPr>
          <a:xfrm>
            <a:off x="4337616" y="3013016"/>
            <a:ext cx="3501661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BB1CD7A-4B2C-478A-8E8D-FA20C6C22242}"/>
              </a:ext>
            </a:extLst>
          </p:cNvPr>
          <p:cNvCxnSpPr>
            <a:cxnSpLocks/>
          </p:cNvCxnSpPr>
          <p:nvPr/>
        </p:nvCxnSpPr>
        <p:spPr>
          <a:xfrm>
            <a:off x="8125847" y="3013016"/>
            <a:ext cx="3501661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DF1E74D-467C-4D1D-8B2D-9294B98C5C5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F50940B2-ABB8-4233-B366-97C29744D5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562782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564E15E-85C2-40F1-B654-E42DCFBA1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4911" y="1905000"/>
            <a:ext cx="11029240" cy="4381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800"/>
            </a:lvl1pPr>
            <a:lvl2pPr marL="0" indent="0">
              <a:buNone/>
              <a:defRPr sz="1600"/>
            </a:lvl2pPr>
            <a:lvl3pPr marL="228600" indent="0">
              <a:buNone/>
              <a:defRPr sz="1400"/>
            </a:lvl3pPr>
            <a:lvl4pPr marL="406400" indent="0">
              <a:buNone/>
              <a:defRPr sz="12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30370F4-DF08-4B4A-A3BB-EB8905622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910" y="571500"/>
            <a:ext cx="1103312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E41F269-4AE5-59C6-B12F-E281DC3EB638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4254712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171827E-8719-D631-823E-1A75A048DA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910" y="571500"/>
            <a:ext cx="1103312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5700370-8F84-CA6E-8DAC-B0E67B48573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441674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8EE2313-2646-4E0B-B6B4-BA07574D2F8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84910" y="1222129"/>
            <a:ext cx="11036808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F6B3806-7EC4-066C-F3DD-AA0AE05C21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910" y="571500"/>
            <a:ext cx="1103312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53407B2-281A-3A74-4590-0CA7A1278B9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889460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82028C6-D96F-A145-862B-ED80E5C5EF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4910" y="1905000"/>
            <a:ext cx="11036808" cy="4381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800"/>
            </a:lvl1pPr>
            <a:lvl2pPr marL="0" indent="0">
              <a:buFontTx/>
              <a:buNone/>
              <a:defRPr sz="1600"/>
            </a:lvl2pPr>
            <a:lvl3pPr marL="228600" indent="0">
              <a:buFontTx/>
              <a:buNone/>
              <a:defRPr sz="1400"/>
            </a:lvl3pPr>
            <a:lvl4pPr marL="406400" indent="0">
              <a:buFontTx/>
              <a:buNone/>
              <a:defRPr sz="12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984DEC-E669-021F-1BE4-8F6BAB992F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910" y="571500"/>
            <a:ext cx="1103312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D27ED5E2-B8F1-7F17-5729-B79AF8B33B1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84910" y="1222129"/>
            <a:ext cx="11036808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183A751-2075-343B-807A-5D8744E367FD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425905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26D13EE-9849-D53E-BA46-E07BF3AC4475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114701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054F9D6-4889-4D51-9ADF-D453DFF1E8E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905000"/>
            <a:ext cx="12192000" cy="43815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algn="ctr"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1D85F0D-1D20-B292-4B05-C05D621482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910" y="571500"/>
            <a:ext cx="1103312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7EB25EA-909E-C878-33C8-19635AAEAB67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415613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6734A84-A20E-4265-848D-432FAF49C4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025" y="1905001"/>
            <a:ext cx="6315075" cy="3048002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9" name="Picture 8" descr="A close up of colorful tubes&#10;&#10;Description automatically generated">
            <a:extLst>
              <a:ext uri="{FF2B5EF4-FFF2-40B4-BE49-F238E27FC236}">
                <a16:creationId xmlns:a16="http://schemas.microsoft.com/office/drawing/2014/main" id="{5E6790DD-8DBD-AF19-DF42-A4D37DF97CE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35900" y="0"/>
            <a:ext cx="435864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2253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D6FD7923-FA5E-F6EA-654E-3CC0232FDB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025" y="1905001"/>
            <a:ext cx="6315075" cy="3048002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8" name="Picture 7" descr="A close-up of a colorful object&#10;&#10;Description automatically generated">
            <a:extLst>
              <a:ext uri="{FF2B5EF4-FFF2-40B4-BE49-F238E27FC236}">
                <a16:creationId xmlns:a16="http://schemas.microsoft.com/office/drawing/2014/main" id="{113FFBFE-3A62-3340-8CF1-D6F120FE09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35900" y="0"/>
            <a:ext cx="435864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2013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47680A0F-0357-9930-6511-7A6D6893F3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025" y="1905001"/>
            <a:ext cx="6315075" cy="3048002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10" name="Picture 9" descr="A close-up of colorful pipes&#10;&#10;Description automatically generated">
            <a:extLst>
              <a:ext uri="{FF2B5EF4-FFF2-40B4-BE49-F238E27FC236}">
                <a16:creationId xmlns:a16="http://schemas.microsoft.com/office/drawing/2014/main" id="{46E7FB79-8C8F-82EA-E24B-E0EEE2005B1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839075" y="0"/>
            <a:ext cx="4352925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70491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Section Header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47680A0F-0357-9930-6511-7A6D6893F3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025" y="1905001"/>
            <a:ext cx="6315075" cy="3048002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5" name="Picture 4" descr="Close-up of a colorful object&#10;&#10;Description automatically generated">
            <a:extLst>
              <a:ext uri="{FF2B5EF4-FFF2-40B4-BE49-F238E27FC236}">
                <a16:creationId xmlns:a16="http://schemas.microsoft.com/office/drawing/2014/main" id="{7EB21739-D8CC-668C-F119-E13FFAB57732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833360" y="0"/>
            <a:ext cx="4358640" cy="68580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2335CEE-7562-91A6-CE45-0A2D3B4C7C9E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860537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2 data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2462AB-6463-CF4C-ACBF-34DDFE050AC3}"/>
              </a:ext>
            </a:extLst>
          </p:cNvPr>
          <p:cNvCxnSpPr>
            <a:cxnSpLocks/>
          </p:cNvCxnSpPr>
          <p:nvPr/>
        </p:nvCxnSpPr>
        <p:spPr>
          <a:xfrm>
            <a:off x="8121723" y="993221"/>
            <a:ext cx="3506376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1776A2A-B671-AB4E-8FDB-35C6B7BE364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8124669" y="1845941"/>
            <a:ext cx="350637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Description of data with option to highlight text with a color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F7A43E-8EF4-FE4A-ACFF-9F5A5EC847DE}"/>
              </a:ext>
            </a:extLst>
          </p:cNvPr>
          <p:cNvCxnSpPr>
            <a:cxnSpLocks/>
          </p:cNvCxnSpPr>
          <p:nvPr/>
        </p:nvCxnSpPr>
        <p:spPr>
          <a:xfrm>
            <a:off x="8121723" y="3346677"/>
            <a:ext cx="3506376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5778F89-154B-F240-B35E-F81B16D999D6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8124669" y="4199397"/>
            <a:ext cx="350637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Description of data with option to highlight text with a color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A56877E-29E1-3742-BB24-CC81DFFFE5D8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1723" y="1045032"/>
            <a:ext cx="3506376" cy="800905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2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77%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900FC7C-DD9A-C846-843B-5642805FB71B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8121723" y="3390992"/>
            <a:ext cx="3506376" cy="800905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2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100,000+</a:t>
            </a: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A953F6CF-E655-4E7D-BDFB-6A551D28089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2"/>
            <a:ext cx="4896179" cy="33999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/>
            </a:lvl1pPr>
            <a:lvl2pPr>
              <a:defRPr lang="en-US" sz="1067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  <a:p>
            <a:pPr marL="228589" lvl="3" indent="-228589"/>
            <a:r>
              <a:rPr lang="en-US"/>
              <a:t>Fourth level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35A59425-FB4F-4C38-AD94-620219A101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3222"/>
            <a:ext cx="4901805" cy="170991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with key data right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11798FBB-8372-4722-82BF-FACDB6A640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4127422-6D86-4CED-ABA9-B9D18F6B22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28A8C1EF-D8F4-42D5-AAB0-CC93828312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5473956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D6DF483-DD51-444D-AF16-AF31E72FDD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2458" y="1905000"/>
            <a:ext cx="5359400" cy="4381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800"/>
            </a:lvl1pPr>
            <a:lvl2pPr marL="227013" indent="-227013">
              <a:defRPr sz="1600"/>
            </a:lvl2pPr>
            <a:lvl3pPr marL="457200" indent="-230188">
              <a:defRPr sz="1400"/>
            </a:lvl3pPr>
            <a:lvl4pPr marL="687388" indent="-225425">
              <a:buFont typeface="Arial" panose="020B0604020202020204" pitchFamily="34" charset="0"/>
              <a:buChar char="•"/>
              <a:defRPr sz="12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0351A9-D67D-89AA-198A-1D6CD5A8BB79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31B1B037-DC48-EC40-90CD-F1201973A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911" y="571500"/>
            <a:ext cx="5365040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436966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1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5F55B17-88C3-D348-889E-49139B7173C6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C55F65A-E884-4545-813B-8B12A150F0E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1026" y="1905001"/>
            <a:ext cx="4724400" cy="4377266"/>
          </a:xfrm>
        </p:spPr>
        <p:txBody>
          <a:bodyPr/>
          <a:lstStyle>
            <a:lvl2pPr marL="228600" indent="-228600">
              <a:defRPr/>
            </a:lvl2pPr>
            <a:lvl3pPr marL="457200" indent="-228600"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4BB3C471-0E7F-F493-1B0A-B2EFE30E2A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911" y="571500"/>
            <a:ext cx="4710989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805018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97389CA-AA00-4146-B54D-B32C999B76FE}"/>
              </a:ext>
            </a:extLst>
          </p:cNvPr>
          <p:cNvSpPr/>
          <p:nvPr/>
        </p:nvSpPr>
        <p:spPr>
          <a:xfrm>
            <a:off x="4991100" y="0"/>
            <a:ext cx="72009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3852A25-25D6-4B6B-902F-93AEC433B73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1024" y="2539999"/>
            <a:ext cx="3768725" cy="3746501"/>
          </a:xfrm>
        </p:spPr>
        <p:txBody>
          <a:bodyPr/>
          <a:lstStyle>
            <a:lvl2pPr marL="228600" indent="-228600">
              <a:defRPr/>
            </a:lvl2pPr>
            <a:lvl3pPr marL="457200" indent="-228600"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4CD93D0C-5ABB-6029-2F48-4A7FC04C7E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911" y="571500"/>
            <a:ext cx="376483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25363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6EE0FED-0F8F-1D4B-BDC6-134B0FE8D3AF}"/>
              </a:ext>
            </a:extLst>
          </p:cNvPr>
          <p:cNvSpPr/>
          <p:nvPr/>
        </p:nvSpPr>
        <p:spPr>
          <a:xfrm>
            <a:off x="3428999" y="0"/>
            <a:ext cx="8763001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00FA166-5D3F-4D89-9646-F16A985660E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1025" y="2539998"/>
            <a:ext cx="2552701" cy="3746501"/>
          </a:xfrm>
        </p:spPr>
        <p:txBody>
          <a:bodyPr/>
          <a:lstStyle>
            <a:lvl2pPr marL="228600" indent="-228600">
              <a:defRPr/>
            </a:lvl2pPr>
            <a:lvl3pPr marL="457200" indent="-228600"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BCA3CC2-7A8F-3794-2A61-7F55F669A4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911" y="571500"/>
            <a:ext cx="2539289" cy="16619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582826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07F1A39-DFFF-7016-A7A2-BE9040D7246E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260689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CCEEF3C-78B3-9DB0-F5C7-889F441EA13A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7688131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BE7CDA89-6C8A-385E-824C-B958533CEBB9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812041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365985" y="6374027"/>
            <a:ext cx="349765" cy="219419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92773B-7150-44D2-AFDB-DE60A8A0F625}"/>
              </a:ext>
            </a:extLst>
          </p:cNvPr>
          <p:cNvSpPr/>
          <p:nvPr/>
        </p:nvSpPr>
        <p:spPr>
          <a:xfrm>
            <a:off x="304800" y="6414273"/>
            <a:ext cx="2819400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1" name="Picture 10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5F544788-7839-0CDC-036D-1F0638CE5AE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9950" y="2807493"/>
            <a:ext cx="5657850" cy="786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16486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5" y="6389267"/>
            <a:ext cx="522485" cy="235371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6D29B22-B4B3-3C77-C976-4F97630644E2}"/>
              </a:ext>
            </a:extLst>
          </p:cNvPr>
          <p:cNvSpPr/>
          <p:nvPr/>
        </p:nvSpPr>
        <p:spPr>
          <a:xfrm>
            <a:off x="533400" y="6389267"/>
            <a:ext cx="990600" cy="235371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8DF59F3C-EBCC-24AC-67E7-536F1868264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51621" y="6252545"/>
            <a:ext cx="2162530" cy="3006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524488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>
              <a:latin typeface="CiscoSansTT Light" panose="020B0503020201020303" pitchFamily="34" charset="0"/>
            </a:endParaRPr>
          </a:p>
        </p:txBody>
      </p:sp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58801" y="2209800"/>
            <a:ext cx="5103284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4267" kern="1200" dirty="0">
                <a:solidFill>
                  <a:schemeClr val="bg1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6796618" y="709083"/>
            <a:ext cx="4734983" cy="5412316"/>
          </a:xfrm>
          <a:prstGeom prst="rect">
            <a:avLst/>
          </a:prstGeom>
        </p:spPr>
        <p:txBody>
          <a:bodyPr lIns="91440" rIns="91440" anchor="t" anchorCtr="0"/>
          <a:lstStyle>
            <a:lvl1pPr marL="226478" indent="-22647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tabLst/>
              <a:defRPr sz="2667">
                <a:solidFill>
                  <a:schemeClr val="tx1"/>
                </a:solidFill>
                <a:latin typeface="+mn-lt"/>
              </a:defRPr>
            </a:lvl1pPr>
            <a:lvl2pPr marL="461422" indent="-234945">
              <a:lnSpc>
                <a:spcPct val="95000"/>
              </a:lnSpc>
              <a:spcBef>
                <a:spcPts val="800"/>
              </a:spcBef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sz="2400">
                <a:solidFill>
                  <a:schemeClr val="tx1"/>
                </a:solidFill>
                <a:latin typeface="+mn-lt"/>
              </a:defRPr>
            </a:lvl2pPr>
            <a:lvl3pPr marL="681550" indent="-228594">
              <a:lnSpc>
                <a:spcPct val="95000"/>
              </a:lnSpc>
              <a:spcBef>
                <a:spcPts val="800"/>
              </a:spcBef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defRPr sz="2133">
                <a:solidFill>
                  <a:schemeClr val="tx1"/>
                </a:solidFill>
                <a:latin typeface="+mn-lt"/>
              </a:defRPr>
            </a:lvl3pPr>
            <a:lvl4pPr marL="766214" indent="-156629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2400">
                <a:latin typeface="CiscoSansTT Light" panose="020B0503020201020303" pitchFamily="34" charset="0"/>
              </a:defRPr>
            </a:lvl4pPr>
            <a:lvl5pPr marL="992693" indent="-15028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400">
                <a:latin typeface="CiscoSansTT Light" panose="020B0503020201020303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160200" y="6507857"/>
            <a:ext cx="479555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800" kern="1200" smtClean="0">
                <a:solidFill>
                  <a:schemeClr val="tx1"/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Rectangle 4">
            <a:extLst>
              <a:ext uri="{FF2B5EF4-FFF2-40B4-BE49-F238E27FC236}">
                <a16:creationId xmlns:a16="http://schemas.microsoft.com/office/drawing/2014/main" id="{574E55B2-8612-664F-933D-71B0FB9C2868}"/>
              </a:ext>
            </a:extLst>
          </p:cNvPr>
          <p:cNvSpPr>
            <a:spLocks noChangeArrowheads="1"/>
          </p:cNvSpPr>
          <p:nvPr/>
        </p:nvSpPr>
        <p:spPr bwMode="black">
          <a:xfrm>
            <a:off x="7799900" y="6595873"/>
            <a:ext cx="3392613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marL="0" marR="0" lvl="0" indent="0" algn="r" defTabSz="81430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charset="0"/>
                <a:cs typeface="CiscoSansTT Light" panose="020B0503020201020303" pitchFamily="34" charset="0"/>
              </a:rPr>
              <a:t>© 2023  Cisco and/or its affiliates. All rights reserved.   Cisco Public</a:t>
            </a:r>
          </a:p>
        </p:txBody>
      </p:sp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A7DDD3CB-2ED2-AE4D-A538-7380C3D52B2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6583332" y="6616600"/>
            <a:ext cx="1216569" cy="185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800" dirty="0">
                <a:solidFill>
                  <a:schemeClr val="tx1"/>
                </a:solidFill>
                <a:latin typeface="+mn-lt"/>
                <a:cs typeface="CiscoSans Thin"/>
              </a:defRPr>
            </a:lvl1pPr>
          </a:lstStyle>
          <a:p>
            <a:pPr defTabSz="814305"/>
            <a:r>
              <a:rPr lang="en-GB"/>
              <a:t>Session ID</a:t>
            </a: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5FD8359-691C-C74D-8F15-8302958D8DDB}"/>
              </a:ext>
            </a:extLst>
          </p:cNvPr>
          <p:cNvGrpSpPr/>
          <p:nvPr/>
        </p:nvGrpSpPr>
        <p:grpSpPr>
          <a:xfrm>
            <a:off x="715224" y="6381263"/>
            <a:ext cx="1341120" cy="365592"/>
            <a:chOff x="536418" y="4785947"/>
            <a:chExt cx="1005840" cy="274194"/>
          </a:xfrm>
        </p:grpSpPr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B48D0703-6DCC-4145-83E2-962AAE376677}"/>
                </a:ext>
              </a:extLst>
            </p:cNvPr>
            <p:cNvGrpSpPr/>
            <p:nvPr/>
          </p:nvGrpSpPr>
          <p:grpSpPr>
            <a:xfrm>
              <a:off x="536418" y="4930673"/>
              <a:ext cx="386220" cy="86649"/>
              <a:chOff x="2826390" y="-407669"/>
              <a:chExt cx="1216132" cy="272841"/>
            </a:xfrm>
            <a:solidFill>
              <a:schemeClr val="bg2"/>
            </a:solidFill>
          </p:grpSpPr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8D7405DD-F8F2-6140-8620-A5E6A40A1F2F}"/>
                  </a:ext>
                </a:extLst>
              </p:cNvPr>
              <p:cNvSpPr/>
              <p:nvPr/>
            </p:nvSpPr>
            <p:spPr>
              <a:xfrm>
                <a:off x="3112516" y="-397325"/>
                <a:ext cx="68279" cy="250823"/>
              </a:xfrm>
              <a:custGeom>
                <a:avLst/>
                <a:gdLst>
                  <a:gd name="connsiteX0" fmla="*/ 0 w 68279"/>
                  <a:gd name="connsiteY0" fmla="*/ 0 h 250823"/>
                  <a:gd name="connsiteX1" fmla="*/ 68279 w 68279"/>
                  <a:gd name="connsiteY1" fmla="*/ 0 h 250823"/>
                  <a:gd name="connsiteX2" fmla="*/ 68279 w 68279"/>
                  <a:gd name="connsiteY2" fmla="*/ 250824 h 250823"/>
                  <a:gd name="connsiteX3" fmla="*/ 0 w 68279"/>
                  <a:gd name="connsiteY3" fmla="*/ 250824 h 250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279" h="250823">
                    <a:moveTo>
                      <a:pt x="0" y="0"/>
                    </a:moveTo>
                    <a:lnTo>
                      <a:pt x="68279" y="0"/>
                    </a:lnTo>
                    <a:lnTo>
                      <a:pt x="68279" y="250824"/>
                    </a:lnTo>
                    <a:lnTo>
                      <a:pt x="0" y="250824"/>
                    </a:lnTo>
                    <a:close/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473AFCB3-115A-454D-B073-52908F750AA7}"/>
                  </a:ext>
                </a:extLst>
              </p:cNvPr>
              <p:cNvSpPr/>
              <p:nvPr/>
            </p:nvSpPr>
            <p:spPr>
              <a:xfrm>
                <a:off x="3505952" y="-406341"/>
                <a:ext cx="198569" cy="267051"/>
              </a:xfrm>
              <a:custGeom>
                <a:avLst/>
                <a:gdLst>
                  <a:gd name="connsiteX0" fmla="*/ 198570 w 198569"/>
                  <a:gd name="connsiteY0" fmla="*/ 77819 h 267051"/>
                  <a:gd name="connsiteX1" fmla="*/ 142541 w 198569"/>
                  <a:gd name="connsiteY1" fmla="*/ 64058 h 267051"/>
                  <a:gd name="connsiteX2" fmla="*/ 70653 w 198569"/>
                  <a:gd name="connsiteY2" fmla="*/ 132862 h 267051"/>
                  <a:gd name="connsiteX3" fmla="*/ 142826 w 198569"/>
                  <a:gd name="connsiteY3" fmla="*/ 201665 h 267051"/>
                  <a:gd name="connsiteX4" fmla="*/ 198570 w 198569"/>
                  <a:gd name="connsiteY4" fmla="*/ 188284 h 267051"/>
                  <a:gd name="connsiteX5" fmla="*/ 198570 w 198569"/>
                  <a:gd name="connsiteY5" fmla="*/ 257562 h 267051"/>
                  <a:gd name="connsiteX6" fmla="*/ 137983 w 198569"/>
                  <a:gd name="connsiteY6" fmla="*/ 267052 h 267051"/>
                  <a:gd name="connsiteX7" fmla="*/ 0 w 198569"/>
                  <a:gd name="connsiteY7" fmla="*/ 133526 h 267051"/>
                  <a:gd name="connsiteX8" fmla="*/ 138268 w 198569"/>
                  <a:gd name="connsiteY8" fmla="*/ 0 h 267051"/>
                  <a:gd name="connsiteX9" fmla="*/ 198570 w 198569"/>
                  <a:gd name="connsiteY9" fmla="*/ 9490 h 267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8569" h="267051">
                    <a:moveTo>
                      <a:pt x="198570" y="77819"/>
                    </a:moveTo>
                    <a:cubicBezTo>
                      <a:pt x="181462" y="68304"/>
                      <a:pt x="162113" y="63552"/>
                      <a:pt x="142541" y="64058"/>
                    </a:cubicBezTo>
                    <a:cubicBezTo>
                      <a:pt x="100472" y="64058"/>
                      <a:pt x="70653" y="93383"/>
                      <a:pt x="70653" y="132862"/>
                    </a:cubicBezTo>
                    <a:cubicBezTo>
                      <a:pt x="70653" y="172340"/>
                      <a:pt x="99142" y="201665"/>
                      <a:pt x="142826" y="201665"/>
                    </a:cubicBezTo>
                    <a:cubicBezTo>
                      <a:pt x="162269" y="202249"/>
                      <a:pt x="181514" y="197630"/>
                      <a:pt x="198570" y="188284"/>
                    </a:cubicBezTo>
                    <a:lnTo>
                      <a:pt x="198570" y="257562"/>
                    </a:lnTo>
                    <a:cubicBezTo>
                      <a:pt x="178846" y="263222"/>
                      <a:pt x="158494" y="266409"/>
                      <a:pt x="137983" y="267052"/>
                    </a:cubicBezTo>
                    <a:cubicBezTo>
                      <a:pt x="64860" y="267052"/>
                      <a:pt x="0" y="216564"/>
                      <a:pt x="0" y="133526"/>
                    </a:cubicBezTo>
                    <a:cubicBezTo>
                      <a:pt x="0" y="56466"/>
                      <a:pt x="59068" y="0"/>
                      <a:pt x="138268" y="0"/>
                    </a:cubicBezTo>
                    <a:cubicBezTo>
                      <a:pt x="158679" y="710"/>
                      <a:pt x="178928" y="3897"/>
                      <a:pt x="198570" y="9490"/>
                    </a:cubicBezTo>
                    <a:close/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C7B421FB-72F5-1643-BD22-850A3DC40ECD}"/>
                  </a:ext>
                </a:extLst>
              </p:cNvPr>
              <p:cNvSpPr/>
              <p:nvPr/>
            </p:nvSpPr>
            <p:spPr>
              <a:xfrm>
                <a:off x="2826390" y="-407005"/>
                <a:ext cx="195055" cy="267716"/>
              </a:xfrm>
              <a:custGeom>
                <a:avLst/>
                <a:gdLst>
                  <a:gd name="connsiteX0" fmla="*/ 195056 w 195055"/>
                  <a:gd name="connsiteY0" fmla="*/ 78483 h 267716"/>
                  <a:gd name="connsiteX1" fmla="*/ 141401 w 195055"/>
                  <a:gd name="connsiteY1" fmla="*/ 64723 h 267716"/>
                  <a:gd name="connsiteX2" fmla="*/ 72552 w 195055"/>
                  <a:gd name="connsiteY2" fmla="*/ 133526 h 267716"/>
                  <a:gd name="connsiteX3" fmla="*/ 141401 w 195055"/>
                  <a:gd name="connsiteY3" fmla="*/ 202329 h 267716"/>
                  <a:gd name="connsiteX4" fmla="*/ 195056 w 195055"/>
                  <a:gd name="connsiteY4" fmla="*/ 188948 h 267716"/>
                  <a:gd name="connsiteX5" fmla="*/ 195056 w 195055"/>
                  <a:gd name="connsiteY5" fmla="*/ 258226 h 267716"/>
                  <a:gd name="connsiteX6" fmla="*/ 136748 w 195055"/>
                  <a:gd name="connsiteY6" fmla="*/ 267716 h 267716"/>
                  <a:gd name="connsiteX7" fmla="*/ 0 w 195055"/>
                  <a:gd name="connsiteY7" fmla="*/ 133526 h 267716"/>
                  <a:gd name="connsiteX8" fmla="*/ 136463 w 195055"/>
                  <a:gd name="connsiteY8" fmla="*/ 0 h 267716"/>
                  <a:gd name="connsiteX9" fmla="*/ 195056 w 195055"/>
                  <a:gd name="connsiteY9" fmla="*/ 9490 h 267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5055" h="267716">
                    <a:moveTo>
                      <a:pt x="195056" y="78483"/>
                    </a:moveTo>
                    <a:cubicBezTo>
                      <a:pt x="178900" y="68759"/>
                      <a:pt x="160247" y="63976"/>
                      <a:pt x="141401" y="64723"/>
                    </a:cubicBezTo>
                    <a:cubicBezTo>
                      <a:pt x="103377" y="64723"/>
                      <a:pt x="72552" y="95526"/>
                      <a:pt x="72552" y="133526"/>
                    </a:cubicBezTo>
                    <a:cubicBezTo>
                      <a:pt x="72552" y="171525"/>
                      <a:pt x="103377" y="202329"/>
                      <a:pt x="141401" y="202329"/>
                    </a:cubicBezTo>
                    <a:cubicBezTo>
                      <a:pt x="160194" y="203039"/>
                      <a:pt x="178801" y="198399"/>
                      <a:pt x="195056" y="188948"/>
                    </a:cubicBezTo>
                    <a:lnTo>
                      <a:pt x="195056" y="258226"/>
                    </a:lnTo>
                    <a:cubicBezTo>
                      <a:pt x="176125" y="263948"/>
                      <a:pt x="156518" y="267140"/>
                      <a:pt x="136748" y="267716"/>
                    </a:cubicBezTo>
                    <a:cubicBezTo>
                      <a:pt x="63626" y="267052"/>
                      <a:pt x="0" y="216564"/>
                      <a:pt x="0" y="133526"/>
                    </a:cubicBezTo>
                    <a:cubicBezTo>
                      <a:pt x="0" y="56087"/>
                      <a:pt x="56978" y="0"/>
                      <a:pt x="136463" y="0"/>
                    </a:cubicBezTo>
                    <a:cubicBezTo>
                      <a:pt x="167042" y="0"/>
                      <a:pt x="195056" y="7402"/>
                      <a:pt x="195056" y="9490"/>
                    </a:cubicBezTo>
                    <a:close/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C22453C7-091F-7A4C-9C44-30F0BEDEA687}"/>
                  </a:ext>
                </a:extLst>
              </p:cNvPr>
              <p:cNvSpPr/>
              <p:nvPr/>
            </p:nvSpPr>
            <p:spPr>
              <a:xfrm>
                <a:off x="3770165" y="-407058"/>
                <a:ext cx="272357" cy="272230"/>
              </a:xfrm>
              <a:custGeom>
                <a:avLst/>
                <a:gdLst>
                  <a:gd name="connsiteX0" fmla="*/ 272333 w 272357"/>
                  <a:gd name="connsiteY0" fmla="*/ 133579 h 272230"/>
                  <a:gd name="connsiteX1" fmla="*/ 138747 w 272357"/>
                  <a:gd name="connsiteY1" fmla="*/ 272206 h 272230"/>
                  <a:gd name="connsiteX2" fmla="*/ 25 w 272357"/>
                  <a:gd name="connsiteY2" fmla="*/ 138703 h 272230"/>
                  <a:gd name="connsiteX3" fmla="*/ 133619 w 272357"/>
                  <a:gd name="connsiteY3" fmla="*/ 77 h 272230"/>
                  <a:gd name="connsiteX4" fmla="*/ 136155 w 272357"/>
                  <a:gd name="connsiteY4" fmla="*/ 53 h 272230"/>
                  <a:gd name="connsiteX5" fmla="*/ 272285 w 272357"/>
                  <a:gd name="connsiteY5" fmla="*/ 128682 h 272230"/>
                  <a:gd name="connsiteX6" fmla="*/ 272333 w 272357"/>
                  <a:gd name="connsiteY6" fmla="*/ 133579 h 272230"/>
                  <a:gd name="connsiteX7" fmla="*/ 136155 w 272357"/>
                  <a:gd name="connsiteY7" fmla="*/ 65630 h 272230"/>
                  <a:gd name="connsiteX8" fmla="*/ 67591 w 272357"/>
                  <a:gd name="connsiteY8" fmla="*/ 132817 h 272230"/>
                  <a:gd name="connsiteX9" fmla="*/ 134825 w 272357"/>
                  <a:gd name="connsiteY9" fmla="*/ 201332 h 272230"/>
                  <a:gd name="connsiteX10" fmla="*/ 203389 w 272357"/>
                  <a:gd name="connsiteY10" fmla="*/ 134145 h 272230"/>
                  <a:gd name="connsiteX11" fmla="*/ 203389 w 272357"/>
                  <a:gd name="connsiteY11" fmla="*/ 133484 h 272230"/>
                  <a:gd name="connsiteX12" fmla="*/ 138358 w 272357"/>
                  <a:gd name="connsiteY12" fmla="*/ 65640 h 272230"/>
                  <a:gd name="connsiteX13" fmla="*/ 136155 w 272357"/>
                  <a:gd name="connsiteY13" fmla="*/ 65630 h 272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72357" h="272230">
                    <a:moveTo>
                      <a:pt x="272333" y="133579"/>
                    </a:moveTo>
                    <a:cubicBezTo>
                      <a:pt x="273748" y="208725"/>
                      <a:pt x="213940" y="270790"/>
                      <a:pt x="138747" y="272206"/>
                    </a:cubicBezTo>
                    <a:cubicBezTo>
                      <a:pt x="63545" y="273621"/>
                      <a:pt x="1441" y="213850"/>
                      <a:pt x="25" y="138703"/>
                    </a:cubicBezTo>
                    <a:cubicBezTo>
                      <a:pt x="-1391" y="63557"/>
                      <a:pt x="58417" y="1493"/>
                      <a:pt x="133619" y="77"/>
                    </a:cubicBezTo>
                    <a:cubicBezTo>
                      <a:pt x="134464" y="61"/>
                      <a:pt x="135309" y="53"/>
                      <a:pt x="136155" y="53"/>
                    </a:cubicBezTo>
                    <a:cubicBezTo>
                      <a:pt x="209286" y="-1994"/>
                      <a:pt x="270234" y="55595"/>
                      <a:pt x="272285" y="128682"/>
                    </a:cubicBezTo>
                    <a:cubicBezTo>
                      <a:pt x="272333" y="130313"/>
                      <a:pt x="272352" y="131946"/>
                      <a:pt x="272333" y="133579"/>
                    </a:cubicBezTo>
                    <a:moveTo>
                      <a:pt x="136155" y="65630"/>
                    </a:moveTo>
                    <a:cubicBezTo>
                      <a:pt x="98653" y="65262"/>
                      <a:pt x="67961" y="95343"/>
                      <a:pt x="67591" y="132817"/>
                    </a:cubicBezTo>
                    <a:cubicBezTo>
                      <a:pt x="67230" y="170289"/>
                      <a:pt x="97324" y="200965"/>
                      <a:pt x="134825" y="201332"/>
                    </a:cubicBezTo>
                    <a:cubicBezTo>
                      <a:pt x="172326" y="201699"/>
                      <a:pt x="203019" y="171618"/>
                      <a:pt x="203389" y="134145"/>
                    </a:cubicBezTo>
                    <a:cubicBezTo>
                      <a:pt x="203389" y="133924"/>
                      <a:pt x="203389" y="133704"/>
                      <a:pt x="203389" y="133484"/>
                    </a:cubicBezTo>
                    <a:cubicBezTo>
                      <a:pt x="204177" y="96804"/>
                      <a:pt x="175061" y="66429"/>
                      <a:pt x="138358" y="65640"/>
                    </a:cubicBezTo>
                    <a:cubicBezTo>
                      <a:pt x="137626" y="65625"/>
                      <a:pt x="136886" y="65621"/>
                      <a:pt x="136155" y="65630"/>
                    </a:cubicBezTo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F15D9C4A-222B-CB46-8DFC-AE3BD0EEDB43}"/>
                  </a:ext>
                </a:extLst>
              </p:cNvPr>
              <p:cNvSpPr/>
              <p:nvPr/>
            </p:nvSpPr>
            <p:spPr>
              <a:xfrm>
                <a:off x="3260565" y="-407669"/>
                <a:ext cx="181666" cy="267810"/>
              </a:xfrm>
              <a:custGeom>
                <a:avLst/>
                <a:gdLst>
                  <a:gd name="connsiteX0" fmla="*/ 159350 w 181666"/>
                  <a:gd name="connsiteY0" fmla="*/ 63868 h 267810"/>
                  <a:gd name="connsiteX1" fmla="*/ 110633 w 181666"/>
                  <a:gd name="connsiteY1" fmla="*/ 55992 h 267810"/>
                  <a:gd name="connsiteX2" fmla="*/ 71508 w 181666"/>
                  <a:gd name="connsiteY2" fmla="*/ 77155 h 267810"/>
                  <a:gd name="connsiteX3" fmla="*/ 101896 w 181666"/>
                  <a:gd name="connsiteY3" fmla="*/ 101639 h 267810"/>
                  <a:gd name="connsiteX4" fmla="*/ 120034 w 181666"/>
                  <a:gd name="connsiteY4" fmla="*/ 107428 h 267810"/>
                  <a:gd name="connsiteX5" fmla="*/ 181666 w 181666"/>
                  <a:gd name="connsiteY5" fmla="*/ 181166 h 267810"/>
                  <a:gd name="connsiteX6" fmla="*/ 72552 w 181666"/>
                  <a:gd name="connsiteY6" fmla="*/ 267811 h 267810"/>
                  <a:gd name="connsiteX7" fmla="*/ 0 w 181666"/>
                  <a:gd name="connsiteY7" fmla="*/ 260693 h 267810"/>
                  <a:gd name="connsiteX8" fmla="*/ 0 w 181666"/>
                  <a:gd name="connsiteY8" fmla="*/ 201380 h 267810"/>
                  <a:gd name="connsiteX9" fmla="*/ 63816 w 181666"/>
                  <a:gd name="connsiteY9" fmla="*/ 210870 h 267810"/>
                  <a:gd name="connsiteX10" fmla="*/ 112342 w 181666"/>
                  <a:gd name="connsiteY10" fmla="*/ 186765 h 267810"/>
                  <a:gd name="connsiteX11" fmla="*/ 83853 w 181666"/>
                  <a:gd name="connsiteY11" fmla="*/ 161047 h 267810"/>
                  <a:gd name="connsiteX12" fmla="*/ 70273 w 181666"/>
                  <a:gd name="connsiteY12" fmla="*/ 156587 h 267810"/>
                  <a:gd name="connsiteX13" fmla="*/ 3799 w 181666"/>
                  <a:gd name="connsiteY13" fmla="*/ 80666 h 267810"/>
                  <a:gd name="connsiteX14" fmla="*/ 97718 w 181666"/>
                  <a:gd name="connsiteY14" fmla="*/ 0 h 267810"/>
                  <a:gd name="connsiteX15" fmla="*/ 159350 w 181666"/>
                  <a:gd name="connsiteY15" fmla="*/ 9300 h 267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81666" h="267810">
                    <a:moveTo>
                      <a:pt x="159350" y="63868"/>
                    </a:moveTo>
                    <a:cubicBezTo>
                      <a:pt x="143531" y="59099"/>
                      <a:pt x="127149" y="56450"/>
                      <a:pt x="110633" y="55992"/>
                    </a:cubicBezTo>
                    <a:cubicBezTo>
                      <a:pt x="84613" y="55992"/>
                      <a:pt x="71508" y="64723"/>
                      <a:pt x="71508" y="77155"/>
                    </a:cubicBezTo>
                    <a:cubicBezTo>
                      <a:pt x="71508" y="92813"/>
                      <a:pt x="91165" y="98318"/>
                      <a:pt x="101896" y="101639"/>
                    </a:cubicBezTo>
                    <a:lnTo>
                      <a:pt x="120034" y="107428"/>
                    </a:lnTo>
                    <a:cubicBezTo>
                      <a:pt x="162293" y="120809"/>
                      <a:pt x="181666" y="149754"/>
                      <a:pt x="181666" y="181166"/>
                    </a:cubicBezTo>
                    <a:cubicBezTo>
                      <a:pt x="181666" y="245984"/>
                      <a:pt x="122314" y="267811"/>
                      <a:pt x="72552" y="267811"/>
                    </a:cubicBezTo>
                    <a:cubicBezTo>
                      <a:pt x="48241" y="266988"/>
                      <a:pt x="24007" y="264611"/>
                      <a:pt x="0" y="260693"/>
                    </a:cubicBezTo>
                    <a:lnTo>
                      <a:pt x="0" y="201380"/>
                    </a:lnTo>
                    <a:cubicBezTo>
                      <a:pt x="20921" y="206563"/>
                      <a:pt x="42290" y="209741"/>
                      <a:pt x="63816" y="210870"/>
                    </a:cubicBezTo>
                    <a:cubicBezTo>
                      <a:pt x="96198" y="210870"/>
                      <a:pt x="112342" y="201380"/>
                      <a:pt x="112342" y="186765"/>
                    </a:cubicBezTo>
                    <a:cubicBezTo>
                      <a:pt x="112342" y="173669"/>
                      <a:pt x="100092" y="166172"/>
                      <a:pt x="83853" y="161047"/>
                    </a:cubicBezTo>
                    <a:lnTo>
                      <a:pt x="70273" y="156587"/>
                    </a:lnTo>
                    <a:cubicBezTo>
                      <a:pt x="34092" y="145104"/>
                      <a:pt x="3799" y="123846"/>
                      <a:pt x="3799" y="80666"/>
                    </a:cubicBezTo>
                    <a:cubicBezTo>
                      <a:pt x="3799" y="32361"/>
                      <a:pt x="37796" y="0"/>
                      <a:pt x="97718" y="0"/>
                    </a:cubicBezTo>
                    <a:cubicBezTo>
                      <a:pt x="118590" y="278"/>
                      <a:pt x="139326" y="3407"/>
                      <a:pt x="159350" y="9300"/>
                    </a:cubicBezTo>
                    <a:close/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</p:grpSp>
        <p:grpSp>
          <p:nvGrpSpPr>
            <p:cNvPr id="14" name="Group 13">
              <a:extLst>
                <a:ext uri="{FF2B5EF4-FFF2-40B4-BE49-F238E27FC236}">
                  <a16:creationId xmlns:a16="http://schemas.microsoft.com/office/drawing/2014/main" id="{12232814-364E-2147-8CE9-2EED5E0F72D4}"/>
                </a:ext>
              </a:extLst>
            </p:cNvPr>
            <p:cNvGrpSpPr/>
            <p:nvPr/>
          </p:nvGrpSpPr>
          <p:grpSpPr>
            <a:xfrm>
              <a:off x="968312" y="4785947"/>
              <a:ext cx="573946" cy="274194"/>
              <a:chOff x="4186345" y="-863385"/>
              <a:chExt cx="1807247" cy="863385"/>
            </a:xfrm>
            <a:solidFill>
              <a:schemeClr val="bg1"/>
            </a:solidFill>
          </p:grpSpPr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56789BFF-298C-084E-A9F1-CF5A162D2B6C}"/>
                  </a:ext>
                </a:extLst>
              </p:cNvPr>
              <p:cNvSpPr/>
              <p:nvPr/>
            </p:nvSpPr>
            <p:spPr>
              <a:xfrm>
                <a:off x="4186345" y="-863385"/>
                <a:ext cx="1196080" cy="863385"/>
              </a:xfrm>
              <a:custGeom>
                <a:avLst/>
                <a:gdLst>
                  <a:gd name="connsiteX0" fmla="*/ 748245 w 1196080"/>
                  <a:gd name="connsiteY0" fmla="*/ 709196 h 863385"/>
                  <a:gd name="connsiteX1" fmla="*/ 745016 w 1196080"/>
                  <a:gd name="connsiteY1" fmla="*/ 709196 h 863385"/>
                  <a:gd name="connsiteX2" fmla="*/ 735520 w 1196080"/>
                  <a:gd name="connsiteY2" fmla="*/ 716883 h 863385"/>
                  <a:gd name="connsiteX3" fmla="*/ 698389 w 1196080"/>
                  <a:gd name="connsiteY3" fmla="*/ 747156 h 863385"/>
                  <a:gd name="connsiteX4" fmla="*/ 669900 w 1196080"/>
                  <a:gd name="connsiteY4" fmla="*/ 765567 h 863385"/>
                  <a:gd name="connsiteX5" fmla="*/ 620708 w 1196080"/>
                  <a:gd name="connsiteY5" fmla="*/ 781321 h 863385"/>
                  <a:gd name="connsiteX6" fmla="*/ 538754 w 1196080"/>
                  <a:gd name="connsiteY6" fmla="*/ 735673 h 863385"/>
                  <a:gd name="connsiteX7" fmla="*/ 530872 w 1196080"/>
                  <a:gd name="connsiteY7" fmla="*/ 690975 h 863385"/>
                  <a:gd name="connsiteX8" fmla="*/ 544642 w 1196080"/>
                  <a:gd name="connsiteY8" fmla="*/ 639823 h 863385"/>
                  <a:gd name="connsiteX9" fmla="*/ 550910 w 1196080"/>
                  <a:gd name="connsiteY9" fmla="*/ 623880 h 863385"/>
                  <a:gd name="connsiteX10" fmla="*/ 549865 w 1196080"/>
                  <a:gd name="connsiteY10" fmla="*/ 620938 h 863385"/>
                  <a:gd name="connsiteX11" fmla="*/ 548251 w 1196080"/>
                  <a:gd name="connsiteY11" fmla="*/ 620938 h 863385"/>
                  <a:gd name="connsiteX12" fmla="*/ 534006 w 1196080"/>
                  <a:gd name="connsiteY12" fmla="*/ 630428 h 863385"/>
                  <a:gd name="connsiteX13" fmla="*/ 516628 w 1196080"/>
                  <a:gd name="connsiteY13" fmla="*/ 643904 h 863385"/>
                  <a:gd name="connsiteX14" fmla="*/ 498680 w 1196080"/>
                  <a:gd name="connsiteY14" fmla="*/ 656905 h 863385"/>
                  <a:gd name="connsiteX15" fmla="*/ 412167 w 1196080"/>
                  <a:gd name="connsiteY15" fmla="*/ 712423 h 863385"/>
                  <a:gd name="connsiteX16" fmla="*/ 407704 w 1196080"/>
                  <a:gd name="connsiteY16" fmla="*/ 715080 h 863385"/>
                  <a:gd name="connsiteX17" fmla="*/ 332967 w 1196080"/>
                  <a:gd name="connsiteY17" fmla="*/ 760158 h 863385"/>
                  <a:gd name="connsiteX18" fmla="*/ 281592 w 1196080"/>
                  <a:gd name="connsiteY18" fmla="*/ 794227 h 863385"/>
                  <a:gd name="connsiteX19" fmla="*/ 261080 w 1196080"/>
                  <a:gd name="connsiteY19" fmla="*/ 806659 h 863385"/>
                  <a:gd name="connsiteX20" fmla="*/ 211224 w 1196080"/>
                  <a:gd name="connsiteY20" fmla="*/ 833042 h 863385"/>
                  <a:gd name="connsiteX21" fmla="*/ 206855 w 1196080"/>
                  <a:gd name="connsiteY21" fmla="*/ 835794 h 863385"/>
                  <a:gd name="connsiteX22" fmla="*/ 145888 w 1196080"/>
                  <a:gd name="connsiteY22" fmla="*/ 858096 h 863385"/>
                  <a:gd name="connsiteX23" fmla="*/ 119109 w 1196080"/>
                  <a:gd name="connsiteY23" fmla="*/ 863315 h 863385"/>
                  <a:gd name="connsiteX24" fmla="*/ 98596 w 1196080"/>
                  <a:gd name="connsiteY24" fmla="*/ 862082 h 863385"/>
                  <a:gd name="connsiteX25" fmla="*/ 70962 w 1196080"/>
                  <a:gd name="connsiteY25" fmla="*/ 853541 h 863385"/>
                  <a:gd name="connsiteX26" fmla="*/ 12844 w 1196080"/>
                  <a:gd name="connsiteY26" fmla="*/ 799162 h 863385"/>
                  <a:gd name="connsiteX27" fmla="*/ 2778 w 1196080"/>
                  <a:gd name="connsiteY27" fmla="*/ 773824 h 863385"/>
                  <a:gd name="connsiteX28" fmla="*/ 2778 w 1196080"/>
                  <a:gd name="connsiteY28" fmla="*/ 724665 h 863385"/>
                  <a:gd name="connsiteX29" fmla="*/ 15313 w 1196080"/>
                  <a:gd name="connsiteY29" fmla="*/ 685566 h 863385"/>
                  <a:gd name="connsiteX30" fmla="*/ 51494 w 1196080"/>
                  <a:gd name="connsiteY30" fmla="*/ 606038 h 863385"/>
                  <a:gd name="connsiteX31" fmla="*/ 53773 w 1196080"/>
                  <a:gd name="connsiteY31" fmla="*/ 601388 h 863385"/>
                  <a:gd name="connsiteX32" fmla="*/ 83497 w 1196080"/>
                  <a:gd name="connsiteY32" fmla="*/ 543499 h 863385"/>
                  <a:gd name="connsiteX33" fmla="*/ 119014 w 1196080"/>
                  <a:gd name="connsiteY33" fmla="*/ 480959 h 863385"/>
                  <a:gd name="connsiteX34" fmla="*/ 174852 w 1196080"/>
                  <a:gd name="connsiteY34" fmla="*/ 386058 h 863385"/>
                  <a:gd name="connsiteX35" fmla="*/ 188147 w 1196080"/>
                  <a:gd name="connsiteY35" fmla="*/ 362048 h 863385"/>
                  <a:gd name="connsiteX36" fmla="*/ 194985 w 1196080"/>
                  <a:gd name="connsiteY36" fmla="*/ 350185 h 863385"/>
                  <a:gd name="connsiteX37" fmla="*/ 214737 w 1196080"/>
                  <a:gd name="connsiteY37" fmla="*/ 318109 h 863385"/>
                  <a:gd name="connsiteX38" fmla="*/ 243227 w 1196080"/>
                  <a:gd name="connsiteY38" fmla="*/ 270658 h 863385"/>
                  <a:gd name="connsiteX39" fmla="*/ 265448 w 1196080"/>
                  <a:gd name="connsiteY39" fmla="*/ 232033 h 863385"/>
                  <a:gd name="connsiteX40" fmla="*/ 278268 w 1196080"/>
                  <a:gd name="connsiteY40" fmla="*/ 211819 h 863385"/>
                  <a:gd name="connsiteX41" fmla="*/ 349396 w 1196080"/>
                  <a:gd name="connsiteY41" fmla="*/ 75921 h 863385"/>
                  <a:gd name="connsiteX42" fmla="*/ 367724 w 1196080"/>
                  <a:gd name="connsiteY42" fmla="*/ 13476 h 863385"/>
                  <a:gd name="connsiteX43" fmla="*/ 369054 w 1196080"/>
                  <a:gd name="connsiteY43" fmla="*/ 6738 h 863385"/>
                  <a:gd name="connsiteX44" fmla="*/ 377885 w 1196080"/>
                  <a:gd name="connsiteY44" fmla="*/ 0 h 863385"/>
                  <a:gd name="connsiteX45" fmla="*/ 420049 w 1196080"/>
                  <a:gd name="connsiteY45" fmla="*/ 19834 h 863385"/>
                  <a:gd name="connsiteX46" fmla="*/ 428311 w 1196080"/>
                  <a:gd name="connsiteY46" fmla="*/ 41946 h 863385"/>
                  <a:gd name="connsiteX47" fmla="*/ 428311 w 1196080"/>
                  <a:gd name="connsiteY47" fmla="*/ 52196 h 863385"/>
                  <a:gd name="connsiteX48" fmla="*/ 429546 w 1196080"/>
                  <a:gd name="connsiteY48" fmla="*/ 57036 h 863385"/>
                  <a:gd name="connsiteX49" fmla="*/ 432015 w 1196080"/>
                  <a:gd name="connsiteY49" fmla="*/ 74972 h 863385"/>
                  <a:gd name="connsiteX50" fmla="*/ 422993 w 1196080"/>
                  <a:gd name="connsiteY50" fmla="*/ 97084 h 863385"/>
                  <a:gd name="connsiteX51" fmla="*/ 419480 w 1196080"/>
                  <a:gd name="connsiteY51" fmla="*/ 106574 h 863385"/>
                  <a:gd name="connsiteX52" fmla="*/ 414921 w 1196080"/>
                  <a:gd name="connsiteY52" fmla="*/ 115115 h 863385"/>
                  <a:gd name="connsiteX53" fmla="*/ 409508 w 1196080"/>
                  <a:gd name="connsiteY53" fmla="*/ 123561 h 863385"/>
                  <a:gd name="connsiteX54" fmla="*/ 394504 w 1196080"/>
                  <a:gd name="connsiteY54" fmla="*/ 161522 h 863385"/>
                  <a:gd name="connsiteX55" fmla="*/ 355759 w 1196080"/>
                  <a:gd name="connsiteY55" fmla="*/ 234026 h 863385"/>
                  <a:gd name="connsiteX56" fmla="*/ 347782 w 1196080"/>
                  <a:gd name="connsiteY56" fmla="*/ 249210 h 863385"/>
                  <a:gd name="connsiteX57" fmla="*/ 338285 w 1196080"/>
                  <a:gd name="connsiteY57" fmla="*/ 263256 h 863385"/>
                  <a:gd name="connsiteX58" fmla="*/ 325845 w 1196080"/>
                  <a:gd name="connsiteY58" fmla="*/ 285747 h 863385"/>
                  <a:gd name="connsiteX59" fmla="*/ 273805 w 1196080"/>
                  <a:gd name="connsiteY59" fmla="*/ 372392 h 863385"/>
                  <a:gd name="connsiteX60" fmla="*/ 241327 w 1196080"/>
                  <a:gd name="connsiteY60" fmla="*/ 426865 h 863385"/>
                  <a:gd name="connsiteX61" fmla="*/ 212838 w 1196080"/>
                  <a:gd name="connsiteY61" fmla="*/ 475834 h 863385"/>
                  <a:gd name="connsiteX62" fmla="*/ 203816 w 1196080"/>
                  <a:gd name="connsiteY62" fmla="*/ 490354 h 863385"/>
                  <a:gd name="connsiteX63" fmla="*/ 171624 w 1196080"/>
                  <a:gd name="connsiteY63" fmla="*/ 546725 h 863385"/>
                  <a:gd name="connsiteX64" fmla="*/ 169914 w 1196080"/>
                  <a:gd name="connsiteY64" fmla="*/ 549762 h 863385"/>
                  <a:gd name="connsiteX65" fmla="*/ 145603 w 1196080"/>
                  <a:gd name="connsiteY65" fmla="*/ 593037 h 863385"/>
                  <a:gd name="connsiteX66" fmla="*/ 101730 w 1196080"/>
                  <a:gd name="connsiteY66" fmla="*/ 676455 h 863385"/>
                  <a:gd name="connsiteX67" fmla="*/ 96412 w 1196080"/>
                  <a:gd name="connsiteY67" fmla="*/ 687179 h 863385"/>
                  <a:gd name="connsiteX68" fmla="*/ 63650 w 1196080"/>
                  <a:gd name="connsiteY68" fmla="*/ 777145 h 863385"/>
                  <a:gd name="connsiteX69" fmla="*/ 63650 w 1196080"/>
                  <a:gd name="connsiteY69" fmla="*/ 783883 h 863385"/>
                  <a:gd name="connsiteX70" fmla="*/ 73621 w 1196080"/>
                  <a:gd name="connsiteY70" fmla="*/ 791855 h 863385"/>
                  <a:gd name="connsiteX71" fmla="*/ 99071 w 1196080"/>
                  <a:gd name="connsiteY71" fmla="*/ 789482 h 863385"/>
                  <a:gd name="connsiteX72" fmla="*/ 144749 w 1196080"/>
                  <a:gd name="connsiteY72" fmla="*/ 775057 h 863385"/>
                  <a:gd name="connsiteX73" fmla="*/ 206950 w 1196080"/>
                  <a:gd name="connsiteY73" fmla="*/ 746207 h 863385"/>
                  <a:gd name="connsiteX74" fmla="*/ 277983 w 1196080"/>
                  <a:gd name="connsiteY74" fmla="*/ 704830 h 863385"/>
                  <a:gd name="connsiteX75" fmla="*/ 311790 w 1196080"/>
                  <a:gd name="connsiteY75" fmla="*/ 684617 h 863385"/>
                  <a:gd name="connsiteX76" fmla="*/ 340944 w 1196080"/>
                  <a:gd name="connsiteY76" fmla="*/ 666680 h 863385"/>
                  <a:gd name="connsiteX77" fmla="*/ 366490 w 1196080"/>
                  <a:gd name="connsiteY77" fmla="*/ 652825 h 863385"/>
                  <a:gd name="connsiteX78" fmla="*/ 381589 w 1196080"/>
                  <a:gd name="connsiteY78" fmla="*/ 644853 h 863385"/>
                  <a:gd name="connsiteX79" fmla="*/ 403336 w 1196080"/>
                  <a:gd name="connsiteY79" fmla="*/ 631187 h 863385"/>
                  <a:gd name="connsiteX80" fmla="*/ 458700 w 1196080"/>
                  <a:gd name="connsiteY80" fmla="*/ 597877 h 863385"/>
                  <a:gd name="connsiteX81" fmla="*/ 470380 w 1196080"/>
                  <a:gd name="connsiteY81" fmla="*/ 590759 h 863385"/>
                  <a:gd name="connsiteX82" fmla="*/ 579494 w 1196080"/>
                  <a:gd name="connsiteY82" fmla="*/ 529928 h 863385"/>
                  <a:gd name="connsiteX83" fmla="*/ 637612 w 1196080"/>
                  <a:gd name="connsiteY83" fmla="*/ 475834 h 863385"/>
                  <a:gd name="connsiteX84" fmla="*/ 650717 w 1196080"/>
                  <a:gd name="connsiteY84" fmla="*/ 469381 h 863385"/>
                  <a:gd name="connsiteX85" fmla="*/ 679206 w 1196080"/>
                  <a:gd name="connsiteY85" fmla="*/ 479535 h 863385"/>
                  <a:gd name="connsiteX86" fmla="*/ 699528 w 1196080"/>
                  <a:gd name="connsiteY86" fmla="*/ 508765 h 863385"/>
                  <a:gd name="connsiteX87" fmla="*/ 699054 w 1196080"/>
                  <a:gd name="connsiteY87" fmla="*/ 518255 h 863385"/>
                  <a:gd name="connsiteX88" fmla="*/ 695540 w 1196080"/>
                  <a:gd name="connsiteY88" fmla="*/ 524139 h 863385"/>
                  <a:gd name="connsiteX89" fmla="*/ 671039 w 1196080"/>
                  <a:gd name="connsiteY89" fmla="*/ 564851 h 863385"/>
                  <a:gd name="connsiteX90" fmla="*/ 666196 w 1196080"/>
                  <a:gd name="connsiteY90" fmla="*/ 573867 h 863385"/>
                  <a:gd name="connsiteX91" fmla="*/ 658029 w 1196080"/>
                  <a:gd name="connsiteY91" fmla="*/ 586868 h 863385"/>
                  <a:gd name="connsiteX92" fmla="*/ 643500 w 1196080"/>
                  <a:gd name="connsiteY92" fmla="*/ 608031 h 863385"/>
                  <a:gd name="connsiteX93" fmla="*/ 602380 w 1196080"/>
                  <a:gd name="connsiteY93" fmla="*/ 692778 h 863385"/>
                  <a:gd name="connsiteX94" fmla="*/ 594593 w 1196080"/>
                  <a:gd name="connsiteY94" fmla="*/ 717168 h 863385"/>
                  <a:gd name="connsiteX95" fmla="*/ 594593 w 1196080"/>
                  <a:gd name="connsiteY95" fmla="*/ 727322 h 863385"/>
                  <a:gd name="connsiteX96" fmla="*/ 596967 w 1196080"/>
                  <a:gd name="connsiteY96" fmla="*/ 729220 h 863385"/>
                  <a:gd name="connsiteX97" fmla="*/ 704182 w 1196080"/>
                  <a:gd name="connsiteY97" fmla="*/ 653299 h 863385"/>
                  <a:gd name="connsiteX98" fmla="*/ 804938 w 1196080"/>
                  <a:gd name="connsiteY98" fmla="*/ 536476 h 863385"/>
                  <a:gd name="connsiteX99" fmla="*/ 833428 w 1196080"/>
                  <a:gd name="connsiteY99" fmla="*/ 456949 h 863385"/>
                  <a:gd name="connsiteX100" fmla="*/ 853655 w 1196080"/>
                  <a:gd name="connsiteY100" fmla="*/ 409498 h 863385"/>
                  <a:gd name="connsiteX101" fmla="*/ 874927 w 1196080"/>
                  <a:gd name="connsiteY101" fmla="*/ 359011 h 863385"/>
                  <a:gd name="connsiteX102" fmla="*/ 884993 w 1196080"/>
                  <a:gd name="connsiteY102" fmla="*/ 351514 h 863385"/>
                  <a:gd name="connsiteX103" fmla="*/ 930196 w 1196080"/>
                  <a:gd name="connsiteY103" fmla="*/ 373246 h 863385"/>
                  <a:gd name="connsiteX104" fmla="*/ 933140 w 1196080"/>
                  <a:gd name="connsiteY104" fmla="*/ 377517 h 863385"/>
                  <a:gd name="connsiteX105" fmla="*/ 933140 w 1196080"/>
                  <a:gd name="connsiteY105" fmla="*/ 390233 h 863385"/>
                  <a:gd name="connsiteX106" fmla="*/ 912343 w 1196080"/>
                  <a:gd name="connsiteY106" fmla="*/ 435311 h 863385"/>
                  <a:gd name="connsiteX107" fmla="*/ 900282 w 1196080"/>
                  <a:gd name="connsiteY107" fmla="*/ 465585 h 863385"/>
                  <a:gd name="connsiteX108" fmla="*/ 849002 w 1196080"/>
                  <a:gd name="connsiteY108" fmla="*/ 605374 h 863385"/>
                  <a:gd name="connsiteX109" fmla="*/ 844443 w 1196080"/>
                  <a:gd name="connsiteY109" fmla="*/ 621887 h 863385"/>
                  <a:gd name="connsiteX110" fmla="*/ 844443 w 1196080"/>
                  <a:gd name="connsiteY110" fmla="*/ 626822 h 863385"/>
                  <a:gd name="connsiteX111" fmla="*/ 848527 w 1196080"/>
                  <a:gd name="connsiteY111" fmla="*/ 628815 h 863385"/>
                  <a:gd name="connsiteX112" fmla="*/ 852515 w 1196080"/>
                  <a:gd name="connsiteY112" fmla="*/ 625778 h 863385"/>
                  <a:gd name="connsiteX113" fmla="*/ 871508 w 1196080"/>
                  <a:gd name="connsiteY113" fmla="*/ 599395 h 863385"/>
                  <a:gd name="connsiteX114" fmla="*/ 928486 w 1196080"/>
                  <a:gd name="connsiteY114" fmla="*/ 522525 h 863385"/>
                  <a:gd name="connsiteX115" fmla="*/ 1042918 w 1196080"/>
                  <a:gd name="connsiteY115" fmla="*/ 397256 h 863385"/>
                  <a:gd name="connsiteX116" fmla="*/ 1080904 w 1196080"/>
                  <a:gd name="connsiteY116" fmla="*/ 362332 h 863385"/>
                  <a:gd name="connsiteX117" fmla="*/ 1109393 w 1196080"/>
                  <a:gd name="connsiteY117" fmla="*/ 340410 h 863385"/>
                  <a:gd name="connsiteX118" fmla="*/ 1132944 w 1196080"/>
                  <a:gd name="connsiteY118" fmla="*/ 330920 h 863385"/>
                  <a:gd name="connsiteX119" fmla="*/ 1139497 w 1196080"/>
                  <a:gd name="connsiteY119" fmla="*/ 329307 h 863385"/>
                  <a:gd name="connsiteX120" fmla="*/ 1169885 w 1196080"/>
                  <a:gd name="connsiteY120" fmla="*/ 330351 h 863385"/>
                  <a:gd name="connsiteX121" fmla="*/ 1174443 w 1196080"/>
                  <a:gd name="connsiteY121" fmla="*/ 332628 h 863385"/>
                  <a:gd name="connsiteX122" fmla="*/ 1186124 w 1196080"/>
                  <a:gd name="connsiteY122" fmla="*/ 339461 h 863385"/>
                  <a:gd name="connsiteX123" fmla="*/ 1195620 w 1196080"/>
                  <a:gd name="connsiteY123" fmla="*/ 350849 h 863385"/>
                  <a:gd name="connsiteX124" fmla="*/ 1194480 w 1196080"/>
                  <a:gd name="connsiteY124" fmla="*/ 357208 h 863385"/>
                  <a:gd name="connsiteX125" fmla="*/ 1187833 w 1196080"/>
                  <a:gd name="connsiteY125" fmla="*/ 362522 h 863385"/>
                  <a:gd name="connsiteX126" fmla="*/ 1169885 w 1196080"/>
                  <a:gd name="connsiteY126" fmla="*/ 372582 h 863385"/>
                  <a:gd name="connsiteX127" fmla="*/ 1137122 w 1196080"/>
                  <a:gd name="connsiteY127" fmla="*/ 394314 h 863385"/>
                  <a:gd name="connsiteX128" fmla="*/ 1100181 w 1196080"/>
                  <a:gd name="connsiteY128" fmla="*/ 427529 h 863385"/>
                  <a:gd name="connsiteX129" fmla="*/ 1046906 w 1196080"/>
                  <a:gd name="connsiteY129" fmla="*/ 483331 h 863385"/>
                  <a:gd name="connsiteX130" fmla="*/ 992682 w 1196080"/>
                  <a:gd name="connsiteY130" fmla="*/ 545207 h 863385"/>
                  <a:gd name="connsiteX131" fmla="*/ 985560 w 1196080"/>
                  <a:gd name="connsiteY131" fmla="*/ 554697 h 863385"/>
                  <a:gd name="connsiteX132" fmla="*/ 957735 w 1196080"/>
                  <a:gd name="connsiteY132" fmla="*/ 591613 h 863385"/>
                  <a:gd name="connsiteX133" fmla="*/ 938743 w 1196080"/>
                  <a:gd name="connsiteY133" fmla="*/ 615718 h 863385"/>
                  <a:gd name="connsiteX134" fmla="*/ 936178 w 1196080"/>
                  <a:gd name="connsiteY134" fmla="*/ 620084 h 863385"/>
                  <a:gd name="connsiteX135" fmla="*/ 928866 w 1196080"/>
                  <a:gd name="connsiteY135" fmla="*/ 631567 h 863385"/>
                  <a:gd name="connsiteX136" fmla="*/ 879485 w 1196080"/>
                  <a:gd name="connsiteY136" fmla="*/ 699421 h 863385"/>
                  <a:gd name="connsiteX137" fmla="*/ 815194 w 1196080"/>
                  <a:gd name="connsiteY137" fmla="*/ 820325 h 863385"/>
                  <a:gd name="connsiteX138" fmla="*/ 800190 w 1196080"/>
                  <a:gd name="connsiteY138" fmla="*/ 847182 h 863385"/>
                  <a:gd name="connsiteX139" fmla="*/ 791169 w 1196080"/>
                  <a:gd name="connsiteY139" fmla="*/ 857526 h 863385"/>
                  <a:gd name="connsiteX140" fmla="*/ 773790 w 1196080"/>
                  <a:gd name="connsiteY140" fmla="*/ 862082 h 863385"/>
                  <a:gd name="connsiteX141" fmla="*/ 756222 w 1196080"/>
                  <a:gd name="connsiteY141" fmla="*/ 851927 h 863385"/>
                  <a:gd name="connsiteX142" fmla="*/ 734095 w 1196080"/>
                  <a:gd name="connsiteY142" fmla="*/ 830574 h 863385"/>
                  <a:gd name="connsiteX143" fmla="*/ 731056 w 1196080"/>
                  <a:gd name="connsiteY143" fmla="*/ 824691 h 863385"/>
                  <a:gd name="connsiteX144" fmla="*/ 731056 w 1196080"/>
                  <a:gd name="connsiteY144" fmla="*/ 800870 h 863385"/>
                  <a:gd name="connsiteX145" fmla="*/ 746061 w 1196080"/>
                  <a:gd name="connsiteY145" fmla="*/ 721723 h 863385"/>
                  <a:gd name="connsiteX146" fmla="*/ 747010 w 1196080"/>
                  <a:gd name="connsiteY146" fmla="*/ 708247 h 863385"/>
                  <a:gd name="connsiteX147" fmla="*/ 748245 w 1196080"/>
                  <a:gd name="connsiteY147" fmla="*/ 708247 h 863385"/>
                  <a:gd name="connsiteX148" fmla="*/ 748245 w 1196080"/>
                  <a:gd name="connsiteY148" fmla="*/ 707298 h 863385"/>
                  <a:gd name="connsiteX149" fmla="*/ 747390 w 1196080"/>
                  <a:gd name="connsiteY149" fmla="*/ 708816 h 863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</a:cxnLst>
                <a:rect l="l" t="t" r="r" b="b"/>
                <a:pathLst>
                  <a:path w="1196080" h="863385">
                    <a:moveTo>
                      <a:pt x="748245" y="709196"/>
                    </a:moveTo>
                    <a:cubicBezTo>
                      <a:pt x="747200" y="709196"/>
                      <a:pt x="745776" y="709196"/>
                      <a:pt x="745016" y="709196"/>
                    </a:cubicBezTo>
                    <a:cubicBezTo>
                      <a:pt x="741882" y="711569"/>
                      <a:pt x="738843" y="714226"/>
                      <a:pt x="735520" y="716883"/>
                    </a:cubicBezTo>
                    <a:cubicBezTo>
                      <a:pt x="723554" y="727512"/>
                      <a:pt x="711304" y="737761"/>
                      <a:pt x="698389" y="747156"/>
                    </a:cubicBezTo>
                    <a:cubicBezTo>
                      <a:pt x="689329" y="753937"/>
                      <a:pt x="679804" y="760089"/>
                      <a:pt x="669900" y="765567"/>
                    </a:cubicBezTo>
                    <a:cubicBezTo>
                      <a:pt x="655190" y="775074"/>
                      <a:pt x="638210" y="780510"/>
                      <a:pt x="620708" y="781321"/>
                    </a:cubicBezTo>
                    <a:cubicBezTo>
                      <a:pt x="586730" y="783789"/>
                      <a:pt x="554528" y="765853"/>
                      <a:pt x="538754" y="735673"/>
                    </a:cubicBezTo>
                    <a:cubicBezTo>
                      <a:pt x="531091" y="722112"/>
                      <a:pt x="528308" y="706337"/>
                      <a:pt x="530872" y="690975"/>
                    </a:cubicBezTo>
                    <a:cubicBezTo>
                      <a:pt x="533398" y="673435"/>
                      <a:pt x="538023" y="656262"/>
                      <a:pt x="544642" y="639823"/>
                    </a:cubicBezTo>
                    <a:cubicBezTo>
                      <a:pt x="546731" y="634509"/>
                      <a:pt x="548915" y="629194"/>
                      <a:pt x="550910" y="623880"/>
                    </a:cubicBezTo>
                    <a:cubicBezTo>
                      <a:pt x="550910" y="623121"/>
                      <a:pt x="550340" y="621887"/>
                      <a:pt x="549865" y="620938"/>
                    </a:cubicBezTo>
                    <a:cubicBezTo>
                      <a:pt x="549390" y="619989"/>
                      <a:pt x="548726" y="620938"/>
                      <a:pt x="548251" y="620938"/>
                    </a:cubicBezTo>
                    <a:cubicBezTo>
                      <a:pt x="543104" y="623454"/>
                      <a:pt x="538308" y="626645"/>
                      <a:pt x="534006" y="630428"/>
                    </a:cubicBezTo>
                    <a:cubicBezTo>
                      <a:pt x="528555" y="635348"/>
                      <a:pt x="522753" y="639853"/>
                      <a:pt x="516628" y="643904"/>
                    </a:cubicBezTo>
                    <a:cubicBezTo>
                      <a:pt x="510873" y="648543"/>
                      <a:pt x="504881" y="652883"/>
                      <a:pt x="498680" y="656905"/>
                    </a:cubicBezTo>
                    <a:cubicBezTo>
                      <a:pt x="470190" y="675886"/>
                      <a:pt x="441701" y="694866"/>
                      <a:pt x="412167" y="712423"/>
                    </a:cubicBezTo>
                    <a:cubicBezTo>
                      <a:pt x="410648" y="713277"/>
                      <a:pt x="409128" y="714131"/>
                      <a:pt x="407704" y="715080"/>
                    </a:cubicBezTo>
                    <a:cubicBezTo>
                      <a:pt x="383583" y="731403"/>
                      <a:pt x="358133" y="745543"/>
                      <a:pt x="332967" y="760158"/>
                    </a:cubicBezTo>
                    <a:cubicBezTo>
                      <a:pt x="315143" y="770418"/>
                      <a:pt x="297983" y="781796"/>
                      <a:pt x="281592" y="794227"/>
                    </a:cubicBezTo>
                    <a:cubicBezTo>
                      <a:pt x="275305" y="799214"/>
                      <a:pt x="268411" y="803391"/>
                      <a:pt x="261080" y="806659"/>
                    </a:cubicBezTo>
                    <a:cubicBezTo>
                      <a:pt x="243796" y="814251"/>
                      <a:pt x="227842" y="824216"/>
                      <a:pt x="211224" y="833042"/>
                    </a:cubicBezTo>
                    <a:cubicBezTo>
                      <a:pt x="209828" y="834048"/>
                      <a:pt x="208365" y="834967"/>
                      <a:pt x="206855" y="835794"/>
                    </a:cubicBezTo>
                    <a:cubicBezTo>
                      <a:pt x="187084" y="844643"/>
                      <a:pt x="166704" y="852095"/>
                      <a:pt x="145888" y="858096"/>
                    </a:cubicBezTo>
                    <a:cubicBezTo>
                      <a:pt x="137104" y="860491"/>
                      <a:pt x="128149" y="862235"/>
                      <a:pt x="119109" y="863315"/>
                    </a:cubicBezTo>
                    <a:cubicBezTo>
                      <a:pt x="112243" y="863564"/>
                      <a:pt x="105377" y="863151"/>
                      <a:pt x="98596" y="862082"/>
                    </a:cubicBezTo>
                    <a:cubicBezTo>
                      <a:pt x="88919" y="861029"/>
                      <a:pt x="79537" y="858130"/>
                      <a:pt x="70962" y="853541"/>
                    </a:cubicBezTo>
                    <a:cubicBezTo>
                      <a:pt x="47097" y="840899"/>
                      <a:pt x="27031" y="822128"/>
                      <a:pt x="12844" y="799162"/>
                    </a:cubicBezTo>
                    <a:cubicBezTo>
                      <a:pt x="7896" y="791437"/>
                      <a:pt x="4478" y="782835"/>
                      <a:pt x="2778" y="773824"/>
                    </a:cubicBezTo>
                    <a:cubicBezTo>
                      <a:pt x="-926" y="757647"/>
                      <a:pt x="-926" y="740842"/>
                      <a:pt x="2778" y="724665"/>
                    </a:cubicBezTo>
                    <a:cubicBezTo>
                      <a:pt x="5893" y="711314"/>
                      <a:pt x="10080" y="698239"/>
                      <a:pt x="15313" y="685566"/>
                    </a:cubicBezTo>
                    <a:cubicBezTo>
                      <a:pt x="27278" y="658993"/>
                      <a:pt x="39434" y="632516"/>
                      <a:pt x="51494" y="606038"/>
                    </a:cubicBezTo>
                    <a:cubicBezTo>
                      <a:pt x="52159" y="604443"/>
                      <a:pt x="52919" y="602891"/>
                      <a:pt x="53773" y="601388"/>
                    </a:cubicBezTo>
                    <a:cubicBezTo>
                      <a:pt x="64789" y="582408"/>
                      <a:pt x="73431" y="562764"/>
                      <a:pt x="83497" y="543499"/>
                    </a:cubicBezTo>
                    <a:cubicBezTo>
                      <a:pt x="94608" y="522241"/>
                      <a:pt x="106953" y="501647"/>
                      <a:pt x="119014" y="480959"/>
                    </a:cubicBezTo>
                    <a:cubicBezTo>
                      <a:pt x="137532" y="449452"/>
                      <a:pt x="156334" y="418039"/>
                      <a:pt x="174852" y="386058"/>
                    </a:cubicBezTo>
                    <a:cubicBezTo>
                      <a:pt x="179411" y="378181"/>
                      <a:pt x="183684" y="370114"/>
                      <a:pt x="188147" y="362048"/>
                    </a:cubicBezTo>
                    <a:cubicBezTo>
                      <a:pt x="190189" y="357959"/>
                      <a:pt x="192468" y="353997"/>
                      <a:pt x="194985" y="350185"/>
                    </a:cubicBezTo>
                    <a:cubicBezTo>
                      <a:pt x="202297" y="339936"/>
                      <a:pt x="208280" y="328927"/>
                      <a:pt x="214737" y="318109"/>
                    </a:cubicBezTo>
                    <a:cubicBezTo>
                      <a:pt x="224234" y="302355"/>
                      <a:pt x="233730" y="286886"/>
                      <a:pt x="243227" y="270658"/>
                    </a:cubicBezTo>
                    <a:cubicBezTo>
                      <a:pt x="250824" y="257941"/>
                      <a:pt x="257946" y="244845"/>
                      <a:pt x="265448" y="232033"/>
                    </a:cubicBezTo>
                    <a:cubicBezTo>
                      <a:pt x="269560" y="225200"/>
                      <a:pt x="273833" y="218462"/>
                      <a:pt x="278268" y="211819"/>
                    </a:cubicBezTo>
                    <a:cubicBezTo>
                      <a:pt x="307080" y="169373"/>
                      <a:pt x="330935" y="123778"/>
                      <a:pt x="349396" y="75921"/>
                    </a:cubicBezTo>
                    <a:cubicBezTo>
                      <a:pt x="357107" y="55611"/>
                      <a:pt x="363242" y="34733"/>
                      <a:pt x="367724" y="13476"/>
                    </a:cubicBezTo>
                    <a:cubicBezTo>
                      <a:pt x="367724" y="11293"/>
                      <a:pt x="368484" y="9016"/>
                      <a:pt x="369054" y="6738"/>
                    </a:cubicBezTo>
                    <a:cubicBezTo>
                      <a:pt x="370241" y="2826"/>
                      <a:pt x="373792" y="111"/>
                      <a:pt x="377885" y="0"/>
                    </a:cubicBezTo>
                    <a:cubicBezTo>
                      <a:pt x="394067" y="535"/>
                      <a:pt x="409318" y="7709"/>
                      <a:pt x="420049" y="19834"/>
                    </a:cubicBezTo>
                    <a:cubicBezTo>
                      <a:pt x="425244" y="26051"/>
                      <a:pt x="428159" y="33851"/>
                      <a:pt x="428311" y="41946"/>
                    </a:cubicBezTo>
                    <a:cubicBezTo>
                      <a:pt x="428311" y="45363"/>
                      <a:pt x="428311" y="48779"/>
                      <a:pt x="428311" y="52196"/>
                    </a:cubicBezTo>
                    <a:cubicBezTo>
                      <a:pt x="428283" y="53890"/>
                      <a:pt x="428710" y="55561"/>
                      <a:pt x="429546" y="57036"/>
                    </a:cubicBezTo>
                    <a:cubicBezTo>
                      <a:pt x="433126" y="62302"/>
                      <a:pt x="434038" y="68935"/>
                      <a:pt x="432015" y="74972"/>
                    </a:cubicBezTo>
                    <a:cubicBezTo>
                      <a:pt x="430210" y="82777"/>
                      <a:pt x="427162" y="90243"/>
                      <a:pt x="422993" y="97084"/>
                    </a:cubicBezTo>
                    <a:cubicBezTo>
                      <a:pt x="420942" y="99850"/>
                      <a:pt x="419727" y="103141"/>
                      <a:pt x="419480" y="106574"/>
                    </a:cubicBezTo>
                    <a:cubicBezTo>
                      <a:pt x="419641" y="110040"/>
                      <a:pt x="417884" y="113315"/>
                      <a:pt x="414921" y="115115"/>
                    </a:cubicBezTo>
                    <a:cubicBezTo>
                      <a:pt x="412091" y="117122"/>
                      <a:pt x="410145" y="120151"/>
                      <a:pt x="409508" y="123561"/>
                    </a:cubicBezTo>
                    <a:cubicBezTo>
                      <a:pt x="405852" y="136704"/>
                      <a:pt x="400819" y="149427"/>
                      <a:pt x="394504" y="161522"/>
                    </a:cubicBezTo>
                    <a:cubicBezTo>
                      <a:pt x="382634" y="186196"/>
                      <a:pt x="369908" y="210586"/>
                      <a:pt x="355759" y="234026"/>
                    </a:cubicBezTo>
                    <a:cubicBezTo>
                      <a:pt x="352815" y="238866"/>
                      <a:pt x="350726" y="244275"/>
                      <a:pt x="347782" y="249210"/>
                    </a:cubicBezTo>
                    <a:cubicBezTo>
                      <a:pt x="344838" y="254145"/>
                      <a:pt x="341134" y="258700"/>
                      <a:pt x="338285" y="263256"/>
                    </a:cubicBezTo>
                    <a:cubicBezTo>
                      <a:pt x="333917" y="270563"/>
                      <a:pt x="329929" y="278250"/>
                      <a:pt x="325845" y="285747"/>
                    </a:cubicBezTo>
                    <a:cubicBezTo>
                      <a:pt x="309416" y="315167"/>
                      <a:pt x="291943" y="344016"/>
                      <a:pt x="273805" y="372392"/>
                    </a:cubicBezTo>
                    <a:cubicBezTo>
                      <a:pt x="262409" y="390233"/>
                      <a:pt x="252153" y="408739"/>
                      <a:pt x="241327" y="426865"/>
                    </a:cubicBezTo>
                    <a:cubicBezTo>
                      <a:pt x="231005" y="442691"/>
                      <a:pt x="221489" y="459036"/>
                      <a:pt x="212838" y="475834"/>
                    </a:cubicBezTo>
                    <a:cubicBezTo>
                      <a:pt x="210217" y="480903"/>
                      <a:pt x="207197" y="485758"/>
                      <a:pt x="203816" y="490354"/>
                    </a:cubicBezTo>
                    <a:cubicBezTo>
                      <a:pt x="191613" y="508263"/>
                      <a:pt x="180845" y="527113"/>
                      <a:pt x="171624" y="546725"/>
                    </a:cubicBezTo>
                    <a:cubicBezTo>
                      <a:pt x="171111" y="547768"/>
                      <a:pt x="170541" y="548783"/>
                      <a:pt x="169914" y="549762"/>
                    </a:cubicBezTo>
                    <a:cubicBezTo>
                      <a:pt x="160997" y="563717"/>
                      <a:pt x="152887" y="578165"/>
                      <a:pt x="145603" y="593037"/>
                    </a:cubicBezTo>
                    <a:cubicBezTo>
                      <a:pt x="130219" y="620369"/>
                      <a:pt x="116165" y="648554"/>
                      <a:pt x="101730" y="676455"/>
                    </a:cubicBezTo>
                    <a:cubicBezTo>
                      <a:pt x="99831" y="679966"/>
                      <a:pt x="98311" y="683668"/>
                      <a:pt x="96412" y="687179"/>
                    </a:cubicBezTo>
                    <a:cubicBezTo>
                      <a:pt x="82054" y="715804"/>
                      <a:pt x="71057" y="745994"/>
                      <a:pt x="63650" y="777145"/>
                    </a:cubicBezTo>
                    <a:cubicBezTo>
                      <a:pt x="63175" y="779366"/>
                      <a:pt x="63175" y="781662"/>
                      <a:pt x="63650" y="783883"/>
                    </a:cubicBezTo>
                    <a:cubicBezTo>
                      <a:pt x="64799" y="788479"/>
                      <a:pt x="68882" y="791741"/>
                      <a:pt x="73621" y="791855"/>
                    </a:cubicBezTo>
                    <a:cubicBezTo>
                      <a:pt x="82168" y="792158"/>
                      <a:pt x="90724" y="791361"/>
                      <a:pt x="99071" y="789482"/>
                    </a:cubicBezTo>
                    <a:cubicBezTo>
                      <a:pt x="114664" y="785913"/>
                      <a:pt x="129934" y="781088"/>
                      <a:pt x="144749" y="775057"/>
                    </a:cubicBezTo>
                    <a:cubicBezTo>
                      <a:pt x="166021" y="766647"/>
                      <a:pt x="186789" y="757015"/>
                      <a:pt x="206950" y="746207"/>
                    </a:cubicBezTo>
                    <a:cubicBezTo>
                      <a:pt x="231166" y="733301"/>
                      <a:pt x="254432" y="719066"/>
                      <a:pt x="277983" y="704830"/>
                    </a:cubicBezTo>
                    <a:cubicBezTo>
                      <a:pt x="289189" y="697903"/>
                      <a:pt x="300585" y="691355"/>
                      <a:pt x="311790" y="684617"/>
                    </a:cubicBezTo>
                    <a:cubicBezTo>
                      <a:pt x="321287" y="678733"/>
                      <a:pt x="331353" y="672849"/>
                      <a:pt x="340944" y="666680"/>
                    </a:cubicBezTo>
                    <a:cubicBezTo>
                      <a:pt x="349007" y="661270"/>
                      <a:pt x="357554" y="656631"/>
                      <a:pt x="366490" y="652825"/>
                    </a:cubicBezTo>
                    <a:cubicBezTo>
                      <a:pt x="371713" y="650546"/>
                      <a:pt x="376765" y="647881"/>
                      <a:pt x="381589" y="644853"/>
                    </a:cubicBezTo>
                    <a:cubicBezTo>
                      <a:pt x="388996" y="640488"/>
                      <a:pt x="396024" y="635363"/>
                      <a:pt x="403336" y="631187"/>
                    </a:cubicBezTo>
                    <a:cubicBezTo>
                      <a:pt x="421122" y="619014"/>
                      <a:pt x="439612" y="607892"/>
                      <a:pt x="458700" y="597877"/>
                    </a:cubicBezTo>
                    <a:cubicBezTo>
                      <a:pt x="462755" y="595778"/>
                      <a:pt x="466658" y="593400"/>
                      <a:pt x="470380" y="590759"/>
                    </a:cubicBezTo>
                    <a:cubicBezTo>
                      <a:pt x="505327" y="567888"/>
                      <a:pt x="544452" y="552799"/>
                      <a:pt x="579494" y="529928"/>
                    </a:cubicBezTo>
                    <a:cubicBezTo>
                      <a:pt x="625361" y="500508"/>
                      <a:pt x="633433" y="482477"/>
                      <a:pt x="637612" y="475834"/>
                    </a:cubicBezTo>
                    <a:cubicBezTo>
                      <a:pt x="640432" y="471405"/>
                      <a:pt x="645484" y="468916"/>
                      <a:pt x="650717" y="469381"/>
                    </a:cubicBezTo>
                    <a:cubicBezTo>
                      <a:pt x="661134" y="469190"/>
                      <a:pt x="671258" y="472800"/>
                      <a:pt x="679206" y="479535"/>
                    </a:cubicBezTo>
                    <a:cubicBezTo>
                      <a:pt x="688180" y="487551"/>
                      <a:pt x="695141" y="497564"/>
                      <a:pt x="699528" y="508765"/>
                    </a:cubicBezTo>
                    <a:cubicBezTo>
                      <a:pt x="700753" y="511848"/>
                      <a:pt x="700573" y="515308"/>
                      <a:pt x="699054" y="518255"/>
                    </a:cubicBezTo>
                    <a:cubicBezTo>
                      <a:pt x="698066" y="520321"/>
                      <a:pt x="696888" y="522290"/>
                      <a:pt x="695540" y="524139"/>
                    </a:cubicBezTo>
                    <a:cubicBezTo>
                      <a:pt x="690982" y="530782"/>
                      <a:pt x="675597" y="558303"/>
                      <a:pt x="671039" y="564851"/>
                    </a:cubicBezTo>
                    <a:cubicBezTo>
                      <a:pt x="669140" y="567604"/>
                      <a:pt x="668000" y="570925"/>
                      <a:pt x="666196" y="573867"/>
                    </a:cubicBezTo>
                    <a:cubicBezTo>
                      <a:pt x="663632" y="578327"/>
                      <a:pt x="660878" y="582693"/>
                      <a:pt x="658029" y="586868"/>
                    </a:cubicBezTo>
                    <a:cubicBezTo>
                      <a:pt x="653281" y="593986"/>
                      <a:pt x="647868" y="600724"/>
                      <a:pt x="643500" y="608031"/>
                    </a:cubicBezTo>
                    <a:cubicBezTo>
                      <a:pt x="627356" y="635032"/>
                      <a:pt x="613595" y="663388"/>
                      <a:pt x="602380" y="692778"/>
                    </a:cubicBezTo>
                    <a:cubicBezTo>
                      <a:pt x="599341" y="700750"/>
                      <a:pt x="597062" y="709006"/>
                      <a:pt x="594593" y="717168"/>
                    </a:cubicBezTo>
                    <a:cubicBezTo>
                      <a:pt x="593406" y="720448"/>
                      <a:pt x="593406" y="724041"/>
                      <a:pt x="594593" y="727322"/>
                    </a:cubicBezTo>
                    <a:cubicBezTo>
                      <a:pt x="594593" y="728176"/>
                      <a:pt x="596018" y="729315"/>
                      <a:pt x="596967" y="729220"/>
                    </a:cubicBezTo>
                    <a:cubicBezTo>
                      <a:pt x="617764" y="727702"/>
                      <a:pt x="686708" y="668768"/>
                      <a:pt x="704182" y="653299"/>
                    </a:cubicBezTo>
                    <a:cubicBezTo>
                      <a:pt x="728113" y="632041"/>
                      <a:pt x="779203" y="603761"/>
                      <a:pt x="804938" y="536476"/>
                    </a:cubicBezTo>
                    <a:cubicBezTo>
                      <a:pt x="811681" y="518824"/>
                      <a:pt x="819278" y="496712"/>
                      <a:pt x="833428" y="456949"/>
                    </a:cubicBezTo>
                    <a:cubicBezTo>
                      <a:pt x="839258" y="440758"/>
                      <a:pt x="846010" y="424915"/>
                      <a:pt x="853655" y="409498"/>
                    </a:cubicBezTo>
                    <a:cubicBezTo>
                      <a:pt x="861936" y="393193"/>
                      <a:pt x="869039" y="376322"/>
                      <a:pt x="874927" y="359011"/>
                    </a:cubicBezTo>
                    <a:cubicBezTo>
                      <a:pt x="875914" y="354336"/>
                      <a:pt x="880226" y="351124"/>
                      <a:pt x="884993" y="351514"/>
                    </a:cubicBezTo>
                    <a:cubicBezTo>
                      <a:pt x="902210" y="353006"/>
                      <a:pt x="918287" y="360735"/>
                      <a:pt x="930196" y="373246"/>
                    </a:cubicBezTo>
                    <a:cubicBezTo>
                      <a:pt x="931307" y="374577"/>
                      <a:pt x="932294" y="376007"/>
                      <a:pt x="933140" y="377517"/>
                    </a:cubicBezTo>
                    <a:cubicBezTo>
                      <a:pt x="935808" y="381335"/>
                      <a:pt x="935808" y="386415"/>
                      <a:pt x="933140" y="390233"/>
                    </a:cubicBezTo>
                    <a:cubicBezTo>
                      <a:pt x="924849" y="404597"/>
                      <a:pt x="917888" y="419685"/>
                      <a:pt x="912343" y="435311"/>
                    </a:cubicBezTo>
                    <a:cubicBezTo>
                      <a:pt x="908354" y="445466"/>
                      <a:pt x="904651" y="455620"/>
                      <a:pt x="900282" y="465585"/>
                    </a:cubicBezTo>
                    <a:cubicBezTo>
                      <a:pt x="880216" y="511038"/>
                      <a:pt x="863085" y="557730"/>
                      <a:pt x="849002" y="605374"/>
                    </a:cubicBezTo>
                    <a:cubicBezTo>
                      <a:pt x="847387" y="610878"/>
                      <a:pt x="845773" y="616383"/>
                      <a:pt x="844443" y="621887"/>
                    </a:cubicBezTo>
                    <a:cubicBezTo>
                      <a:pt x="844120" y="623515"/>
                      <a:pt x="844120" y="625193"/>
                      <a:pt x="844443" y="626822"/>
                    </a:cubicBezTo>
                    <a:cubicBezTo>
                      <a:pt x="844443" y="628150"/>
                      <a:pt x="847577" y="629574"/>
                      <a:pt x="848527" y="628815"/>
                    </a:cubicBezTo>
                    <a:cubicBezTo>
                      <a:pt x="849989" y="627989"/>
                      <a:pt x="851328" y="626967"/>
                      <a:pt x="852515" y="625778"/>
                    </a:cubicBezTo>
                    <a:cubicBezTo>
                      <a:pt x="858973" y="617047"/>
                      <a:pt x="865715" y="608506"/>
                      <a:pt x="871508" y="599395"/>
                    </a:cubicBezTo>
                    <a:cubicBezTo>
                      <a:pt x="888830" y="572574"/>
                      <a:pt x="907860" y="546898"/>
                      <a:pt x="928486" y="522525"/>
                    </a:cubicBezTo>
                    <a:cubicBezTo>
                      <a:pt x="964763" y="479061"/>
                      <a:pt x="1002558" y="437114"/>
                      <a:pt x="1042918" y="397256"/>
                    </a:cubicBezTo>
                    <a:cubicBezTo>
                      <a:pt x="1055073" y="385204"/>
                      <a:pt x="1067704" y="373626"/>
                      <a:pt x="1080904" y="362332"/>
                    </a:cubicBezTo>
                    <a:cubicBezTo>
                      <a:pt x="1090400" y="354456"/>
                      <a:pt x="1099896" y="347433"/>
                      <a:pt x="1109393" y="340410"/>
                    </a:cubicBezTo>
                    <a:cubicBezTo>
                      <a:pt x="1116221" y="335143"/>
                      <a:pt x="1124369" y="331860"/>
                      <a:pt x="1132944" y="330920"/>
                    </a:cubicBezTo>
                    <a:cubicBezTo>
                      <a:pt x="1135185" y="330664"/>
                      <a:pt x="1137388" y="330121"/>
                      <a:pt x="1139497" y="329307"/>
                    </a:cubicBezTo>
                    <a:cubicBezTo>
                      <a:pt x="1149506" y="326613"/>
                      <a:pt x="1160085" y="326976"/>
                      <a:pt x="1169885" y="330351"/>
                    </a:cubicBezTo>
                    <a:cubicBezTo>
                      <a:pt x="1171575" y="330718"/>
                      <a:pt x="1173142" y="331501"/>
                      <a:pt x="1174443" y="332628"/>
                    </a:cubicBezTo>
                    <a:cubicBezTo>
                      <a:pt x="1177824" y="335689"/>
                      <a:pt x="1181803" y="338016"/>
                      <a:pt x="1186124" y="339461"/>
                    </a:cubicBezTo>
                    <a:cubicBezTo>
                      <a:pt x="1190881" y="341580"/>
                      <a:pt x="1194395" y="345787"/>
                      <a:pt x="1195620" y="350849"/>
                    </a:cubicBezTo>
                    <a:cubicBezTo>
                      <a:pt x="1196522" y="353009"/>
                      <a:pt x="1196076" y="355494"/>
                      <a:pt x="1194480" y="357208"/>
                    </a:cubicBezTo>
                    <a:cubicBezTo>
                      <a:pt x="1192486" y="359240"/>
                      <a:pt x="1190255" y="361024"/>
                      <a:pt x="1187833" y="362522"/>
                    </a:cubicBezTo>
                    <a:cubicBezTo>
                      <a:pt x="1181945" y="366034"/>
                      <a:pt x="1175963" y="369355"/>
                      <a:pt x="1169885" y="372582"/>
                    </a:cubicBezTo>
                    <a:cubicBezTo>
                      <a:pt x="1158290" y="378757"/>
                      <a:pt x="1147321" y="386034"/>
                      <a:pt x="1137122" y="394314"/>
                    </a:cubicBezTo>
                    <a:cubicBezTo>
                      <a:pt x="1124141" y="404626"/>
                      <a:pt x="1111805" y="415718"/>
                      <a:pt x="1100181" y="427529"/>
                    </a:cubicBezTo>
                    <a:cubicBezTo>
                      <a:pt x="1082233" y="445940"/>
                      <a:pt x="1064380" y="464446"/>
                      <a:pt x="1046906" y="483331"/>
                    </a:cubicBezTo>
                    <a:cubicBezTo>
                      <a:pt x="1029433" y="502217"/>
                      <a:pt x="1009871" y="523759"/>
                      <a:pt x="992682" y="545207"/>
                    </a:cubicBezTo>
                    <a:cubicBezTo>
                      <a:pt x="990109" y="548219"/>
                      <a:pt x="987734" y="551389"/>
                      <a:pt x="985560" y="554697"/>
                    </a:cubicBezTo>
                    <a:cubicBezTo>
                      <a:pt x="977269" y="567715"/>
                      <a:pt x="967963" y="580058"/>
                      <a:pt x="957735" y="591613"/>
                    </a:cubicBezTo>
                    <a:cubicBezTo>
                      <a:pt x="951088" y="599490"/>
                      <a:pt x="944820" y="607652"/>
                      <a:pt x="938743" y="615718"/>
                    </a:cubicBezTo>
                    <a:cubicBezTo>
                      <a:pt x="937641" y="617014"/>
                      <a:pt x="936777" y="618490"/>
                      <a:pt x="936178" y="620084"/>
                    </a:cubicBezTo>
                    <a:cubicBezTo>
                      <a:pt x="934640" y="624413"/>
                      <a:pt x="932143" y="628339"/>
                      <a:pt x="928866" y="631567"/>
                    </a:cubicBezTo>
                    <a:cubicBezTo>
                      <a:pt x="910785" y="652961"/>
                      <a:pt x="894280" y="675639"/>
                      <a:pt x="879485" y="699421"/>
                    </a:cubicBezTo>
                    <a:cubicBezTo>
                      <a:pt x="854842" y="737934"/>
                      <a:pt x="833342" y="778366"/>
                      <a:pt x="815194" y="820325"/>
                    </a:cubicBezTo>
                    <a:cubicBezTo>
                      <a:pt x="811272" y="829837"/>
                      <a:pt x="806230" y="838852"/>
                      <a:pt x="800190" y="847182"/>
                    </a:cubicBezTo>
                    <a:cubicBezTo>
                      <a:pt x="797417" y="850826"/>
                      <a:pt x="794397" y="854282"/>
                      <a:pt x="791169" y="857526"/>
                    </a:cubicBezTo>
                    <a:cubicBezTo>
                      <a:pt x="786629" y="862077"/>
                      <a:pt x="779982" y="863819"/>
                      <a:pt x="773790" y="862082"/>
                    </a:cubicBezTo>
                    <a:cubicBezTo>
                      <a:pt x="767029" y="860580"/>
                      <a:pt x="760894" y="857035"/>
                      <a:pt x="756222" y="851927"/>
                    </a:cubicBezTo>
                    <a:cubicBezTo>
                      <a:pt x="749365" y="844288"/>
                      <a:pt x="741977" y="837152"/>
                      <a:pt x="734095" y="830574"/>
                    </a:cubicBezTo>
                    <a:cubicBezTo>
                      <a:pt x="732500" y="828972"/>
                      <a:pt x="731436" y="826917"/>
                      <a:pt x="731056" y="824691"/>
                    </a:cubicBezTo>
                    <a:cubicBezTo>
                      <a:pt x="729537" y="816823"/>
                      <a:pt x="729537" y="808738"/>
                      <a:pt x="731056" y="800870"/>
                    </a:cubicBezTo>
                    <a:cubicBezTo>
                      <a:pt x="735330" y="774298"/>
                      <a:pt x="739793" y="747821"/>
                      <a:pt x="746061" y="721723"/>
                    </a:cubicBezTo>
                    <a:cubicBezTo>
                      <a:pt x="747751" y="717434"/>
                      <a:pt x="748083" y="712730"/>
                      <a:pt x="747010" y="708247"/>
                    </a:cubicBezTo>
                    <a:cubicBezTo>
                      <a:pt x="747419" y="708337"/>
                      <a:pt x="747837" y="708337"/>
                      <a:pt x="748245" y="708247"/>
                    </a:cubicBezTo>
                    <a:cubicBezTo>
                      <a:pt x="748245" y="708247"/>
                      <a:pt x="748245" y="707298"/>
                      <a:pt x="748245" y="707298"/>
                    </a:cubicBezTo>
                    <a:cubicBezTo>
                      <a:pt x="748245" y="707298"/>
                      <a:pt x="746820" y="707298"/>
                      <a:pt x="747390" y="708816"/>
                    </a:cubicBezTo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23ED3E01-524E-5843-8AF8-5B18D40B85DF}"/>
                  </a:ext>
                </a:extLst>
              </p:cNvPr>
              <p:cNvSpPr/>
              <p:nvPr/>
            </p:nvSpPr>
            <p:spPr>
              <a:xfrm>
                <a:off x="4921141" y="-580737"/>
                <a:ext cx="66058" cy="65097"/>
              </a:xfrm>
              <a:custGeom>
                <a:avLst/>
                <a:gdLst>
                  <a:gd name="connsiteX0" fmla="*/ 3952 w 66058"/>
                  <a:gd name="connsiteY0" fmla="*/ 4713 h 65097"/>
                  <a:gd name="connsiteX1" fmla="*/ 55993 w 66058"/>
                  <a:gd name="connsiteY1" fmla="*/ 11831 h 65097"/>
                  <a:gd name="connsiteX2" fmla="*/ 66059 w 66058"/>
                  <a:gd name="connsiteY2" fmla="*/ 31665 h 65097"/>
                  <a:gd name="connsiteX3" fmla="*/ 64255 w 66058"/>
                  <a:gd name="connsiteY3" fmla="*/ 49127 h 65097"/>
                  <a:gd name="connsiteX4" fmla="*/ 63020 w 66058"/>
                  <a:gd name="connsiteY4" fmla="*/ 58048 h 65097"/>
                  <a:gd name="connsiteX5" fmla="*/ 14303 w 66058"/>
                  <a:gd name="connsiteY5" fmla="*/ 54252 h 65097"/>
                  <a:gd name="connsiteX6" fmla="*/ 2718 w 66058"/>
                  <a:gd name="connsiteY6" fmla="*/ 34227 h 65097"/>
                  <a:gd name="connsiteX7" fmla="*/ 3952 w 66058"/>
                  <a:gd name="connsiteY7" fmla="*/ 4713 h 65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058" h="65097">
                    <a:moveTo>
                      <a:pt x="3952" y="4713"/>
                    </a:moveTo>
                    <a:cubicBezTo>
                      <a:pt x="24654" y="-127"/>
                      <a:pt x="39849" y="-5346"/>
                      <a:pt x="55993" y="11831"/>
                    </a:cubicBezTo>
                    <a:cubicBezTo>
                      <a:pt x="61833" y="16859"/>
                      <a:pt x="65451" y="23987"/>
                      <a:pt x="66059" y="31665"/>
                    </a:cubicBezTo>
                    <a:cubicBezTo>
                      <a:pt x="66059" y="37264"/>
                      <a:pt x="64349" y="43243"/>
                      <a:pt x="64255" y="49127"/>
                    </a:cubicBezTo>
                    <a:cubicBezTo>
                      <a:pt x="64255" y="52828"/>
                      <a:pt x="65204" y="54726"/>
                      <a:pt x="63020" y="58048"/>
                    </a:cubicBezTo>
                    <a:cubicBezTo>
                      <a:pt x="53524" y="72567"/>
                      <a:pt x="25034" y="61274"/>
                      <a:pt x="14303" y="54252"/>
                    </a:cubicBezTo>
                    <a:cubicBezTo>
                      <a:pt x="6611" y="49222"/>
                      <a:pt x="5662" y="42294"/>
                      <a:pt x="2718" y="34227"/>
                    </a:cubicBezTo>
                    <a:cubicBezTo>
                      <a:pt x="-1299" y="24698"/>
                      <a:pt x="-843" y="13874"/>
                      <a:pt x="3952" y="4713"/>
                    </a:cubicBezTo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BDD7060F-85B5-484E-AE52-00F24584D3D1}"/>
                  </a:ext>
                </a:extLst>
              </p:cNvPr>
              <p:cNvSpPr/>
              <p:nvPr/>
            </p:nvSpPr>
            <p:spPr>
              <a:xfrm>
                <a:off x="5175172" y="-425891"/>
                <a:ext cx="412425" cy="351340"/>
              </a:xfrm>
              <a:custGeom>
                <a:avLst/>
                <a:gdLst>
                  <a:gd name="connsiteX0" fmla="*/ 151 w 412425"/>
                  <a:gd name="connsiteY0" fmla="*/ 240100 h 351340"/>
                  <a:gd name="connsiteX1" fmla="*/ 4139 w 412425"/>
                  <a:gd name="connsiteY1" fmla="*/ 204987 h 351340"/>
                  <a:gd name="connsiteX2" fmla="*/ 14775 w 412425"/>
                  <a:gd name="connsiteY2" fmla="*/ 177940 h 351340"/>
                  <a:gd name="connsiteX3" fmla="*/ 99388 w 412425"/>
                  <a:gd name="connsiteY3" fmla="*/ 68614 h 351340"/>
                  <a:gd name="connsiteX4" fmla="*/ 141267 w 412425"/>
                  <a:gd name="connsiteY4" fmla="*/ 33406 h 351340"/>
                  <a:gd name="connsiteX5" fmla="*/ 184666 w 412425"/>
                  <a:gd name="connsiteY5" fmla="*/ 9491 h 351340"/>
                  <a:gd name="connsiteX6" fmla="*/ 229584 w 412425"/>
                  <a:gd name="connsiteY6" fmla="*/ 1 h 351340"/>
                  <a:gd name="connsiteX7" fmla="*/ 291405 w 412425"/>
                  <a:gd name="connsiteY7" fmla="*/ 28471 h 351340"/>
                  <a:gd name="connsiteX8" fmla="*/ 305080 w 412425"/>
                  <a:gd name="connsiteY8" fmla="*/ 64628 h 351340"/>
                  <a:gd name="connsiteX9" fmla="*/ 299003 w 412425"/>
                  <a:gd name="connsiteY9" fmla="*/ 87405 h 351340"/>
                  <a:gd name="connsiteX10" fmla="*/ 278775 w 412425"/>
                  <a:gd name="connsiteY10" fmla="*/ 116919 h 351340"/>
                  <a:gd name="connsiteX11" fmla="*/ 264341 w 412425"/>
                  <a:gd name="connsiteY11" fmla="*/ 135899 h 351340"/>
                  <a:gd name="connsiteX12" fmla="*/ 174220 w 412425"/>
                  <a:gd name="connsiteY12" fmla="*/ 208593 h 351340"/>
                  <a:gd name="connsiteX13" fmla="*/ 134430 w 412425"/>
                  <a:gd name="connsiteY13" fmla="*/ 223683 h 351340"/>
                  <a:gd name="connsiteX14" fmla="*/ 95590 w 412425"/>
                  <a:gd name="connsiteY14" fmla="*/ 221500 h 351340"/>
                  <a:gd name="connsiteX15" fmla="*/ 79161 w 412425"/>
                  <a:gd name="connsiteY15" fmla="*/ 216755 h 351340"/>
                  <a:gd name="connsiteX16" fmla="*/ 71754 w 412425"/>
                  <a:gd name="connsiteY16" fmla="*/ 219697 h 351340"/>
                  <a:gd name="connsiteX17" fmla="*/ 70709 w 412425"/>
                  <a:gd name="connsiteY17" fmla="*/ 221120 h 351340"/>
                  <a:gd name="connsiteX18" fmla="*/ 57889 w 412425"/>
                  <a:gd name="connsiteY18" fmla="*/ 266768 h 351340"/>
                  <a:gd name="connsiteX19" fmla="*/ 58649 w 412425"/>
                  <a:gd name="connsiteY19" fmla="*/ 277017 h 351340"/>
                  <a:gd name="connsiteX20" fmla="*/ 68810 w 412425"/>
                  <a:gd name="connsiteY20" fmla="*/ 294099 h 351340"/>
                  <a:gd name="connsiteX21" fmla="*/ 72893 w 412425"/>
                  <a:gd name="connsiteY21" fmla="*/ 297231 h 351340"/>
                  <a:gd name="connsiteX22" fmla="*/ 91886 w 412425"/>
                  <a:gd name="connsiteY22" fmla="*/ 301881 h 351340"/>
                  <a:gd name="connsiteX23" fmla="*/ 111734 w 412425"/>
                  <a:gd name="connsiteY23" fmla="*/ 296756 h 351340"/>
                  <a:gd name="connsiteX24" fmla="*/ 164629 w 412425"/>
                  <a:gd name="connsiteY24" fmla="*/ 269235 h 351340"/>
                  <a:gd name="connsiteX25" fmla="*/ 177354 w 412425"/>
                  <a:gd name="connsiteY25" fmla="*/ 260504 h 351340"/>
                  <a:gd name="connsiteX26" fmla="*/ 256839 w 412425"/>
                  <a:gd name="connsiteY26" fmla="*/ 198154 h 351340"/>
                  <a:gd name="connsiteX27" fmla="*/ 312582 w 412425"/>
                  <a:gd name="connsiteY27" fmla="*/ 152697 h 351340"/>
                  <a:gd name="connsiteX28" fmla="*/ 350568 w 412425"/>
                  <a:gd name="connsiteY28" fmla="*/ 125934 h 351340"/>
                  <a:gd name="connsiteX29" fmla="*/ 376018 w 412425"/>
                  <a:gd name="connsiteY29" fmla="*/ 111794 h 351340"/>
                  <a:gd name="connsiteX30" fmla="*/ 398810 w 412425"/>
                  <a:gd name="connsiteY30" fmla="*/ 104961 h 351340"/>
                  <a:gd name="connsiteX31" fmla="*/ 407166 w 412425"/>
                  <a:gd name="connsiteY31" fmla="*/ 106195 h 351340"/>
                  <a:gd name="connsiteX32" fmla="*/ 411535 w 412425"/>
                  <a:gd name="connsiteY32" fmla="*/ 111035 h 351340"/>
                  <a:gd name="connsiteX33" fmla="*/ 411535 w 412425"/>
                  <a:gd name="connsiteY33" fmla="*/ 122898 h 351340"/>
                  <a:gd name="connsiteX34" fmla="*/ 407831 w 412425"/>
                  <a:gd name="connsiteY34" fmla="*/ 132388 h 351340"/>
                  <a:gd name="connsiteX35" fmla="*/ 398335 w 412425"/>
                  <a:gd name="connsiteY35" fmla="*/ 150704 h 351340"/>
                  <a:gd name="connsiteX36" fmla="*/ 375828 w 412425"/>
                  <a:gd name="connsiteY36" fmla="*/ 178320 h 351340"/>
                  <a:gd name="connsiteX37" fmla="*/ 350663 w 412425"/>
                  <a:gd name="connsiteY37" fmla="*/ 198913 h 351340"/>
                  <a:gd name="connsiteX38" fmla="*/ 293020 w 412425"/>
                  <a:gd name="connsiteY38" fmla="*/ 254905 h 351340"/>
                  <a:gd name="connsiteX39" fmla="*/ 281719 w 412425"/>
                  <a:gd name="connsiteY39" fmla="*/ 264775 h 351340"/>
                  <a:gd name="connsiteX40" fmla="*/ 246772 w 412425"/>
                  <a:gd name="connsiteY40" fmla="*/ 289449 h 351340"/>
                  <a:gd name="connsiteX41" fmla="*/ 229394 w 412425"/>
                  <a:gd name="connsiteY41" fmla="*/ 303210 h 351340"/>
                  <a:gd name="connsiteX42" fmla="*/ 210401 w 412425"/>
                  <a:gd name="connsiteY42" fmla="*/ 314788 h 351340"/>
                  <a:gd name="connsiteX43" fmla="*/ 180013 w 412425"/>
                  <a:gd name="connsiteY43" fmla="*/ 330446 h 351340"/>
                  <a:gd name="connsiteX44" fmla="*/ 161590 w 412425"/>
                  <a:gd name="connsiteY44" fmla="*/ 339367 h 351340"/>
                  <a:gd name="connsiteX45" fmla="*/ 128732 w 412425"/>
                  <a:gd name="connsiteY45" fmla="*/ 348857 h 351340"/>
                  <a:gd name="connsiteX46" fmla="*/ 40321 w 412425"/>
                  <a:gd name="connsiteY46" fmla="*/ 327504 h 351340"/>
                  <a:gd name="connsiteX47" fmla="*/ 7843 w 412425"/>
                  <a:gd name="connsiteY47" fmla="*/ 282047 h 351340"/>
                  <a:gd name="connsiteX48" fmla="*/ 246 w 412425"/>
                  <a:gd name="connsiteY48" fmla="*/ 239816 h 351340"/>
                  <a:gd name="connsiteX49" fmla="*/ 102807 w 412425"/>
                  <a:gd name="connsiteY49" fmla="*/ 176042 h 351340"/>
                  <a:gd name="connsiteX50" fmla="*/ 112303 w 412425"/>
                  <a:gd name="connsiteY50" fmla="*/ 173859 h 351340"/>
                  <a:gd name="connsiteX51" fmla="*/ 143641 w 412425"/>
                  <a:gd name="connsiteY51" fmla="*/ 156398 h 351340"/>
                  <a:gd name="connsiteX52" fmla="*/ 221132 w 412425"/>
                  <a:gd name="connsiteY52" fmla="*/ 86740 h 351340"/>
                  <a:gd name="connsiteX53" fmla="*/ 237656 w 412425"/>
                  <a:gd name="connsiteY53" fmla="*/ 64818 h 351340"/>
                  <a:gd name="connsiteX54" fmla="*/ 240790 w 412425"/>
                  <a:gd name="connsiteY54" fmla="*/ 58744 h 351340"/>
                  <a:gd name="connsiteX55" fmla="*/ 240790 w 412425"/>
                  <a:gd name="connsiteY55" fmla="*/ 55708 h 351340"/>
                  <a:gd name="connsiteX56" fmla="*/ 237846 w 412425"/>
                  <a:gd name="connsiteY56" fmla="*/ 54569 h 351340"/>
                  <a:gd name="connsiteX57" fmla="*/ 225121 w 412425"/>
                  <a:gd name="connsiteY57" fmla="*/ 59409 h 351340"/>
                  <a:gd name="connsiteX58" fmla="*/ 192453 w 412425"/>
                  <a:gd name="connsiteY58" fmla="*/ 81331 h 351340"/>
                  <a:gd name="connsiteX59" fmla="*/ 126453 w 412425"/>
                  <a:gd name="connsiteY59" fmla="*/ 141119 h 351340"/>
                  <a:gd name="connsiteX60" fmla="*/ 104042 w 412425"/>
                  <a:gd name="connsiteY60" fmla="*/ 167027 h 351340"/>
                  <a:gd name="connsiteX61" fmla="*/ 101098 w 412425"/>
                  <a:gd name="connsiteY61" fmla="*/ 173005 h 351340"/>
                  <a:gd name="connsiteX62" fmla="*/ 103092 w 412425"/>
                  <a:gd name="connsiteY62" fmla="*/ 176042 h 351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412425" h="351340">
                    <a:moveTo>
                      <a:pt x="151" y="240100"/>
                    </a:moveTo>
                    <a:cubicBezTo>
                      <a:pt x="28" y="228277"/>
                      <a:pt x="1366" y="216482"/>
                      <a:pt x="4139" y="204987"/>
                    </a:cubicBezTo>
                    <a:cubicBezTo>
                      <a:pt x="6523" y="195557"/>
                      <a:pt x="10094" y="186468"/>
                      <a:pt x="14775" y="177940"/>
                    </a:cubicBezTo>
                    <a:cubicBezTo>
                      <a:pt x="37757" y="137744"/>
                      <a:pt x="66236" y="100948"/>
                      <a:pt x="99388" y="68614"/>
                    </a:cubicBezTo>
                    <a:cubicBezTo>
                      <a:pt x="112275" y="55665"/>
                      <a:pt x="126292" y="43882"/>
                      <a:pt x="141267" y="33406"/>
                    </a:cubicBezTo>
                    <a:cubicBezTo>
                      <a:pt x="154714" y="23715"/>
                      <a:pt x="169291" y="15686"/>
                      <a:pt x="184666" y="9491"/>
                    </a:cubicBezTo>
                    <a:cubicBezTo>
                      <a:pt x="198910" y="3549"/>
                      <a:pt x="214152" y="330"/>
                      <a:pt x="229584" y="1"/>
                    </a:cubicBezTo>
                    <a:cubicBezTo>
                      <a:pt x="253382" y="-94"/>
                      <a:pt x="276012" y="10327"/>
                      <a:pt x="291405" y="28471"/>
                    </a:cubicBezTo>
                    <a:cubicBezTo>
                      <a:pt x="300171" y="38484"/>
                      <a:pt x="305033" y="51323"/>
                      <a:pt x="305080" y="64628"/>
                    </a:cubicBezTo>
                    <a:cubicBezTo>
                      <a:pt x="305593" y="72680"/>
                      <a:pt x="303456" y="80677"/>
                      <a:pt x="299003" y="87405"/>
                    </a:cubicBezTo>
                    <a:cubicBezTo>
                      <a:pt x="292868" y="97643"/>
                      <a:pt x="286106" y="107499"/>
                      <a:pt x="278775" y="116919"/>
                    </a:cubicBezTo>
                    <a:cubicBezTo>
                      <a:pt x="273362" y="122803"/>
                      <a:pt x="269279" y="130015"/>
                      <a:pt x="264341" y="135899"/>
                    </a:cubicBezTo>
                    <a:cubicBezTo>
                      <a:pt x="239147" y="165583"/>
                      <a:pt x="208568" y="190247"/>
                      <a:pt x="174220" y="208593"/>
                    </a:cubicBezTo>
                    <a:cubicBezTo>
                      <a:pt x="161713" y="215428"/>
                      <a:pt x="148323" y="220505"/>
                      <a:pt x="134430" y="223683"/>
                    </a:cubicBezTo>
                    <a:cubicBezTo>
                      <a:pt x="121496" y="226100"/>
                      <a:pt x="108172" y="225351"/>
                      <a:pt x="95590" y="221500"/>
                    </a:cubicBezTo>
                    <a:cubicBezTo>
                      <a:pt x="90082" y="219981"/>
                      <a:pt x="84764" y="218083"/>
                      <a:pt x="79161" y="216755"/>
                    </a:cubicBezTo>
                    <a:cubicBezTo>
                      <a:pt x="76322" y="216077"/>
                      <a:pt x="73359" y="217254"/>
                      <a:pt x="71754" y="219697"/>
                    </a:cubicBezTo>
                    <a:cubicBezTo>
                      <a:pt x="71355" y="220130"/>
                      <a:pt x="71004" y="220608"/>
                      <a:pt x="70709" y="221120"/>
                    </a:cubicBezTo>
                    <a:cubicBezTo>
                      <a:pt x="63065" y="235181"/>
                      <a:pt x="58677" y="250782"/>
                      <a:pt x="57889" y="266768"/>
                    </a:cubicBezTo>
                    <a:cubicBezTo>
                      <a:pt x="57861" y="270199"/>
                      <a:pt x="58117" y="273627"/>
                      <a:pt x="58649" y="277017"/>
                    </a:cubicBezTo>
                    <a:cubicBezTo>
                      <a:pt x="59238" y="283966"/>
                      <a:pt x="62989" y="290259"/>
                      <a:pt x="68810" y="294099"/>
                    </a:cubicBezTo>
                    <a:cubicBezTo>
                      <a:pt x="70234" y="295060"/>
                      <a:pt x="71592" y="296105"/>
                      <a:pt x="72893" y="297231"/>
                    </a:cubicBezTo>
                    <a:cubicBezTo>
                      <a:pt x="78259" y="301436"/>
                      <a:pt x="85182" y="303130"/>
                      <a:pt x="91886" y="301881"/>
                    </a:cubicBezTo>
                    <a:cubicBezTo>
                      <a:pt x="98667" y="300893"/>
                      <a:pt x="105323" y="299175"/>
                      <a:pt x="111734" y="296756"/>
                    </a:cubicBezTo>
                    <a:cubicBezTo>
                      <a:pt x="130366" y="289645"/>
                      <a:pt x="148114" y="280411"/>
                      <a:pt x="164629" y="269235"/>
                    </a:cubicBezTo>
                    <a:cubicBezTo>
                      <a:pt x="168807" y="266198"/>
                      <a:pt x="173175" y="263446"/>
                      <a:pt x="177354" y="260504"/>
                    </a:cubicBezTo>
                    <a:cubicBezTo>
                      <a:pt x="204988" y="241524"/>
                      <a:pt x="230913" y="219697"/>
                      <a:pt x="256839" y="198154"/>
                    </a:cubicBezTo>
                    <a:cubicBezTo>
                      <a:pt x="275262" y="182780"/>
                      <a:pt x="293685" y="167501"/>
                      <a:pt x="312582" y="152697"/>
                    </a:cubicBezTo>
                    <a:cubicBezTo>
                      <a:pt x="324643" y="143206"/>
                      <a:pt x="337368" y="134381"/>
                      <a:pt x="350568" y="125934"/>
                    </a:cubicBezTo>
                    <a:cubicBezTo>
                      <a:pt x="358801" y="120777"/>
                      <a:pt x="367291" y="116057"/>
                      <a:pt x="376018" y="111794"/>
                    </a:cubicBezTo>
                    <a:cubicBezTo>
                      <a:pt x="383160" y="108197"/>
                      <a:pt x="390871" y="105885"/>
                      <a:pt x="398810" y="104961"/>
                    </a:cubicBezTo>
                    <a:cubicBezTo>
                      <a:pt x="401649" y="104865"/>
                      <a:pt x="404479" y="105284"/>
                      <a:pt x="407166" y="106195"/>
                    </a:cubicBezTo>
                    <a:cubicBezTo>
                      <a:pt x="409389" y="106901"/>
                      <a:pt x="411060" y="108752"/>
                      <a:pt x="411535" y="111035"/>
                    </a:cubicBezTo>
                    <a:cubicBezTo>
                      <a:pt x="412722" y="114900"/>
                      <a:pt x="412722" y="119032"/>
                      <a:pt x="411535" y="122898"/>
                    </a:cubicBezTo>
                    <a:cubicBezTo>
                      <a:pt x="410481" y="126128"/>
                      <a:pt x="409246" y="129296"/>
                      <a:pt x="407831" y="132388"/>
                    </a:cubicBezTo>
                    <a:cubicBezTo>
                      <a:pt x="404887" y="138556"/>
                      <a:pt x="401564" y="144535"/>
                      <a:pt x="398335" y="150704"/>
                    </a:cubicBezTo>
                    <a:cubicBezTo>
                      <a:pt x="393112" y="161551"/>
                      <a:pt x="385401" y="171012"/>
                      <a:pt x="375828" y="178320"/>
                    </a:cubicBezTo>
                    <a:cubicBezTo>
                      <a:pt x="367282" y="184963"/>
                      <a:pt x="359115" y="192080"/>
                      <a:pt x="350663" y="198913"/>
                    </a:cubicBezTo>
                    <a:cubicBezTo>
                      <a:pt x="329429" y="215378"/>
                      <a:pt x="310094" y="234158"/>
                      <a:pt x="293020" y="254905"/>
                    </a:cubicBezTo>
                    <a:cubicBezTo>
                      <a:pt x="289734" y="258706"/>
                      <a:pt x="285926" y="262028"/>
                      <a:pt x="281719" y="264775"/>
                    </a:cubicBezTo>
                    <a:lnTo>
                      <a:pt x="246772" y="289449"/>
                    </a:lnTo>
                    <a:cubicBezTo>
                      <a:pt x="240514" y="293413"/>
                      <a:pt x="234683" y="298025"/>
                      <a:pt x="229394" y="303210"/>
                    </a:cubicBezTo>
                    <a:cubicBezTo>
                      <a:pt x="223952" y="308370"/>
                      <a:pt x="217485" y="312317"/>
                      <a:pt x="210401" y="314788"/>
                    </a:cubicBezTo>
                    <a:cubicBezTo>
                      <a:pt x="199889" y="319226"/>
                      <a:pt x="189727" y="324461"/>
                      <a:pt x="180013" y="330446"/>
                    </a:cubicBezTo>
                    <a:cubicBezTo>
                      <a:pt x="174096" y="333855"/>
                      <a:pt x="167933" y="336836"/>
                      <a:pt x="161590" y="339367"/>
                    </a:cubicBezTo>
                    <a:cubicBezTo>
                      <a:pt x="151030" y="343762"/>
                      <a:pt x="140004" y="346946"/>
                      <a:pt x="128732" y="348857"/>
                    </a:cubicBezTo>
                    <a:cubicBezTo>
                      <a:pt x="97546" y="355828"/>
                      <a:pt x="64878" y="347939"/>
                      <a:pt x="40321" y="327504"/>
                    </a:cubicBezTo>
                    <a:cubicBezTo>
                      <a:pt x="25753" y="315405"/>
                      <a:pt x="14566" y="299746"/>
                      <a:pt x="7843" y="282047"/>
                    </a:cubicBezTo>
                    <a:cubicBezTo>
                      <a:pt x="1756" y="268845"/>
                      <a:pt x="-856" y="254309"/>
                      <a:pt x="246" y="239816"/>
                    </a:cubicBezTo>
                    <a:moveTo>
                      <a:pt x="102807" y="176042"/>
                    </a:moveTo>
                    <a:cubicBezTo>
                      <a:pt x="106026" y="175572"/>
                      <a:pt x="109198" y="174842"/>
                      <a:pt x="112303" y="173859"/>
                    </a:cubicBezTo>
                    <a:cubicBezTo>
                      <a:pt x="123395" y="169282"/>
                      <a:pt x="133917" y="163422"/>
                      <a:pt x="143641" y="156398"/>
                    </a:cubicBezTo>
                    <a:cubicBezTo>
                      <a:pt x="172377" y="136622"/>
                      <a:pt x="198426" y="113208"/>
                      <a:pt x="221132" y="86740"/>
                    </a:cubicBezTo>
                    <a:cubicBezTo>
                      <a:pt x="227115" y="79718"/>
                      <a:pt x="232243" y="72220"/>
                      <a:pt x="237656" y="64818"/>
                    </a:cubicBezTo>
                    <a:cubicBezTo>
                      <a:pt x="238938" y="62927"/>
                      <a:pt x="239992" y="60887"/>
                      <a:pt x="240790" y="58744"/>
                    </a:cubicBezTo>
                    <a:cubicBezTo>
                      <a:pt x="241170" y="57768"/>
                      <a:pt x="241170" y="56684"/>
                      <a:pt x="240790" y="55708"/>
                    </a:cubicBezTo>
                    <a:cubicBezTo>
                      <a:pt x="239963" y="55003"/>
                      <a:pt x="238928" y="54602"/>
                      <a:pt x="237846" y="54569"/>
                    </a:cubicBezTo>
                    <a:cubicBezTo>
                      <a:pt x="233278" y="55131"/>
                      <a:pt x="228910" y="56791"/>
                      <a:pt x="225121" y="59409"/>
                    </a:cubicBezTo>
                    <a:cubicBezTo>
                      <a:pt x="213621" y="65761"/>
                      <a:pt x="202690" y="73096"/>
                      <a:pt x="192453" y="81331"/>
                    </a:cubicBezTo>
                    <a:cubicBezTo>
                      <a:pt x="168968" y="99564"/>
                      <a:pt x="146908" y="119550"/>
                      <a:pt x="126453" y="141119"/>
                    </a:cubicBezTo>
                    <a:cubicBezTo>
                      <a:pt x="118666" y="149375"/>
                      <a:pt x="111354" y="158296"/>
                      <a:pt x="104042" y="167027"/>
                    </a:cubicBezTo>
                    <a:cubicBezTo>
                      <a:pt x="102712" y="168831"/>
                      <a:pt x="101715" y="170855"/>
                      <a:pt x="101098" y="173005"/>
                    </a:cubicBezTo>
                    <a:cubicBezTo>
                      <a:pt x="101098" y="173575"/>
                      <a:pt x="102142" y="174619"/>
                      <a:pt x="103092" y="176042"/>
                    </a:cubicBezTo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52771A04-ECFE-BC41-BA59-F8B78E389199}"/>
                  </a:ext>
                </a:extLst>
              </p:cNvPr>
              <p:cNvSpPr/>
              <p:nvPr/>
            </p:nvSpPr>
            <p:spPr>
              <a:xfrm>
                <a:off x="5660524" y="-724743"/>
                <a:ext cx="333068" cy="540294"/>
              </a:xfrm>
              <a:custGeom>
                <a:avLst/>
                <a:gdLst>
                  <a:gd name="connsiteX0" fmla="*/ 322278 w 333068"/>
                  <a:gd name="connsiteY0" fmla="*/ 12157 h 540294"/>
                  <a:gd name="connsiteX1" fmla="*/ 330825 w 333068"/>
                  <a:gd name="connsiteY1" fmla="*/ 27436 h 540294"/>
                  <a:gd name="connsiteX2" fmla="*/ 330825 w 333068"/>
                  <a:gd name="connsiteY2" fmla="*/ 43854 h 540294"/>
                  <a:gd name="connsiteX3" fmla="*/ 324462 w 333068"/>
                  <a:gd name="connsiteY3" fmla="*/ 53913 h 540294"/>
                  <a:gd name="connsiteX4" fmla="*/ 308318 w 333068"/>
                  <a:gd name="connsiteY4" fmla="*/ 76120 h 540294"/>
                  <a:gd name="connsiteX5" fmla="*/ 267199 w 333068"/>
                  <a:gd name="connsiteY5" fmla="*/ 139134 h 540294"/>
                  <a:gd name="connsiteX6" fmla="*/ 241464 w 333068"/>
                  <a:gd name="connsiteY6" fmla="*/ 179562 h 540294"/>
                  <a:gd name="connsiteX7" fmla="*/ 228643 w 333068"/>
                  <a:gd name="connsiteY7" fmla="*/ 199776 h 540294"/>
                  <a:gd name="connsiteX8" fmla="*/ 211835 w 333068"/>
                  <a:gd name="connsiteY8" fmla="*/ 227677 h 540294"/>
                  <a:gd name="connsiteX9" fmla="*/ 193792 w 333068"/>
                  <a:gd name="connsiteY9" fmla="*/ 258710 h 540294"/>
                  <a:gd name="connsiteX10" fmla="*/ 186669 w 333068"/>
                  <a:gd name="connsiteY10" fmla="*/ 270382 h 540294"/>
                  <a:gd name="connsiteX11" fmla="*/ 124373 w 333068"/>
                  <a:gd name="connsiteY11" fmla="*/ 384264 h 540294"/>
                  <a:gd name="connsiteX12" fmla="*/ 94460 w 333068"/>
                  <a:gd name="connsiteY12" fmla="*/ 449556 h 540294"/>
                  <a:gd name="connsiteX13" fmla="*/ 65400 w 333068"/>
                  <a:gd name="connsiteY13" fmla="*/ 513424 h 540294"/>
                  <a:gd name="connsiteX14" fmla="*/ 46407 w 333068"/>
                  <a:gd name="connsiteY14" fmla="*/ 534018 h 540294"/>
                  <a:gd name="connsiteX15" fmla="*/ 33872 w 333068"/>
                  <a:gd name="connsiteY15" fmla="*/ 539332 h 540294"/>
                  <a:gd name="connsiteX16" fmla="*/ 14880 w 333068"/>
                  <a:gd name="connsiteY16" fmla="*/ 532025 h 540294"/>
                  <a:gd name="connsiteX17" fmla="*/ 8992 w 333068"/>
                  <a:gd name="connsiteY17" fmla="*/ 519688 h 540294"/>
                  <a:gd name="connsiteX18" fmla="*/ 6333 w 333068"/>
                  <a:gd name="connsiteY18" fmla="*/ 515417 h 540294"/>
                  <a:gd name="connsiteX19" fmla="*/ 1205 w 333068"/>
                  <a:gd name="connsiteY19" fmla="*/ 497765 h 540294"/>
                  <a:gd name="connsiteX20" fmla="*/ 13645 w 333068"/>
                  <a:gd name="connsiteY20" fmla="*/ 453352 h 540294"/>
                  <a:gd name="connsiteX21" fmla="*/ 39190 w 333068"/>
                  <a:gd name="connsiteY21" fmla="*/ 387965 h 540294"/>
                  <a:gd name="connsiteX22" fmla="*/ 94649 w 333068"/>
                  <a:gd name="connsiteY22" fmla="*/ 274084 h 540294"/>
                  <a:gd name="connsiteX23" fmla="*/ 113642 w 333068"/>
                  <a:gd name="connsiteY23" fmla="*/ 243336 h 540294"/>
                  <a:gd name="connsiteX24" fmla="*/ 118105 w 333068"/>
                  <a:gd name="connsiteY24" fmla="*/ 236028 h 540294"/>
                  <a:gd name="connsiteX25" fmla="*/ 137858 w 333068"/>
                  <a:gd name="connsiteY25" fmla="*/ 202243 h 540294"/>
                  <a:gd name="connsiteX26" fmla="*/ 158370 w 333068"/>
                  <a:gd name="connsiteY26" fmla="*/ 166656 h 540294"/>
                  <a:gd name="connsiteX27" fmla="*/ 178882 w 333068"/>
                  <a:gd name="connsiteY27" fmla="*/ 132966 h 540294"/>
                  <a:gd name="connsiteX28" fmla="*/ 261691 w 333068"/>
                  <a:gd name="connsiteY28" fmla="*/ 15478 h 540294"/>
                  <a:gd name="connsiteX29" fmla="*/ 270713 w 333068"/>
                  <a:gd name="connsiteY29" fmla="*/ 5134 h 540294"/>
                  <a:gd name="connsiteX30" fmla="*/ 284767 w 333068"/>
                  <a:gd name="connsiteY30" fmla="*/ 104 h 540294"/>
                  <a:gd name="connsiteX31" fmla="*/ 291510 w 333068"/>
                  <a:gd name="connsiteY31" fmla="*/ 1148 h 540294"/>
                  <a:gd name="connsiteX32" fmla="*/ 323513 w 333068"/>
                  <a:gd name="connsiteY32" fmla="*/ 11967 h 540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33068" h="540294">
                    <a:moveTo>
                      <a:pt x="322278" y="12157"/>
                    </a:moveTo>
                    <a:lnTo>
                      <a:pt x="330825" y="27436"/>
                    </a:lnTo>
                    <a:cubicBezTo>
                      <a:pt x="333816" y="32500"/>
                      <a:pt x="333816" y="38790"/>
                      <a:pt x="330825" y="43854"/>
                    </a:cubicBezTo>
                    <a:cubicBezTo>
                      <a:pt x="328887" y="47317"/>
                      <a:pt x="326760" y="50675"/>
                      <a:pt x="324462" y="53913"/>
                    </a:cubicBezTo>
                    <a:cubicBezTo>
                      <a:pt x="319144" y="61410"/>
                      <a:pt x="313826" y="68813"/>
                      <a:pt x="308318" y="76120"/>
                    </a:cubicBezTo>
                    <a:cubicBezTo>
                      <a:pt x="293285" y="96227"/>
                      <a:pt x="279544" y="117275"/>
                      <a:pt x="267199" y="139134"/>
                    </a:cubicBezTo>
                    <a:cubicBezTo>
                      <a:pt x="259317" y="153085"/>
                      <a:pt x="250010" y="166086"/>
                      <a:pt x="241464" y="179562"/>
                    </a:cubicBezTo>
                    <a:cubicBezTo>
                      <a:pt x="237095" y="186300"/>
                      <a:pt x="232727" y="193038"/>
                      <a:pt x="228643" y="199776"/>
                    </a:cubicBezTo>
                    <a:cubicBezTo>
                      <a:pt x="222946" y="209266"/>
                      <a:pt x="217723" y="218756"/>
                      <a:pt x="211835" y="227677"/>
                    </a:cubicBezTo>
                    <a:cubicBezTo>
                      <a:pt x="205187" y="237639"/>
                      <a:pt x="199157" y="248003"/>
                      <a:pt x="193792" y="258710"/>
                    </a:cubicBezTo>
                    <a:cubicBezTo>
                      <a:pt x="191750" y="262793"/>
                      <a:pt x="189366" y="266697"/>
                      <a:pt x="186669" y="270382"/>
                    </a:cubicBezTo>
                    <a:cubicBezTo>
                      <a:pt x="161779" y="305941"/>
                      <a:pt x="140887" y="344132"/>
                      <a:pt x="124373" y="384264"/>
                    </a:cubicBezTo>
                    <a:cubicBezTo>
                      <a:pt x="114877" y="406376"/>
                      <a:pt x="104905" y="428013"/>
                      <a:pt x="94460" y="449556"/>
                    </a:cubicBezTo>
                    <a:cubicBezTo>
                      <a:pt x="84013" y="471098"/>
                      <a:pt x="73472" y="491407"/>
                      <a:pt x="65400" y="513424"/>
                    </a:cubicBezTo>
                    <a:cubicBezTo>
                      <a:pt x="62409" y="522744"/>
                      <a:pt x="55458" y="530276"/>
                      <a:pt x="46407" y="534018"/>
                    </a:cubicBezTo>
                    <a:cubicBezTo>
                      <a:pt x="42229" y="535726"/>
                      <a:pt x="38146" y="537814"/>
                      <a:pt x="33872" y="539332"/>
                    </a:cubicBezTo>
                    <a:cubicBezTo>
                      <a:pt x="26608" y="542027"/>
                      <a:pt x="18460" y="538896"/>
                      <a:pt x="14880" y="532025"/>
                    </a:cubicBezTo>
                    <a:cubicBezTo>
                      <a:pt x="12885" y="527944"/>
                      <a:pt x="10986" y="523768"/>
                      <a:pt x="8992" y="519688"/>
                    </a:cubicBezTo>
                    <a:cubicBezTo>
                      <a:pt x="8232" y="518169"/>
                      <a:pt x="7567" y="516081"/>
                      <a:pt x="6333" y="515417"/>
                    </a:cubicBezTo>
                    <a:cubicBezTo>
                      <a:pt x="-2119" y="511336"/>
                      <a:pt x="-125" y="504693"/>
                      <a:pt x="1205" y="497765"/>
                    </a:cubicBezTo>
                    <a:cubicBezTo>
                      <a:pt x="4405" y="482712"/>
                      <a:pt x="8564" y="467877"/>
                      <a:pt x="13645" y="453352"/>
                    </a:cubicBezTo>
                    <a:cubicBezTo>
                      <a:pt x="21147" y="431145"/>
                      <a:pt x="29884" y="409413"/>
                      <a:pt x="39190" y="387965"/>
                    </a:cubicBezTo>
                    <a:cubicBezTo>
                      <a:pt x="55904" y="349182"/>
                      <a:pt x="74394" y="311221"/>
                      <a:pt x="94649" y="274084"/>
                    </a:cubicBezTo>
                    <a:cubicBezTo>
                      <a:pt x="100262" y="263406"/>
                      <a:pt x="106605" y="253131"/>
                      <a:pt x="113642" y="243336"/>
                    </a:cubicBezTo>
                    <a:cubicBezTo>
                      <a:pt x="115465" y="241119"/>
                      <a:pt x="116966" y="238660"/>
                      <a:pt x="118105" y="236028"/>
                    </a:cubicBezTo>
                    <a:cubicBezTo>
                      <a:pt x="123689" y="224209"/>
                      <a:pt x="130299" y="212905"/>
                      <a:pt x="137858" y="202243"/>
                    </a:cubicBezTo>
                    <a:cubicBezTo>
                      <a:pt x="144410" y="190191"/>
                      <a:pt x="151438" y="178423"/>
                      <a:pt x="158370" y="166656"/>
                    </a:cubicBezTo>
                    <a:cubicBezTo>
                      <a:pt x="165303" y="154888"/>
                      <a:pt x="171855" y="144164"/>
                      <a:pt x="178882" y="132966"/>
                    </a:cubicBezTo>
                    <a:cubicBezTo>
                      <a:pt x="204057" y="92150"/>
                      <a:pt x="231711" y="52914"/>
                      <a:pt x="261691" y="15478"/>
                    </a:cubicBezTo>
                    <a:cubicBezTo>
                      <a:pt x="264521" y="11877"/>
                      <a:pt x="267531" y="8424"/>
                      <a:pt x="270713" y="5134"/>
                    </a:cubicBezTo>
                    <a:cubicBezTo>
                      <a:pt x="274369" y="1382"/>
                      <a:pt x="279554" y="-475"/>
                      <a:pt x="284767" y="104"/>
                    </a:cubicBezTo>
                    <a:cubicBezTo>
                      <a:pt x="287046" y="166"/>
                      <a:pt x="289316" y="516"/>
                      <a:pt x="291510" y="1148"/>
                    </a:cubicBezTo>
                    <a:cubicBezTo>
                      <a:pt x="302240" y="4659"/>
                      <a:pt x="312971" y="8361"/>
                      <a:pt x="323513" y="11967"/>
                    </a:cubicBezTo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6AAE7AC1-EB3C-744C-993E-E5BCFB4F61ED}"/>
                  </a:ext>
                </a:extLst>
              </p:cNvPr>
              <p:cNvSpPr/>
              <p:nvPr/>
            </p:nvSpPr>
            <p:spPr>
              <a:xfrm>
                <a:off x="5588240" y="-82064"/>
                <a:ext cx="97217" cy="64492"/>
              </a:xfrm>
              <a:custGeom>
                <a:avLst/>
                <a:gdLst>
                  <a:gd name="connsiteX0" fmla="*/ 25057 w 97217"/>
                  <a:gd name="connsiteY0" fmla="*/ 0 h 64492"/>
                  <a:gd name="connsiteX1" fmla="*/ 35788 w 97217"/>
                  <a:gd name="connsiteY1" fmla="*/ 1613 h 64492"/>
                  <a:gd name="connsiteX2" fmla="*/ 57724 w 97217"/>
                  <a:gd name="connsiteY2" fmla="*/ 3227 h 64492"/>
                  <a:gd name="connsiteX3" fmla="*/ 76717 w 97217"/>
                  <a:gd name="connsiteY3" fmla="*/ 8731 h 64492"/>
                  <a:gd name="connsiteX4" fmla="*/ 94760 w 97217"/>
                  <a:gd name="connsiteY4" fmla="*/ 28850 h 64492"/>
                  <a:gd name="connsiteX5" fmla="*/ 94760 w 97217"/>
                  <a:gd name="connsiteY5" fmla="*/ 44888 h 64492"/>
                  <a:gd name="connsiteX6" fmla="*/ 80041 w 97217"/>
                  <a:gd name="connsiteY6" fmla="*/ 61401 h 64492"/>
                  <a:gd name="connsiteX7" fmla="*/ 70544 w 97217"/>
                  <a:gd name="connsiteY7" fmla="*/ 64438 h 64492"/>
                  <a:gd name="connsiteX8" fmla="*/ 46993 w 97217"/>
                  <a:gd name="connsiteY8" fmla="*/ 60642 h 64492"/>
                  <a:gd name="connsiteX9" fmla="*/ 13186 w 97217"/>
                  <a:gd name="connsiteY9" fmla="*/ 38909 h 64492"/>
                  <a:gd name="connsiteX10" fmla="*/ 1126 w 97217"/>
                  <a:gd name="connsiteY10" fmla="*/ 18316 h 64492"/>
                  <a:gd name="connsiteX11" fmla="*/ 6472 w 97217"/>
                  <a:gd name="connsiteY11" fmla="*/ 3123 h 64492"/>
                  <a:gd name="connsiteX12" fmla="*/ 8913 w 97217"/>
                  <a:gd name="connsiteY12" fmla="*/ 2278 h 64492"/>
                  <a:gd name="connsiteX13" fmla="*/ 17270 w 97217"/>
                  <a:gd name="connsiteY13" fmla="*/ 569 h 64492"/>
                  <a:gd name="connsiteX14" fmla="*/ 25152 w 97217"/>
                  <a:gd name="connsiteY14" fmla="*/ 0 h 64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7217" h="64492">
                    <a:moveTo>
                      <a:pt x="25057" y="0"/>
                    </a:moveTo>
                    <a:cubicBezTo>
                      <a:pt x="28665" y="335"/>
                      <a:pt x="32245" y="873"/>
                      <a:pt x="35788" y="1613"/>
                    </a:cubicBezTo>
                    <a:cubicBezTo>
                      <a:pt x="42910" y="3665"/>
                      <a:pt x="50383" y="4214"/>
                      <a:pt x="57724" y="3227"/>
                    </a:cubicBezTo>
                    <a:cubicBezTo>
                      <a:pt x="64524" y="2611"/>
                      <a:pt x="71304" y="4576"/>
                      <a:pt x="76717" y="8731"/>
                    </a:cubicBezTo>
                    <a:cubicBezTo>
                      <a:pt x="84314" y="13832"/>
                      <a:pt x="90515" y="20747"/>
                      <a:pt x="94760" y="28850"/>
                    </a:cubicBezTo>
                    <a:cubicBezTo>
                      <a:pt x="98036" y="33696"/>
                      <a:pt x="98036" y="40043"/>
                      <a:pt x="94760" y="44888"/>
                    </a:cubicBezTo>
                    <a:cubicBezTo>
                      <a:pt x="90810" y="51175"/>
                      <a:pt x="85834" y="56757"/>
                      <a:pt x="80041" y="61401"/>
                    </a:cubicBezTo>
                    <a:cubicBezTo>
                      <a:pt x="77420" y="63662"/>
                      <a:pt x="73991" y="64759"/>
                      <a:pt x="70544" y="64438"/>
                    </a:cubicBezTo>
                    <a:cubicBezTo>
                      <a:pt x="62662" y="63299"/>
                      <a:pt x="54685" y="62445"/>
                      <a:pt x="46993" y="60642"/>
                    </a:cubicBezTo>
                    <a:cubicBezTo>
                      <a:pt x="33556" y="57503"/>
                      <a:pt x="21619" y="49828"/>
                      <a:pt x="13186" y="38909"/>
                    </a:cubicBezTo>
                    <a:cubicBezTo>
                      <a:pt x="8334" y="32564"/>
                      <a:pt x="4288" y="25648"/>
                      <a:pt x="1126" y="18316"/>
                    </a:cubicBezTo>
                    <a:cubicBezTo>
                      <a:pt x="-1600" y="12645"/>
                      <a:pt x="793" y="5843"/>
                      <a:pt x="6472" y="3123"/>
                    </a:cubicBezTo>
                    <a:cubicBezTo>
                      <a:pt x="7251" y="2749"/>
                      <a:pt x="8068" y="2466"/>
                      <a:pt x="8913" y="2278"/>
                    </a:cubicBezTo>
                    <a:cubicBezTo>
                      <a:pt x="11657" y="1508"/>
                      <a:pt x="14449" y="937"/>
                      <a:pt x="17270" y="569"/>
                    </a:cubicBezTo>
                    <a:cubicBezTo>
                      <a:pt x="19454" y="569"/>
                      <a:pt x="21733" y="569"/>
                      <a:pt x="25152" y="0"/>
                    </a:cubicBezTo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2128083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7" y="1435770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5A68DF8-7AEF-4E47-A2C7-FC905D483A4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01829FA-66B0-49C8-B058-060918442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bg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AFEEC4E5-C9B5-4809-A3AF-A1BF455A6D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5AC6BC3-E361-426B-A484-414155D5E00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31815135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4 data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2462AB-6463-CF4C-ACBF-34DDFE050AC3}"/>
              </a:ext>
            </a:extLst>
          </p:cNvPr>
          <p:cNvCxnSpPr>
            <a:cxnSpLocks/>
          </p:cNvCxnSpPr>
          <p:nvPr/>
        </p:nvCxnSpPr>
        <p:spPr>
          <a:xfrm>
            <a:off x="9069053" y="993221"/>
            <a:ext cx="2559049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1776A2A-B671-AB4E-8FDB-35C6B7BE364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9069051" y="1845941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F7A43E-8EF4-FE4A-ACFF-9F5A5EC847DE}"/>
              </a:ext>
            </a:extLst>
          </p:cNvPr>
          <p:cNvCxnSpPr>
            <a:cxnSpLocks/>
          </p:cNvCxnSpPr>
          <p:nvPr/>
        </p:nvCxnSpPr>
        <p:spPr>
          <a:xfrm>
            <a:off x="9084041" y="3346677"/>
            <a:ext cx="2544059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5778F89-154B-F240-B35E-F81B16D999D6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9069051" y="4199397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A56877E-29E1-3742-BB24-CC81DFFFE5D8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9066106" y="1052983"/>
            <a:ext cx="2561996" cy="688453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2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25,000+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900FC7C-DD9A-C846-843B-5642805FB71B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9066106" y="3398943"/>
            <a:ext cx="2561996" cy="688453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2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30%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F9833B0-6B7A-714F-92F0-2318F3988881}"/>
              </a:ext>
            </a:extLst>
          </p:cNvPr>
          <p:cNvCxnSpPr>
            <a:cxnSpLocks/>
          </p:cNvCxnSpPr>
          <p:nvPr/>
        </p:nvCxnSpPr>
        <p:spPr>
          <a:xfrm>
            <a:off x="6235912" y="993221"/>
            <a:ext cx="2559049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3FA3CBF-374B-A244-B5C0-E13E40FCC1EA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6235911" y="1845941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116D5F1-B389-8444-92F2-80861F0A60F1}"/>
              </a:ext>
            </a:extLst>
          </p:cNvPr>
          <p:cNvCxnSpPr>
            <a:cxnSpLocks/>
          </p:cNvCxnSpPr>
          <p:nvPr/>
        </p:nvCxnSpPr>
        <p:spPr>
          <a:xfrm>
            <a:off x="6250900" y="3346677"/>
            <a:ext cx="2544059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325976-5126-7040-BC43-767BC0796538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6235911" y="4199397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84EF73E-6055-7549-9FBD-CCA53A9BB16F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6232963" y="1052983"/>
            <a:ext cx="2561996" cy="688453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2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77%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96A08685-9430-244D-BED6-B6CDCC29A954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6232963" y="3398943"/>
            <a:ext cx="2561996" cy="688453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2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-50</a:t>
            </a:r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F0978613-50ED-4F51-BBE0-00F6975A767E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2" y="2870202"/>
            <a:ext cx="4833332" cy="3413905"/>
          </a:xfrm>
        </p:spPr>
        <p:txBody>
          <a:bodyPr>
            <a:noAutofit/>
          </a:bodyPr>
          <a:lstStyle>
            <a:lvl1pPr marL="228589" indent="-228589">
              <a:buFont typeface="Arial" panose="020B0604020202020204" pitchFamily="34" charset="0"/>
              <a:buChar char="•"/>
              <a:defRPr sz="1333" spc="0"/>
            </a:lvl1pPr>
            <a:lvl2pPr>
              <a:defRPr sz="1067" spc="0"/>
            </a:lvl2pPr>
            <a:lvl3pPr>
              <a:defRPr sz="800" spc="0"/>
            </a:lvl3pPr>
            <a:lvl4pPr>
              <a:defRPr sz="400" spc="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08D8E3A7-A4BC-4E58-A3CD-1366DCB307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3223"/>
            <a:ext cx="4838960" cy="167508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with key data right</a:t>
            </a:r>
          </a:p>
        </p:txBody>
      </p:sp>
      <p:sp>
        <p:nvSpPr>
          <p:cNvPr id="38" name="Slide Number Placeholder 4">
            <a:extLst>
              <a:ext uri="{FF2B5EF4-FFF2-40B4-BE49-F238E27FC236}">
                <a16:creationId xmlns:a16="http://schemas.microsoft.com/office/drawing/2014/main" id="{EB927BF6-B7DB-457A-BD02-2BDF652259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316AFE74-19AA-44F5-A0EC-8E1A24A495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48461BE4-FEE8-4E08-94EF-CF8BE4A0F9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5022373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 Demo 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E25BEDE4-B996-BAE5-3141-3ECC17780F2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 rot="10800000" flipH="1" flipV="1">
            <a:off x="0" y="0"/>
            <a:ext cx="12192000" cy="6858000"/>
          </a:xfrm>
          <a:prstGeom prst="rect">
            <a:avLst/>
          </a:prstGeom>
        </p:spPr>
      </p:pic>
      <p:grpSp>
        <p:nvGrpSpPr>
          <p:cNvPr id="3" name="Group 2">
            <a:extLst>
              <a:ext uri="{FF2B5EF4-FFF2-40B4-BE49-F238E27FC236}">
                <a16:creationId xmlns:a16="http://schemas.microsoft.com/office/drawing/2014/main" id="{76C003CD-73BA-7AFD-C79C-1B572013B732}"/>
              </a:ext>
            </a:extLst>
          </p:cNvPr>
          <p:cNvGrpSpPr/>
          <p:nvPr/>
        </p:nvGrpSpPr>
        <p:grpSpPr>
          <a:xfrm>
            <a:off x="715224" y="6381263"/>
            <a:ext cx="1341120" cy="365592"/>
            <a:chOff x="536418" y="4785947"/>
            <a:chExt cx="1005840" cy="274194"/>
          </a:xfrm>
          <a:solidFill>
            <a:schemeClr val="bg2"/>
          </a:solidFill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3A0AB181-6FE0-D0BB-3322-575F4DA725A1}"/>
                </a:ext>
              </a:extLst>
            </p:cNvPr>
            <p:cNvGrpSpPr/>
            <p:nvPr/>
          </p:nvGrpSpPr>
          <p:grpSpPr>
            <a:xfrm>
              <a:off x="536418" y="4930673"/>
              <a:ext cx="386220" cy="86649"/>
              <a:chOff x="2826390" y="-407669"/>
              <a:chExt cx="1216132" cy="272841"/>
            </a:xfrm>
            <a:grpFill/>
          </p:grpSpPr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B616600E-81FF-3C4F-7F61-A056B8ABA2F6}"/>
                  </a:ext>
                </a:extLst>
              </p:cNvPr>
              <p:cNvSpPr/>
              <p:nvPr/>
            </p:nvSpPr>
            <p:spPr>
              <a:xfrm>
                <a:off x="3112516" y="-397325"/>
                <a:ext cx="68279" cy="250823"/>
              </a:xfrm>
              <a:custGeom>
                <a:avLst/>
                <a:gdLst>
                  <a:gd name="connsiteX0" fmla="*/ 0 w 68279"/>
                  <a:gd name="connsiteY0" fmla="*/ 0 h 250823"/>
                  <a:gd name="connsiteX1" fmla="*/ 68279 w 68279"/>
                  <a:gd name="connsiteY1" fmla="*/ 0 h 250823"/>
                  <a:gd name="connsiteX2" fmla="*/ 68279 w 68279"/>
                  <a:gd name="connsiteY2" fmla="*/ 250824 h 250823"/>
                  <a:gd name="connsiteX3" fmla="*/ 0 w 68279"/>
                  <a:gd name="connsiteY3" fmla="*/ 250824 h 250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279" h="250823">
                    <a:moveTo>
                      <a:pt x="0" y="0"/>
                    </a:moveTo>
                    <a:lnTo>
                      <a:pt x="68279" y="0"/>
                    </a:lnTo>
                    <a:lnTo>
                      <a:pt x="68279" y="250824"/>
                    </a:lnTo>
                    <a:lnTo>
                      <a:pt x="0" y="250824"/>
                    </a:lnTo>
                    <a:close/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>
                  <a:solidFill>
                    <a:schemeClr val="bg2"/>
                  </a:solidFill>
                </a:endParaRPr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39C06035-7B4C-91B1-35EB-554BCAF865C5}"/>
                  </a:ext>
                </a:extLst>
              </p:cNvPr>
              <p:cNvSpPr/>
              <p:nvPr/>
            </p:nvSpPr>
            <p:spPr>
              <a:xfrm>
                <a:off x="3505952" y="-406341"/>
                <a:ext cx="198569" cy="267051"/>
              </a:xfrm>
              <a:custGeom>
                <a:avLst/>
                <a:gdLst>
                  <a:gd name="connsiteX0" fmla="*/ 198570 w 198569"/>
                  <a:gd name="connsiteY0" fmla="*/ 77819 h 267051"/>
                  <a:gd name="connsiteX1" fmla="*/ 142541 w 198569"/>
                  <a:gd name="connsiteY1" fmla="*/ 64058 h 267051"/>
                  <a:gd name="connsiteX2" fmla="*/ 70653 w 198569"/>
                  <a:gd name="connsiteY2" fmla="*/ 132862 h 267051"/>
                  <a:gd name="connsiteX3" fmla="*/ 142826 w 198569"/>
                  <a:gd name="connsiteY3" fmla="*/ 201665 h 267051"/>
                  <a:gd name="connsiteX4" fmla="*/ 198570 w 198569"/>
                  <a:gd name="connsiteY4" fmla="*/ 188284 h 267051"/>
                  <a:gd name="connsiteX5" fmla="*/ 198570 w 198569"/>
                  <a:gd name="connsiteY5" fmla="*/ 257562 h 267051"/>
                  <a:gd name="connsiteX6" fmla="*/ 137983 w 198569"/>
                  <a:gd name="connsiteY6" fmla="*/ 267052 h 267051"/>
                  <a:gd name="connsiteX7" fmla="*/ 0 w 198569"/>
                  <a:gd name="connsiteY7" fmla="*/ 133526 h 267051"/>
                  <a:gd name="connsiteX8" fmla="*/ 138268 w 198569"/>
                  <a:gd name="connsiteY8" fmla="*/ 0 h 267051"/>
                  <a:gd name="connsiteX9" fmla="*/ 198570 w 198569"/>
                  <a:gd name="connsiteY9" fmla="*/ 9490 h 267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8569" h="267051">
                    <a:moveTo>
                      <a:pt x="198570" y="77819"/>
                    </a:moveTo>
                    <a:cubicBezTo>
                      <a:pt x="181462" y="68304"/>
                      <a:pt x="162113" y="63552"/>
                      <a:pt x="142541" y="64058"/>
                    </a:cubicBezTo>
                    <a:cubicBezTo>
                      <a:pt x="100472" y="64058"/>
                      <a:pt x="70653" y="93383"/>
                      <a:pt x="70653" y="132862"/>
                    </a:cubicBezTo>
                    <a:cubicBezTo>
                      <a:pt x="70653" y="172340"/>
                      <a:pt x="99142" y="201665"/>
                      <a:pt x="142826" y="201665"/>
                    </a:cubicBezTo>
                    <a:cubicBezTo>
                      <a:pt x="162269" y="202249"/>
                      <a:pt x="181514" y="197630"/>
                      <a:pt x="198570" y="188284"/>
                    </a:cubicBezTo>
                    <a:lnTo>
                      <a:pt x="198570" y="257562"/>
                    </a:lnTo>
                    <a:cubicBezTo>
                      <a:pt x="178846" y="263222"/>
                      <a:pt x="158494" y="266409"/>
                      <a:pt x="137983" y="267052"/>
                    </a:cubicBezTo>
                    <a:cubicBezTo>
                      <a:pt x="64860" y="267052"/>
                      <a:pt x="0" y="216564"/>
                      <a:pt x="0" y="133526"/>
                    </a:cubicBezTo>
                    <a:cubicBezTo>
                      <a:pt x="0" y="56466"/>
                      <a:pt x="59068" y="0"/>
                      <a:pt x="138268" y="0"/>
                    </a:cubicBezTo>
                    <a:cubicBezTo>
                      <a:pt x="158679" y="710"/>
                      <a:pt x="178928" y="3897"/>
                      <a:pt x="198570" y="9490"/>
                    </a:cubicBezTo>
                    <a:close/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>
                  <a:solidFill>
                    <a:schemeClr val="bg2"/>
                  </a:solidFill>
                </a:endParaRPr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53D048E8-31EA-573B-71B8-A44C242FE7F3}"/>
                  </a:ext>
                </a:extLst>
              </p:cNvPr>
              <p:cNvSpPr/>
              <p:nvPr/>
            </p:nvSpPr>
            <p:spPr>
              <a:xfrm>
                <a:off x="2826390" y="-407005"/>
                <a:ext cx="195055" cy="267716"/>
              </a:xfrm>
              <a:custGeom>
                <a:avLst/>
                <a:gdLst>
                  <a:gd name="connsiteX0" fmla="*/ 195056 w 195055"/>
                  <a:gd name="connsiteY0" fmla="*/ 78483 h 267716"/>
                  <a:gd name="connsiteX1" fmla="*/ 141401 w 195055"/>
                  <a:gd name="connsiteY1" fmla="*/ 64723 h 267716"/>
                  <a:gd name="connsiteX2" fmla="*/ 72552 w 195055"/>
                  <a:gd name="connsiteY2" fmla="*/ 133526 h 267716"/>
                  <a:gd name="connsiteX3" fmla="*/ 141401 w 195055"/>
                  <a:gd name="connsiteY3" fmla="*/ 202329 h 267716"/>
                  <a:gd name="connsiteX4" fmla="*/ 195056 w 195055"/>
                  <a:gd name="connsiteY4" fmla="*/ 188948 h 267716"/>
                  <a:gd name="connsiteX5" fmla="*/ 195056 w 195055"/>
                  <a:gd name="connsiteY5" fmla="*/ 258226 h 267716"/>
                  <a:gd name="connsiteX6" fmla="*/ 136748 w 195055"/>
                  <a:gd name="connsiteY6" fmla="*/ 267716 h 267716"/>
                  <a:gd name="connsiteX7" fmla="*/ 0 w 195055"/>
                  <a:gd name="connsiteY7" fmla="*/ 133526 h 267716"/>
                  <a:gd name="connsiteX8" fmla="*/ 136463 w 195055"/>
                  <a:gd name="connsiteY8" fmla="*/ 0 h 267716"/>
                  <a:gd name="connsiteX9" fmla="*/ 195056 w 195055"/>
                  <a:gd name="connsiteY9" fmla="*/ 9490 h 267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5055" h="267716">
                    <a:moveTo>
                      <a:pt x="195056" y="78483"/>
                    </a:moveTo>
                    <a:cubicBezTo>
                      <a:pt x="178900" y="68759"/>
                      <a:pt x="160247" y="63976"/>
                      <a:pt x="141401" y="64723"/>
                    </a:cubicBezTo>
                    <a:cubicBezTo>
                      <a:pt x="103377" y="64723"/>
                      <a:pt x="72552" y="95526"/>
                      <a:pt x="72552" y="133526"/>
                    </a:cubicBezTo>
                    <a:cubicBezTo>
                      <a:pt x="72552" y="171525"/>
                      <a:pt x="103377" y="202329"/>
                      <a:pt x="141401" y="202329"/>
                    </a:cubicBezTo>
                    <a:cubicBezTo>
                      <a:pt x="160194" y="203039"/>
                      <a:pt x="178801" y="198399"/>
                      <a:pt x="195056" y="188948"/>
                    </a:cubicBezTo>
                    <a:lnTo>
                      <a:pt x="195056" y="258226"/>
                    </a:lnTo>
                    <a:cubicBezTo>
                      <a:pt x="176125" y="263948"/>
                      <a:pt x="156518" y="267140"/>
                      <a:pt x="136748" y="267716"/>
                    </a:cubicBezTo>
                    <a:cubicBezTo>
                      <a:pt x="63626" y="267052"/>
                      <a:pt x="0" y="216564"/>
                      <a:pt x="0" y="133526"/>
                    </a:cubicBezTo>
                    <a:cubicBezTo>
                      <a:pt x="0" y="56087"/>
                      <a:pt x="56978" y="0"/>
                      <a:pt x="136463" y="0"/>
                    </a:cubicBezTo>
                    <a:cubicBezTo>
                      <a:pt x="167042" y="0"/>
                      <a:pt x="195056" y="7402"/>
                      <a:pt x="195056" y="9490"/>
                    </a:cubicBezTo>
                    <a:close/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>
                  <a:solidFill>
                    <a:schemeClr val="bg2"/>
                  </a:solidFill>
                </a:endParaRPr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5FA18BDE-A2A1-D7EB-B50B-561A94C29898}"/>
                  </a:ext>
                </a:extLst>
              </p:cNvPr>
              <p:cNvSpPr/>
              <p:nvPr/>
            </p:nvSpPr>
            <p:spPr>
              <a:xfrm>
                <a:off x="3770165" y="-407058"/>
                <a:ext cx="272357" cy="272230"/>
              </a:xfrm>
              <a:custGeom>
                <a:avLst/>
                <a:gdLst>
                  <a:gd name="connsiteX0" fmla="*/ 272333 w 272357"/>
                  <a:gd name="connsiteY0" fmla="*/ 133579 h 272230"/>
                  <a:gd name="connsiteX1" fmla="*/ 138747 w 272357"/>
                  <a:gd name="connsiteY1" fmla="*/ 272206 h 272230"/>
                  <a:gd name="connsiteX2" fmla="*/ 25 w 272357"/>
                  <a:gd name="connsiteY2" fmla="*/ 138703 h 272230"/>
                  <a:gd name="connsiteX3" fmla="*/ 133619 w 272357"/>
                  <a:gd name="connsiteY3" fmla="*/ 77 h 272230"/>
                  <a:gd name="connsiteX4" fmla="*/ 136155 w 272357"/>
                  <a:gd name="connsiteY4" fmla="*/ 53 h 272230"/>
                  <a:gd name="connsiteX5" fmla="*/ 272285 w 272357"/>
                  <a:gd name="connsiteY5" fmla="*/ 128682 h 272230"/>
                  <a:gd name="connsiteX6" fmla="*/ 272333 w 272357"/>
                  <a:gd name="connsiteY6" fmla="*/ 133579 h 272230"/>
                  <a:gd name="connsiteX7" fmla="*/ 136155 w 272357"/>
                  <a:gd name="connsiteY7" fmla="*/ 65630 h 272230"/>
                  <a:gd name="connsiteX8" fmla="*/ 67591 w 272357"/>
                  <a:gd name="connsiteY8" fmla="*/ 132817 h 272230"/>
                  <a:gd name="connsiteX9" fmla="*/ 134825 w 272357"/>
                  <a:gd name="connsiteY9" fmla="*/ 201332 h 272230"/>
                  <a:gd name="connsiteX10" fmla="*/ 203389 w 272357"/>
                  <a:gd name="connsiteY10" fmla="*/ 134145 h 272230"/>
                  <a:gd name="connsiteX11" fmla="*/ 203389 w 272357"/>
                  <a:gd name="connsiteY11" fmla="*/ 133484 h 272230"/>
                  <a:gd name="connsiteX12" fmla="*/ 138358 w 272357"/>
                  <a:gd name="connsiteY12" fmla="*/ 65640 h 272230"/>
                  <a:gd name="connsiteX13" fmla="*/ 136155 w 272357"/>
                  <a:gd name="connsiteY13" fmla="*/ 65630 h 272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72357" h="272230">
                    <a:moveTo>
                      <a:pt x="272333" y="133579"/>
                    </a:moveTo>
                    <a:cubicBezTo>
                      <a:pt x="273748" y="208725"/>
                      <a:pt x="213940" y="270790"/>
                      <a:pt x="138747" y="272206"/>
                    </a:cubicBezTo>
                    <a:cubicBezTo>
                      <a:pt x="63545" y="273621"/>
                      <a:pt x="1441" y="213850"/>
                      <a:pt x="25" y="138703"/>
                    </a:cubicBezTo>
                    <a:cubicBezTo>
                      <a:pt x="-1391" y="63557"/>
                      <a:pt x="58417" y="1493"/>
                      <a:pt x="133619" y="77"/>
                    </a:cubicBezTo>
                    <a:cubicBezTo>
                      <a:pt x="134464" y="61"/>
                      <a:pt x="135309" y="53"/>
                      <a:pt x="136155" y="53"/>
                    </a:cubicBezTo>
                    <a:cubicBezTo>
                      <a:pt x="209286" y="-1994"/>
                      <a:pt x="270234" y="55595"/>
                      <a:pt x="272285" y="128682"/>
                    </a:cubicBezTo>
                    <a:cubicBezTo>
                      <a:pt x="272333" y="130313"/>
                      <a:pt x="272352" y="131946"/>
                      <a:pt x="272333" y="133579"/>
                    </a:cubicBezTo>
                    <a:moveTo>
                      <a:pt x="136155" y="65630"/>
                    </a:moveTo>
                    <a:cubicBezTo>
                      <a:pt x="98653" y="65262"/>
                      <a:pt x="67961" y="95343"/>
                      <a:pt x="67591" y="132817"/>
                    </a:cubicBezTo>
                    <a:cubicBezTo>
                      <a:pt x="67230" y="170289"/>
                      <a:pt x="97324" y="200965"/>
                      <a:pt x="134825" y="201332"/>
                    </a:cubicBezTo>
                    <a:cubicBezTo>
                      <a:pt x="172326" y="201699"/>
                      <a:pt x="203019" y="171618"/>
                      <a:pt x="203389" y="134145"/>
                    </a:cubicBezTo>
                    <a:cubicBezTo>
                      <a:pt x="203389" y="133924"/>
                      <a:pt x="203389" y="133704"/>
                      <a:pt x="203389" y="133484"/>
                    </a:cubicBezTo>
                    <a:cubicBezTo>
                      <a:pt x="204177" y="96804"/>
                      <a:pt x="175061" y="66429"/>
                      <a:pt x="138358" y="65640"/>
                    </a:cubicBezTo>
                    <a:cubicBezTo>
                      <a:pt x="137626" y="65625"/>
                      <a:pt x="136886" y="65621"/>
                      <a:pt x="136155" y="65630"/>
                    </a:cubicBezTo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>
                  <a:solidFill>
                    <a:schemeClr val="bg2"/>
                  </a:solidFill>
                </a:endParaRPr>
              </a:p>
            </p:txBody>
          </p:sp>
          <p:sp>
            <p:nvSpPr>
              <p:cNvPr id="31" name="Freeform 30">
                <a:extLst>
                  <a:ext uri="{FF2B5EF4-FFF2-40B4-BE49-F238E27FC236}">
                    <a16:creationId xmlns:a16="http://schemas.microsoft.com/office/drawing/2014/main" id="{81B370D9-ED31-B9A0-7BC6-1E15DE54B5E6}"/>
                  </a:ext>
                </a:extLst>
              </p:cNvPr>
              <p:cNvSpPr/>
              <p:nvPr/>
            </p:nvSpPr>
            <p:spPr>
              <a:xfrm>
                <a:off x="3260565" y="-407669"/>
                <a:ext cx="181666" cy="267810"/>
              </a:xfrm>
              <a:custGeom>
                <a:avLst/>
                <a:gdLst>
                  <a:gd name="connsiteX0" fmla="*/ 159350 w 181666"/>
                  <a:gd name="connsiteY0" fmla="*/ 63868 h 267810"/>
                  <a:gd name="connsiteX1" fmla="*/ 110633 w 181666"/>
                  <a:gd name="connsiteY1" fmla="*/ 55992 h 267810"/>
                  <a:gd name="connsiteX2" fmla="*/ 71508 w 181666"/>
                  <a:gd name="connsiteY2" fmla="*/ 77155 h 267810"/>
                  <a:gd name="connsiteX3" fmla="*/ 101896 w 181666"/>
                  <a:gd name="connsiteY3" fmla="*/ 101639 h 267810"/>
                  <a:gd name="connsiteX4" fmla="*/ 120034 w 181666"/>
                  <a:gd name="connsiteY4" fmla="*/ 107428 h 267810"/>
                  <a:gd name="connsiteX5" fmla="*/ 181666 w 181666"/>
                  <a:gd name="connsiteY5" fmla="*/ 181166 h 267810"/>
                  <a:gd name="connsiteX6" fmla="*/ 72552 w 181666"/>
                  <a:gd name="connsiteY6" fmla="*/ 267811 h 267810"/>
                  <a:gd name="connsiteX7" fmla="*/ 0 w 181666"/>
                  <a:gd name="connsiteY7" fmla="*/ 260693 h 267810"/>
                  <a:gd name="connsiteX8" fmla="*/ 0 w 181666"/>
                  <a:gd name="connsiteY8" fmla="*/ 201380 h 267810"/>
                  <a:gd name="connsiteX9" fmla="*/ 63816 w 181666"/>
                  <a:gd name="connsiteY9" fmla="*/ 210870 h 267810"/>
                  <a:gd name="connsiteX10" fmla="*/ 112342 w 181666"/>
                  <a:gd name="connsiteY10" fmla="*/ 186765 h 267810"/>
                  <a:gd name="connsiteX11" fmla="*/ 83853 w 181666"/>
                  <a:gd name="connsiteY11" fmla="*/ 161047 h 267810"/>
                  <a:gd name="connsiteX12" fmla="*/ 70273 w 181666"/>
                  <a:gd name="connsiteY12" fmla="*/ 156587 h 267810"/>
                  <a:gd name="connsiteX13" fmla="*/ 3799 w 181666"/>
                  <a:gd name="connsiteY13" fmla="*/ 80666 h 267810"/>
                  <a:gd name="connsiteX14" fmla="*/ 97718 w 181666"/>
                  <a:gd name="connsiteY14" fmla="*/ 0 h 267810"/>
                  <a:gd name="connsiteX15" fmla="*/ 159350 w 181666"/>
                  <a:gd name="connsiteY15" fmla="*/ 9300 h 267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81666" h="267810">
                    <a:moveTo>
                      <a:pt x="159350" y="63868"/>
                    </a:moveTo>
                    <a:cubicBezTo>
                      <a:pt x="143531" y="59099"/>
                      <a:pt x="127149" y="56450"/>
                      <a:pt x="110633" y="55992"/>
                    </a:cubicBezTo>
                    <a:cubicBezTo>
                      <a:pt x="84613" y="55992"/>
                      <a:pt x="71508" y="64723"/>
                      <a:pt x="71508" y="77155"/>
                    </a:cubicBezTo>
                    <a:cubicBezTo>
                      <a:pt x="71508" y="92813"/>
                      <a:pt x="91165" y="98318"/>
                      <a:pt x="101896" y="101639"/>
                    </a:cubicBezTo>
                    <a:lnTo>
                      <a:pt x="120034" y="107428"/>
                    </a:lnTo>
                    <a:cubicBezTo>
                      <a:pt x="162293" y="120809"/>
                      <a:pt x="181666" y="149754"/>
                      <a:pt x="181666" y="181166"/>
                    </a:cubicBezTo>
                    <a:cubicBezTo>
                      <a:pt x="181666" y="245984"/>
                      <a:pt x="122314" y="267811"/>
                      <a:pt x="72552" y="267811"/>
                    </a:cubicBezTo>
                    <a:cubicBezTo>
                      <a:pt x="48241" y="266988"/>
                      <a:pt x="24007" y="264611"/>
                      <a:pt x="0" y="260693"/>
                    </a:cubicBezTo>
                    <a:lnTo>
                      <a:pt x="0" y="201380"/>
                    </a:lnTo>
                    <a:cubicBezTo>
                      <a:pt x="20921" y="206563"/>
                      <a:pt x="42290" y="209741"/>
                      <a:pt x="63816" y="210870"/>
                    </a:cubicBezTo>
                    <a:cubicBezTo>
                      <a:pt x="96198" y="210870"/>
                      <a:pt x="112342" y="201380"/>
                      <a:pt x="112342" y="186765"/>
                    </a:cubicBezTo>
                    <a:cubicBezTo>
                      <a:pt x="112342" y="173669"/>
                      <a:pt x="100092" y="166172"/>
                      <a:pt x="83853" y="161047"/>
                    </a:cubicBezTo>
                    <a:lnTo>
                      <a:pt x="70273" y="156587"/>
                    </a:lnTo>
                    <a:cubicBezTo>
                      <a:pt x="34092" y="145104"/>
                      <a:pt x="3799" y="123846"/>
                      <a:pt x="3799" y="80666"/>
                    </a:cubicBezTo>
                    <a:cubicBezTo>
                      <a:pt x="3799" y="32361"/>
                      <a:pt x="37796" y="0"/>
                      <a:pt x="97718" y="0"/>
                    </a:cubicBezTo>
                    <a:cubicBezTo>
                      <a:pt x="118590" y="278"/>
                      <a:pt x="139326" y="3407"/>
                      <a:pt x="159350" y="9300"/>
                    </a:cubicBezTo>
                    <a:close/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>
                  <a:solidFill>
                    <a:schemeClr val="bg2"/>
                  </a:solidFill>
                </a:endParaRPr>
              </a:p>
            </p:txBody>
          </p:sp>
        </p:grpSp>
        <p:grpSp>
          <p:nvGrpSpPr>
            <p:cNvPr id="6" name="Group 5">
              <a:extLst>
                <a:ext uri="{FF2B5EF4-FFF2-40B4-BE49-F238E27FC236}">
                  <a16:creationId xmlns:a16="http://schemas.microsoft.com/office/drawing/2014/main" id="{14B49693-639F-B4CD-EE2F-5FBD6B0B7023}"/>
                </a:ext>
              </a:extLst>
            </p:cNvPr>
            <p:cNvGrpSpPr/>
            <p:nvPr/>
          </p:nvGrpSpPr>
          <p:grpSpPr>
            <a:xfrm>
              <a:off x="968312" y="4785947"/>
              <a:ext cx="573946" cy="274194"/>
              <a:chOff x="4186345" y="-863385"/>
              <a:chExt cx="1807247" cy="863385"/>
            </a:xfrm>
            <a:grpFill/>
          </p:grpSpPr>
          <p:sp>
            <p:nvSpPr>
              <p:cNvPr id="9" name="Freeform 8">
                <a:extLst>
                  <a:ext uri="{FF2B5EF4-FFF2-40B4-BE49-F238E27FC236}">
                    <a16:creationId xmlns:a16="http://schemas.microsoft.com/office/drawing/2014/main" id="{63F5686A-DBF9-AA92-ED39-F992A42EB831}"/>
                  </a:ext>
                </a:extLst>
              </p:cNvPr>
              <p:cNvSpPr/>
              <p:nvPr/>
            </p:nvSpPr>
            <p:spPr>
              <a:xfrm>
                <a:off x="4186345" y="-863385"/>
                <a:ext cx="1196080" cy="863385"/>
              </a:xfrm>
              <a:custGeom>
                <a:avLst/>
                <a:gdLst>
                  <a:gd name="connsiteX0" fmla="*/ 748245 w 1196080"/>
                  <a:gd name="connsiteY0" fmla="*/ 709196 h 863385"/>
                  <a:gd name="connsiteX1" fmla="*/ 745016 w 1196080"/>
                  <a:gd name="connsiteY1" fmla="*/ 709196 h 863385"/>
                  <a:gd name="connsiteX2" fmla="*/ 735520 w 1196080"/>
                  <a:gd name="connsiteY2" fmla="*/ 716883 h 863385"/>
                  <a:gd name="connsiteX3" fmla="*/ 698389 w 1196080"/>
                  <a:gd name="connsiteY3" fmla="*/ 747156 h 863385"/>
                  <a:gd name="connsiteX4" fmla="*/ 669900 w 1196080"/>
                  <a:gd name="connsiteY4" fmla="*/ 765567 h 863385"/>
                  <a:gd name="connsiteX5" fmla="*/ 620708 w 1196080"/>
                  <a:gd name="connsiteY5" fmla="*/ 781321 h 863385"/>
                  <a:gd name="connsiteX6" fmla="*/ 538754 w 1196080"/>
                  <a:gd name="connsiteY6" fmla="*/ 735673 h 863385"/>
                  <a:gd name="connsiteX7" fmla="*/ 530872 w 1196080"/>
                  <a:gd name="connsiteY7" fmla="*/ 690975 h 863385"/>
                  <a:gd name="connsiteX8" fmla="*/ 544642 w 1196080"/>
                  <a:gd name="connsiteY8" fmla="*/ 639823 h 863385"/>
                  <a:gd name="connsiteX9" fmla="*/ 550910 w 1196080"/>
                  <a:gd name="connsiteY9" fmla="*/ 623880 h 863385"/>
                  <a:gd name="connsiteX10" fmla="*/ 549865 w 1196080"/>
                  <a:gd name="connsiteY10" fmla="*/ 620938 h 863385"/>
                  <a:gd name="connsiteX11" fmla="*/ 548251 w 1196080"/>
                  <a:gd name="connsiteY11" fmla="*/ 620938 h 863385"/>
                  <a:gd name="connsiteX12" fmla="*/ 534006 w 1196080"/>
                  <a:gd name="connsiteY12" fmla="*/ 630428 h 863385"/>
                  <a:gd name="connsiteX13" fmla="*/ 516628 w 1196080"/>
                  <a:gd name="connsiteY13" fmla="*/ 643904 h 863385"/>
                  <a:gd name="connsiteX14" fmla="*/ 498680 w 1196080"/>
                  <a:gd name="connsiteY14" fmla="*/ 656905 h 863385"/>
                  <a:gd name="connsiteX15" fmla="*/ 412167 w 1196080"/>
                  <a:gd name="connsiteY15" fmla="*/ 712423 h 863385"/>
                  <a:gd name="connsiteX16" fmla="*/ 407704 w 1196080"/>
                  <a:gd name="connsiteY16" fmla="*/ 715080 h 863385"/>
                  <a:gd name="connsiteX17" fmla="*/ 332967 w 1196080"/>
                  <a:gd name="connsiteY17" fmla="*/ 760158 h 863385"/>
                  <a:gd name="connsiteX18" fmla="*/ 281592 w 1196080"/>
                  <a:gd name="connsiteY18" fmla="*/ 794227 h 863385"/>
                  <a:gd name="connsiteX19" fmla="*/ 261080 w 1196080"/>
                  <a:gd name="connsiteY19" fmla="*/ 806659 h 863385"/>
                  <a:gd name="connsiteX20" fmla="*/ 211224 w 1196080"/>
                  <a:gd name="connsiteY20" fmla="*/ 833042 h 863385"/>
                  <a:gd name="connsiteX21" fmla="*/ 206855 w 1196080"/>
                  <a:gd name="connsiteY21" fmla="*/ 835794 h 863385"/>
                  <a:gd name="connsiteX22" fmla="*/ 145888 w 1196080"/>
                  <a:gd name="connsiteY22" fmla="*/ 858096 h 863385"/>
                  <a:gd name="connsiteX23" fmla="*/ 119109 w 1196080"/>
                  <a:gd name="connsiteY23" fmla="*/ 863315 h 863385"/>
                  <a:gd name="connsiteX24" fmla="*/ 98596 w 1196080"/>
                  <a:gd name="connsiteY24" fmla="*/ 862082 h 863385"/>
                  <a:gd name="connsiteX25" fmla="*/ 70962 w 1196080"/>
                  <a:gd name="connsiteY25" fmla="*/ 853541 h 863385"/>
                  <a:gd name="connsiteX26" fmla="*/ 12844 w 1196080"/>
                  <a:gd name="connsiteY26" fmla="*/ 799162 h 863385"/>
                  <a:gd name="connsiteX27" fmla="*/ 2778 w 1196080"/>
                  <a:gd name="connsiteY27" fmla="*/ 773824 h 863385"/>
                  <a:gd name="connsiteX28" fmla="*/ 2778 w 1196080"/>
                  <a:gd name="connsiteY28" fmla="*/ 724665 h 863385"/>
                  <a:gd name="connsiteX29" fmla="*/ 15313 w 1196080"/>
                  <a:gd name="connsiteY29" fmla="*/ 685566 h 863385"/>
                  <a:gd name="connsiteX30" fmla="*/ 51494 w 1196080"/>
                  <a:gd name="connsiteY30" fmla="*/ 606038 h 863385"/>
                  <a:gd name="connsiteX31" fmla="*/ 53773 w 1196080"/>
                  <a:gd name="connsiteY31" fmla="*/ 601388 h 863385"/>
                  <a:gd name="connsiteX32" fmla="*/ 83497 w 1196080"/>
                  <a:gd name="connsiteY32" fmla="*/ 543499 h 863385"/>
                  <a:gd name="connsiteX33" fmla="*/ 119014 w 1196080"/>
                  <a:gd name="connsiteY33" fmla="*/ 480959 h 863385"/>
                  <a:gd name="connsiteX34" fmla="*/ 174852 w 1196080"/>
                  <a:gd name="connsiteY34" fmla="*/ 386058 h 863385"/>
                  <a:gd name="connsiteX35" fmla="*/ 188147 w 1196080"/>
                  <a:gd name="connsiteY35" fmla="*/ 362048 h 863385"/>
                  <a:gd name="connsiteX36" fmla="*/ 194985 w 1196080"/>
                  <a:gd name="connsiteY36" fmla="*/ 350185 h 863385"/>
                  <a:gd name="connsiteX37" fmla="*/ 214737 w 1196080"/>
                  <a:gd name="connsiteY37" fmla="*/ 318109 h 863385"/>
                  <a:gd name="connsiteX38" fmla="*/ 243227 w 1196080"/>
                  <a:gd name="connsiteY38" fmla="*/ 270658 h 863385"/>
                  <a:gd name="connsiteX39" fmla="*/ 265448 w 1196080"/>
                  <a:gd name="connsiteY39" fmla="*/ 232033 h 863385"/>
                  <a:gd name="connsiteX40" fmla="*/ 278268 w 1196080"/>
                  <a:gd name="connsiteY40" fmla="*/ 211819 h 863385"/>
                  <a:gd name="connsiteX41" fmla="*/ 349396 w 1196080"/>
                  <a:gd name="connsiteY41" fmla="*/ 75921 h 863385"/>
                  <a:gd name="connsiteX42" fmla="*/ 367724 w 1196080"/>
                  <a:gd name="connsiteY42" fmla="*/ 13476 h 863385"/>
                  <a:gd name="connsiteX43" fmla="*/ 369054 w 1196080"/>
                  <a:gd name="connsiteY43" fmla="*/ 6738 h 863385"/>
                  <a:gd name="connsiteX44" fmla="*/ 377885 w 1196080"/>
                  <a:gd name="connsiteY44" fmla="*/ 0 h 863385"/>
                  <a:gd name="connsiteX45" fmla="*/ 420049 w 1196080"/>
                  <a:gd name="connsiteY45" fmla="*/ 19834 h 863385"/>
                  <a:gd name="connsiteX46" fmla="*/ 428311 w 1196080"/>
                  <a:gd name="connsiteY46" fmla="*/ 41946 h 863385"/>
                  <a:gd name="connsiteX47" fmla="*/ 428311 w 1196080"/>
                  <a:gd name="connsiteY47" fmla="*/ 52196 h 863385"/>
                  <a:gd name="connsiteX48" fmla="*/ 429546 w 1196080"/>
                  <a:gd name="connsiteY48" fmla="*/ 57036 h 863385"/>
                  <a:gd name="connsiteX49" fmla="*/ 432015 w 1196080"/>
                  <a:gd name="connsiteY49" fmla="*/ 74972 h 863385"/>
                  <a:gd name="connsiteX50" fmla="*/ 422993 w 1196080"/>
                  <a:gd name="connsiteY50" fmla="*/ 97084 h 863385"/>
                  <a:gd name="connsiteX51" fmla="*/ 419480 w 1196080"/>
                  <a:gd name="connsiteY51" fmla="*/ 106574 h 863385"/>
                  <a:gd name="connsiteX52" fmla="*/ 414921 w 1196080"/>
                  <a:gd name="connsiteY52" fmla="*/ 115115 h 863385"/>
                  <a:gd name="connsiteX53" fmla="*/ 409508 w 1196080"/>
                  <a:gd name="connsiteY53" fmla="*/ 123561 h 863385"/>
                  <a:gd name="connsiteX54" fmla="*/ 394504 w 1196080"/>
                  <a:gd name="connsiteY54" fmla="*/ 161522 h 863385"/>
                  <a:gd name="connsiteX55" fmla="*/ 355759 w 1196080"/>
                  <a:gd name="connsiteY55" fmla="*/ 234026 h 863385"/>
                  <a:gd name="connsiteX56" fmla="*/ 347782 w 1196080"/>
                  <a:gd name="connsiteY56" fmla="*/ 249210 h 863385"/>
                  <a:gd name="connsiteX57" fmla="*/ 338285 w 1196080"/>
                  <a:gd name="connsiteY57" fmla="*/ 263256 h 863385"/>
                  <a:gd name="connsiteX58" fmla="*/ 325845 w 1196080"/>
                  <a:gd name="connsiteY58" fmla="*/ 285747 h 863385"/>
                  <a:gd name="connsiteX59" fmla="*/ 273805 w 1196080"/>
                  <a:gd name="connsiteY59" fmla="*/ 372392 h 863385"/>
                  <a:gd name="connsiteX60" fmla="*/ 241327 w 1196080"/>
                  <a:gd name="connsiteY60" fmla="*/ 426865 h 863385"/>
                  <a:gd name="connsiteX61" fmla="*/ 212838 w 1196080"/>
                  <a:gd name="connsiteY61" fmla="*/ 475834 h 863385"/>
                  <a:gd name="connsiteX62" fmla="*/ 203816 w 1196080"/>
                  <a:gd name="connsiteY62" fmla="*/ 490354 h 863385"/>
                  <a:gd name="connsiteX63" fmla="*/ 171624 w 1196080"/>
                  <a:gd name="connsiteY63" fmla="*/ 546725 h 863385"/>
                  <a:gd name="connsiteX64" fmla="*/ 169914 w 1196080"/>
                  <a:gd name="connsiteY64" fmla="*/ 549762 h 863385"/>
                  <a:gd name="connsiteX65" fmla="*/ 145603 w 1196080"/>
                  <a:gd name="connsiteY65" fmla="*/ 593037 h 863385"/>
                  <a:gd name="connsiteX66" fmla="*/ 101730 w 1196080"/>
                  <a:gd name="connsiteY66" fmla="*/ 676455 h 863385"/>
                  <a:gd name="connsiteX67" fmla="*/ 96412 w 1196080"/>
                  <a:gd name="connsiteY67" fmla="*/ 687179 h 863385"/>
                  <a:gd name="connsiteX68" fmla="*/ 63650 w 1196080"/>
                  <a:gd name="connsiteY68" fmla="*/ 777145 h 863385"/>
                  <a:gd name="connsiteX69" fmla="*/ 63650 w 1196080"/>
                  <a:gd name="connsiteY69" fmla="*/ 783883 h 863385"/>
                  <a:gd name="connsiteX70" fmla="*/ 73621 w 1196080"/>
                  <a:gd name="connsiteY70" fmla="*/ 791855 h 863385"/>
                  <a:gd name="connsiteX71" fmla="*/ 99071 w 1196080"/>
                  <a:gd name="connsiteY71" fmla="*/ 789482 h 863385"/>
                  <a:gd name="connsiteX72" fmla="*/ 144749 w 1196080"/>
                  <a:gd name="connsiteY72" fmla="*/ 775057 h 863385"/>
                  <a:gd name="connsiteX73" fmla="*/ 206950 w 1196080"/>
                  <a:gd name="connsiteY73" fmla="*/ 746207 h 863385"/>
                  <a:gd name="connsiteX74" fmla="*/ 277983 w 1196080"/>
                  <a:gd name="connsiteY74" fmla="*/ 704830 h 863385"/>
                  <a:gd name="connsiteX75" fmla="*/ 311790 w 1196080"/>
                  <a:gd name="connsiteY75" fmla="*/ 684617 h 863385"/>
                  <a:gd name="connsiteX76" fmla="*/ 340944 w 1196080"/>
                  <a:gd name="connsiteY76" fmla="*/ 666680 h 863385"/>
                  <a:gd name="connsiteX77" fmla="*/ 366490 w 1196080"/>
                  <a:gd name="connsiteY77" fmla="*/ 652825 h 863385"/>
                  <a:gd name="connsiteX78" fmla="*/ 381589 w 1196080"/>
                  <a:gd name="connsiteY78" fmla="*/ 644853 h 863385"/>
                  <a:gd name="connsiteX79" fmla="*/ 403336 w 1196080"/>
                  <a:gd name="connsiteY79" fmla="*/ 631187 h 863385"/>
                  <a:gd name="connsiteX80" fmla="*/ 458700 w 1196080"/>
                  <a:gd name="connsiteY80" fmla="*/ 597877 h 863385"/>
                  <a:gd name="connsiteX81" fmla="*/ 470380 w 1196080"/>
                  <a:gd name="connsiteY81" fmla="*/ 590759 h 863385"/>
                  <a:gd name="connsiteX82" fmla="*/ 579494 w 1196080"/>
                  <a:gd name="connsiteY82" fmla="*/ 529928 h 863385"/>
                  <a:gd name="connsiteX83" fmla="*/ 637612 w 1196080"/>
                  <a:gd name="connsiteY83" fmla="*/ 475834 h 863385"/>
                  <a:gd name="connsiteX84" fmla="*/ 650717 w 1196080"/>
                  <a:gd name="connsiteY84" fmla="*/ 469381 h 863385"/>
                  <a:gd name="connsiteX85" fmla="*/ 679206 w 1196080"/>
                  <a:gd name="connsiteY85" fmla="*/ 479535 h 863385"/>
                  <a:gd name="connsiteX86" fmla="*/ 699528 w 1196080"/>
                  <a:gd name="connsiteY86" fmla="*/ 508765 h 863385"/>
                  <a:gd name="connsiteX87" fmla="*/ 699054 w 1196080"/>
                  <a:gd name="connsiteY87" fmla="*/ 518255 h 863385"/>
                  <a:gd name="connsiteX88" fmla="*/ 695540 w 1196080"/>
                  <a:gd name="connsiteY88" fmla="*/ 524139 h 863385"/>
                  <a:gd name="connsiteX89" fmla="*/ 671039 w 1196080"/>
                  <a:gd name="connsiteY89" fmla="*/ 564851 h 863385"/>
                  <a:gd name="connsiteX90" fmla="*/ 666196 w 1196080"/>
                  <a:gd name="connsiteY90" fmla="*/ 573867 h 863385"/>
                  <a:gd name="connsiteX91" fmla="*/ 658029 w 1196080"/>
                  <a:gd name="connsiteY91" fmla="*/ 586868 h 863385"/>
                  <a:gd name="connsiteX92" fmla="*/ 643500 w 1196080"/>
                  <a:gd name="connsiteY92" fmla="*/ 608031 h 863385"/>
                  <a:gd name="connsiteX93" fmla="*/ 602380 w 1196080"/>
                  <a:gd name="connsiteY93" fmla="*/ 692778 h 863385"/>
                  <a:gd name="connsiteX94" fmla="*/ 594593 w 1196080"/>
                  <a:gd name="connsiteY94" fmla="*/ 717168 h 863385"/>
                  <a:gd name="connsiteX95" fmla="*/ 594593 w 1196080"/>
                  <a:gd name="connsiteY95" fmla="*/ 727322 h 863385"/>
                  <a:gd name="connsiteX96" fmla="*/ 596967 w 1196080"/>
                  <a:gd name="connsiteY96" fmla="*/ 729220 h 863385"/>
                  <a:gd name="connsiteX97" fmla="*/ 704182 w 1196080"/>
                  <a:gd name="connsiteY97" fmla="*/ 653299 h 863385"/>
                  <a:gd name="connsiteX98" fmla="*/ 804938 w 1196080"/>
                  <a:gd name="connsiteY98" fmla="*/ 536476 h 863385"/>
                  <a:gd name="connsiteX99" fmla="*/ 833428 w 1196080"/>
                  <a:gd name="connsiteY99" fmla="*/ 456949 h 863385"/>
                  <a:gd name="connsiteX100" fmla="*/ 853655 w 1196080"/>
                  <a:gd name="connsiteY100" fmla="*/ 409498 h 863385"/>
                  <a:gd name="connsiteX101" fmla="*/ 874927 w 1196080"/>
                  <a:gd name="connsiteY101" fmla="*/ 359011 h 863385"/>
                  <a:gd name="connsiteX102" fmla="*/ 884993 w 1196080"/>
                  <a:gd name="connsiteY102" fmla="*/ 351514 h 863385"/>
                  <a:gd name="connsiteX103" fmla="*/ 930196 w 1196080"/>
                  <a:gd name="connsiteY103" fmla="*/ 373246 h 863385"/>
                  <a:gd name="connsiteX104" fmla="*/ 933140 w 1196080"/>
                  <a:gd name="connsiteY104" fmla="*/ 377517 h 863385"/>
                  <a:gd name="connsiteX105" fmla="*/ 933140 w 1196080"/>
                  <a:gd name="connsiteY105" fmla="*/ 390233 h 863385"/>
                  <a:gd name="connsiteX106" fmla="*/ 912343 w 1196080"/>
                  <a:gd name="connsiteY106" fmla="*/ 435311 h 863385"/>
                  <a:gd name="connsiteX107" fmla="*/ 900282 w 1196080"/>
                  <a:gd name="connsiteY107" fmla="*/ 465585 h 863385"/>
                  <a:gd name="connsiteX108" fmla="*/ 849002 w 1196080"/>
                  <a:gd name="connsiteY108" fmla="*/ 605374 h 863385"/>
                  <a:gd name="connsiteX109" fmla="*/ 844443 w 1196080"/>
                  <a:gd name="connsiteY109" fmla="*/ 621887 h 863385"/>
                  <a:gd name="connsiteX110" fmla="*/ 844443 w 1196080"/>
                  <a:gd name="connsiteY110" fmla="*/ 626822 h 863385"/>
                  <a:gd name="connsiteX111" fmla="*/ 848527 w 1196080"/>
                  <a:gd name="connsiteY111" fmla="*/ 628815 h 863385"/>
                  <a:gd name="connsiteX112" fmla="*/ 852515 w 1196080"/>
                  <a:gd name="connsiteY112" fmla="*/ 625778 h 863385"/>
                  <a:gd name="connsiteX113" fmla="*/ 871508 w 1196080"/>
                  <a:gd name="connsiteY113" fmla="*/ 599395 h 863385"/>
                  <a:gd name="connsiteX114" fmla="*/ 928486 w 1196080"/>
                  <a:gd name="connsiteY114" fmla="*/ 522525 h 863385"/>
                  <a:gd name="connsiteX115" fmla="*/ 1042918 w 1196080"/>
                  <a:gd name="connsiteY115" fmla="*/ 397256 h 863385"/>
                  <a:gd name="connsiteX116" fmla="*/ 1080904 w 1196080"/>
                  <a:gd name="connsiteY116" fmla="*/ 362332 h 863385"/>
                  <a:gd name="connsiteX117" fmla="*/ 1109393 w 1196080"/>
                  <a:gd name="connsiteY117" fmla="*/ 340410 h 863385"/>
                  <a:gd name="connsiteX118" fmla="*/ 1132944 w 1196080"/>
                  <a:gd name="connsiteY118" fmla="*/ 330920 h 863385"/>
                  <a:gd name="connsiteX119" fmla="*/ 1139497 w 1196080"/>
                  <a:gd name="connsiteY119" fmla="*/ 329307 h 863385"/>
                  <a:gd name="connsiteX120" fmla="*/ 1169885 w 1196080"/>
                  <a:gd name="connsiteY120" fmla="*/ 330351 h 863385"/>
                  <a:gd name="connsiteX121" fmla="*/ 1174443 w 1196080"/>
                  <a:gd name="connsiteY121" fmla="*/ 332628 h 863385"/>
                  <a:gd name="connsiteX122" fmla="*/ 1186124 w 1196080"/>
                  <a:gd name="connsiteY122" fmla="*/ 339461 h 863385"/>
                  <a:gd name="connsiteX123" fmla="*/ 1195620 w 1196080"/>
                  <a:gd name="connsiteY123" fmla="*/ 350849 h 863385"/>
                  <a:gd name="connsiteX124" fmla="*/ 1194480 w 1196080"/>
                  <a:gd name="connsiteY124" fmla="*/ 357208 h 863385"/>
                  <a:gd name="connsiteX125" fmla="*/ 1187833 w 1196080"/>
                  <a:gd name="connsiteY125" fmla="*/ 362522 h 863385"/>
                  <a:gd name="connsiteX126" fmla="*/ 1169885 w 1196080"/>
                  <a:gd name="connsiteY126" fmla="*/ 372582 h 863385"/>
                  <a:gd name="connsiteX127" fmla="*/ 1137122 w 1196080"/>
                  <a:gd name="connsiteY127" fmla="*/ 394314 h 863385"/>
                  <a:gd name="connsiteX128" fmla="*/ 1100181 w 1196080"/>
                  <a:gd name="connsiteY128" fmla="*/ 427529 h 863385"/>
                  <a:gd name="connsiteX129" fmla="*/ 1046906 w 1196080"/>
                  <a:gd name="connsiteY129" fmla="*/ 483331 h 863385"/>
                  <a:gd name="connsiteX130" fmla="*/ 992682 w 1196080"/>
                  <a:gd name="connsiteY130" fmla="*/ 545207 h 863385"/>
                  <a:gd name="connsiteX131" fmla="*/ 985560 w 1196080"/>
                  <a:gd name="connsiteY131" fmla="*/ 554697 h 863385"/>
                  <a:gd name="connsiteX132" fmla="*/ 957735 w 1196080"/>
                  <a:gd name="connsiteY132" fmla="*/ 591613 h 863385"/>
                  <a:gd name="connsiteX133" fmla="*/ 938743 w 1196080"/>
                  <a:gd name="connsiteY133" fmla="*/ 615718 h 863385"/>
                  <a:gd name="connsiteX134" fmla="*/ 936178 w 1196080"/>
                  <a:gd name="connsiteY134" fmla="*/ 620084 h 863385"/>
                  <a:gd name="connsiteX135" fmla="*/ 928866 w 1196080"/>
                  <a:gd name="connsiteY135" fmla="*/ 631567 h 863385"/>
                  <a:gd name="connsiteX136" fmla="*/ 879485 w 1196080"/>
                  <a:gd name="connsiteY136" fmla="*/ 699421 h 863385"/>
                  <a:gd name="connsiteX137" fmla="*/ 815194 w 1196080"/>
                  <a:gd name="connsiteY137" fmla="*/ 820325 h 863385"/>
                  <a:gd name="connsiteX138" fmla="*/ 800190 w 1196080"/>
                  <a:gd name="connsiteY138" fmla="*/ 847182 h 863385"/>
                  <a:gd name="connsiteX139" fmla="*/ 791169 w 1196080"/>
                  <a:gd name="connsiteY139" fmla="*/ 857526 h 863385"/>
                  <a:gd name="connsiteX140" fmla="*/ 773790 w 1196080"/>
                  <a:gd name="connsiteY140" fmla="*/ 862082 h 863385"/>
                  <a:gd name="connsiteX141" fmla="*/ 756222 w 1196080"/>
                  <a:gd name="connsiteY141" fmla="*/ 851927 h 863385"/>
                  <a:gd name="connsiteX142" fmla="*/ 734095 w 1196080"/>
                  <a:gd name="connsiteY142" fmla="*/ 830574 h 863385"/>
                  <a:gd name="connsiteX143" fmla="*/ 731056 w 1196080"/>
                  <a:gd name="connsiteY143" fmla="*/ 824691 h 863385"/>
                  <a:gd name="connsiteX144" fmla="*/ 731056 w 1196080"/>
                  <a:gd name="connsiteY144" fmla="*/ 800870 h 863385"/>
                  <a:gd name="connsiteX145" fmla="*/ 746061 w 1196080"/>
                  <a:gd name="connsiteY145" fmla="*/ 721723 h 863385"/>
                  <a:gd name="connsiteX146" fmla="*/ 747010 w 1196080"/>
                  <a:gd name="connsiteY146" fmla="*/ 708247 h 863385"/>
                  <a:gd name="connsiteX147" fmla="*/ 748245 w 1196080"/>
                  <a:gd name="connsiteY147" fmla="*/ 708247 h 863385"/>
                  <a:gd name="connsiteX148" fmla="*/ 748245 w 1196080"/>
                  <a:gd name="connsiteY148" fmla="*/ 707298 h 863385"/>
                  <a:gd name="connsiteX149" fmla="*/ 747390 w 1196080"/>
                  <a:gd name="connsiteY149" fmla="*/ 708816 h 863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</a:cxnLst>
                <a:rect l="l" t="t" r="r" b="b"/>
                <a:pathLst>
                  <a:path w="1196080" h="863385">
                    <a:moveTo>
                      <a:pt x="748245" y="709196"/>
                    </a:moveTo>
                    <a:cubicBezTo>
                      <a:pt x="747200" y="709196"/>
                      <a:pt x="745776" y="709196"/>
                      <a:pt x="745016" y="709196"/>
                    </a:cubicBezTo>
                    <a:cubicBezTo>
                      <a:pt x="741882" y="711569"/>
                      <a:pt x="738843" y="714226"/>
                      <a:pt x="735520" y="716883"/>
                    </a:cubicBezTo>
                    <a:cubicBezTo>
                      <a:pt x="723554" y="727512"/>
                      <a:pt x="711304" y="737761"/>
                      <a:pt x="698389" y="747156"/>
                    </a:cubicBezTo>
                    <a:cubicBezTo>
                      <a:pt x="689329" y="753937"/>
                      <a:pt x="679804" y="760089"/>
                      <a:pt x="669900" y="765567"/>
                    </a:cubicBezTo>
                    <a:cubicBezTo>
                      <a:pt x="655190" y="775074"/>
                      <a:pt x="638210" y="780510"/>
                      <a:pt x="620708" y="781321"/>
                    </a:cubicBezTo>
                    <a:cubicBezTo>
                      <a:pt x="586730" y="783789"/>
                      <a:pt x="554528" y="765853"/>
                      <a:pt x="538754" y="735673"/>
                    </a:cubicBezTo>
                    <a:cubicBezTo>
                      <a:pt x="531091" y="722112"/>
                      <a:pt x="528308" y="706337"/>
                      <a:pt x="530872" y="690975"/>
                    </a:cubicBezTo>
                    <a:cubicBezTo>
                      <a:pt x="533398" y="673435"/>
                      <a:pt x="538023" y="656262"/>
                      <a:pt x="544642" y="639823"/>
                    </a:cubicBezTo>
                    <a:cubicBezTo>
                      <a:pt x="546731" y="634509"/>
                      <a:pt x="548915" y="629194"/>
                      <a:pt x="550910" y="623880"/>
                    </a:cubicBezTo>
                    <a:cubicBezTo>
                      <a:pt x="550910" y="623121"/>
                      <a:pt x="550340" y="621887"/>
                      <a:pt x="549865" y="620938"/>
                    </a:cubicBezTo>
                    <a:cubicBezTo>
                      <a:pt x="549390" y="619989"/>
                      <a:pt x="548726" y="620938"/>
                      <a:pt x="548251" y="620938"/>
                    </a:cubicBezTo>
                    <a:cubicBezTo>
                      <a:pt x="543104" y="623454"/>
                      <a:pt x="538308" y="626645"/>
                      <a:pt x="534006" y="630428"/>
                    </a:cubicBezTo>
                    <a:cubicBezTo>
                      <a:pt x="528555" y="635348"/>
                      <a:pt x="522753" y="639853"/>
                      <a:pt x="516628" y="643904"/>
                    </a:cubicBezTo>
                    <a:cubicBezTo>
                      <a:pt x="510873" y="648543"/>
                      <a:pt x="504881" y="652883"/>
                      <a:pt x="498680" y="656905"/>
                    </a:cubicBezTo>
                    <a:cubicBezTo>
                      <a:pt x="470190" y="675886"/>
                      <a:pt x="441701" y="694866"/>
                      <a:pt x="412167" y="712423"/>
                    </a:cubicBezTo>
                    <a:cubicBezTo>
                      <a:pt x="410648" y="713277"/>
                      <a:pt x="409128" y="714131"/>
                      <a:pt x="407704" y="715080"/>
                    </a:cubicBezTo>
                    <a:cubicBezTo>
                      <a:pt x="383583" y="731403"/>
                      <a:pt x="358133" y="745543"/>
                      <a:pt x="332967" y="760158"/>
                    </a:cubicBezTo>
                    <a:cubicBezTo>
                      <a:pt x="315143" y="770418"/>
                      <a:pt x="297983" y="781796"/>
                      <a:pt x="281592" y="794227"/>
                    </a:cubicBezTo>
                    <a:cubicBezTo>
                      <a:pt x="275305" y="799214"/>
                      <a:pt x="268411" y="803391"/>
                      <a:pt x="261080" y="806659"/>
                    </a:cubicBezTo>
                    <a:cubicBezTo>
                      <a:pt x="243796" y="814251"/>
                      <a:pt x="227842" y="824216"/>
                      <a:pt x="211224" y="833042"/>
                    </a:cubicBezTo>
                    <a:cubicBezTo>
                      <a:pt x="209828" y="834048"/>
                      <a:pt x="208365" y="834967"/>
                      <a:pt x="206855" y="835794"/>
                    </a:cubicBezTo>
                    <a:cubicBezTo>
                      <a:pt x="187084" y="844643"/>
                      <a:pt x="166704" y="852095"/>
                      <a:pt x="145888" y="858096"/>
                    </a:cubicBezTo>
                    <a:cubicBezTo>
                      <a:pt x="137104" y="860491"/>
                      <a:pt x="128149" y="862235"/>
                      <a:pt x="119109" y="863315"/>
                    </a:cubicBezTo>
                    <a:cubicBezTo>
                      <a:pt x="112243" y="863564"/>
                      <a:pt x="105377" y="863151"/>
                      <a:pt x="98596" y="862082"/>
                    </a:cubicBezTo>
                    <a:cubicBezTo>
                      <a:pt x="88919" y="861029"/>
                      <a:pt x="79537" y="858130"/>
                      <a:pt x="70962" y="853541"/>
                    </a:cubicBezTo>
                    <a:cubicBezTo>
                      <a:pt x="47097" y="840899"/>
                      <a:pt x="27031" y="822128"/>
                      <a:pt x="12844" y="799162"/>
                    </a:cubicBezTo>
                    <a:cubicBezTo>
                      <a:pt x="7896" y="791437"/>
                      <a:pt x="4478" y="782835"/>
                      <a:pt x="2778" y="773824"/>
                    </a:cubicBezTo>
                    <a:cubicBezTo>
                      <a:pt x="-926" y="757647"/>
                      <a:pt x="-926" y="740842"/>
                      <a:pt x="2778" y="724665"/>
                    </a:cubicBezTo>
                    <a:cubicBezTo>
                      <a:pt x="5893" y="711314"/>
                      <a:pt x="10080" y="698239"/>
                      <a:pt x="15313" y="685566"/>
                    </a:cubicBezTo>
                    <a:cubicBezTo>
                      <a:pt x="27278" y="658993"/>
                      <a:pt x="39434" y="632516"/>
                      <a:pt x="51494" y="606038"/>
                    </a:cubicBezTo>
                    <a:cubicBezTo>
                      <a:pt x="52159" y="604443"/>
                      <a:pt x="52919" y="602891"/>
                      <a:pt x="53773" y="601388"/>
                    </a:cubicBezTo>
                    <a:cubicBezTo>
                      <a:pt x="64789" y="582408"/>
                      <a:pt x="73431" y="562764"/>
                      <a:pt x="83497" y="543499"/>
                    </a:cubicBezTo>
                    <a:cubicBezTo>
                      <a:pt x="94608" y="522241"/>
                      <a:pt x="106953" y="501647"/>
                      <a:pt x="119014" y="480959"/>
                    </a:cubicBezTo>
                    <a:cubicBezTo>
                      <a:pt x="137532" y="449452"/>
                      <a:pt x="156334" y="418039"/>
                      <a:pt x="174852" y="386058"/>
                    </a:cubicBezTo>
                    <a:cubicBezTo>
                      <a:pt x="179411" y="378181"/>
                      <a:pt x="183684" y="370114"/>
                      <a:pt x="188147" y="362048"/>
                    </a:cubicBezTo>
                    <a:cubicBezTo>
                      <a:pt x="190189" y="357959"/>
                      <a:pt x="192468" y="353997"/>
                      <a:pt x="194985" y="350185"/>
                    </a:cubicBezTo>
                    <a:cubicBezTo>
                      <a:pt x="202297" y="339936"/>
                      <a:pt x="208280" y="328927"/>
                      <a:pt x="214737" y="318109"/>
                    </a:cubicBezTo>
                    <a:cubicBezTo>
                      <a:pt x="224234" y="302355"/>
                      <a:pt x="233730" y="286886"/>
                      <a:pt x="243227" y="270658"/>
                    </a:cubicBezTo>
                    <a:cubicBezTo>
                      <a:pt x="250824" y="257941"/>
                      <a:pt x="257946" y="244845"/>
                      <a:pt x="265448" y="232033"/>
                    </a:cubicBezTo>
                    <a:cubicBezTo>
                      <a:pt x="269560" y="225200"/>
                      <a:pt x="273833" y="218462"/>
                      <a:pt x="278268" y="211819"/>
                    </a:cubicBezTo>
                    <a:cubicBezTo>
                      <a:pt x="307080" y="169373"/>
                      <a:pt x="330935" y="123778"/>
                      <a:pt x="349396" y="75921"/>
                    </a:cubicBezTo>
                    <a:cubicBezTo>
                      <a:pt x="357107" y="55611"/>
                      <a:pt x="363242" y="34733"/>
                      <a:pt x="367724" y="13476"/>
                    </a:cubicBezTo>
                    <a:cubicBezTo>
                      <a:pt x="367724" y="11293"/>
                      <a:pt x="368484" y="9016"/>
                      <a:pt x="369054" y="6738"/>
                    </a:cubicBezTo>
                    <a:cubicBezTo>
                      <a:pt x="370241" y="2826"/>
                      <a:pt x="373792" y="111"/>
                      <a:pt x="377885" y="0"/>
                    </a:cubicBezTo>
                    <a:cubicBezTo>
                      <a:pt x="394067" y="535"/>
                      <a:pt x="409318" y="7709"/>
                      <a:pt x="420049" y="19834"/>
                    </a:cubicBezTo>
                    <a:cubicBezTo>
                      <a:pt x="425244" y="26051"/>
                      <a:pt x="428159" y="33851"/>
                      <a:pt x="428311" y="41946"/>
                    </a:cubicBezTo>
                    <a:cubicBezTo>
                      <a:pt x="428311" y="45363"/>
                      <a:pt x="428311" y="48779"/>
                      <a:pt x="428311" y="52196"/>
                    </a:cubicBezTo>
                    <a:cubicBezTo>
                      <a:pt x="428283" y="53890"/>
                      <a:pt x="428710" y="55561"/>
                      <a:pt x="429546" y="57036"/>
                    </a:cubicBezTo>
                    <a:cubicBezTo>
                      <a:pt x="433126" y="62302"/>
                      <a:pt x="434038" y="68935"/>
                      <a:pt x="432015" y="74972"/>
                    </a:cubicBezTo>
                    <a:cubicBezTo>
                      <a:pt x="430210" y="82777"/>
                      <a:pt x="427162" y="90243"/>
                      <a:pt x="422993" y="97084"/>
                    </a:cubicBezTo>
                    <a:cubicBezTo>
                      <a:pt x="420942" y="99850"/>
                      <a:pt x="419727" y="103141"/>
                      <a:pt x="419480" y="106574"/>
                    </a:cubicBezTo>
                    <a:cubicBezTo>
                      <a:pt x="419641" y="110040"/>
                      <a:pt x="417884" y="113315"/>
                      <a:pt x="414921" y="115115"/>
                    </a:cubicBezTo>
                    <a:cubicBezTo>
                      <a:pt x="412091" y="117122"/>
                      <a:pt x="410145" y="120151"/>
                      <a:pt x="409508" y="123561"/>
                    </a:cubicBezTo>
                    <a:cubicBezTo>
                      <a:pt x="405852" y="136704"/>
                      <a:pt x="400819" y="149427"/>
                      <a:pt x="394504" y="161522"/>
                    </a:cubicBezTo>
                    <a:cubicBezTo>
                      <a:pt x="382634" y="186196"/>
                      <a:pt x="369908" y="210586"/>
                      <a:pt x="355759" y="234026"/>
                    </a:cubicBezTo>
                    <a:cubicBezTo>
                      <a:pt x="352815" y="238866"/>
                      <a:pt x="350726" y="244275"/>
                      <a:pt x="347782" y="249210"/>
                    </a:cubicBezTo>
                    <a:cubicBezTo>
                      <a:pt x="344838" y="254145"/>
                      <a:pt x="341134" y="258700"/>
                      <a:pt x="338285" y="263256"/>
                    </a:cubicBezTo>
                    <a:cubicBezTo>
                      <a:pt x="333917" y="270563"/>
                      <a:pt x="329929" y="278250"/>
                      <a:pt x="325845" y="285747"/>
                    </a:cubicBezTo>
                    <a:cubicBezTo>
                      <a:pt x="309416" y="315167"/>
                      <a:pt x="291943" y="344016"/>
                      <a:pt x="273805" y="372392"/>
                    </a:cubicBezTo>
                    <a:cubicBezTo>
                      <a:pt x="262409" y="390233"/>
                      <a:pt x="252153" y="408739"/>
                      <a:pt x="241327" y="426865"/>
                    </a:cubicBezTo>
                    <a:cubicBezTo>
                      <a:pt x="231005" y="442691"/>
                      <a:pt x="221489" y="459036"/>
                      <a:pt x="212838" y="475834"/>
                    </a:cubicBezTo>
                    <a:cubicBezTo>
                      <a:pt x="210217" y="480903"/>
                      <a:pt x="207197" y="485758"/>
                      <a:pt x="203816" y="490354"/>
                    </a:cubicBezTo>
                    <a:cubicBezTo>
                      <a:pt x="191613" y="508263"/>
                      <a:pt x="180845" y="527113"/>
                      <a:pt x="171624" y="546725"/>
                    </a:cubicBezTo>
                    <a:cubicBezTo>
                      <a:pt x="171111" y="547768"/>
                      <a:pt x="170541" y="548783"/>
                      <a:pt x="169914" y="549762"/>
                    </a:cubicBezTo>
                    <a:cubicBezTo>
                      <a:pt x="160997" y="563717"/>
                      <a:pt x="152887" y="578165"/>
                      <a:pt x="145603" y="593037"/>
                    </a:cubicBezTo>
                    <a:cubicBezTo>
                      <a:pt x="130219" y="620369"/>
                      <a:pt x="116165" y="648554"/>
                      <a:pt x="101730" y="676455"/>
                    </a:cubicBezTo>
                    <a:cubicBezTo>
                      <a:pt x="99831" y="679966"/>
                      <a:pt x="98311" y="683668"/>
                      <a:pt x="96412" y="687179"/>
                    </a:cubicBezTo>
                    <a:cubicBezTo>
                      <a:pt x="82054" y="715804"/>
                      <a:pt x="71057" y="745994"/>
                      <a:pt x="63650" y="777145"/>
                    </a:cubicBezTo>
                    <a:cubicBezTo>
                      <a:pt x="63175" y="779366"/>
                      <a:pt x="63175" y="781662"/>
                      <a:pt x="63650" y="783883"/>
                    </a:cubicBezTo>
                    <a:cubicBezTo>
                      <a:pt x="64799" y="788479"/>
                      <a:pt x="68882" y="791741"/>
                      <a:pt x="73621" y="791855"/>
                    </a:cubicBezTo>
                    <a:cubicBezTo>
                      <a:pt x="82168" y="792158"/>
                      <a:pt x="90724" y="791361"/>
                      <a:pt x="99071" y="789482"/>
                    </a:cubicBezTo>
                    <a:cubicBezTo>
                      <a:pt x="114664" y="785913"/>
                      <a:pt x="129934" y="781088"/>
                      <a:pt x="144749" y="775057"/>
                    </a:cubicBezTo>
                    <a:cubicBezTo>
                      <a:pt x="166021" y="766647"/>
                      <a:pt x="186789" y="757015"/>
                      <a:pt x="206950" y="746207"/>
                    </a:cubicBezTo>
                    <a:cubicBezTo>
                      <a:pt x="231166" y="733301"/>
                      <a:pt x="254432" y="719066"/>
                      <a:pt x="277983" y="704830"/>
                    </a:cubicBezTo>
                    <a:cubicBezTo>
                      <a:pt x="289189" y="697903"/>
                      <a:pt x="300585" y="691355"/>
                      <a:pt x="311790" y="684617"/>
                    </a:cubicBezTo>
                    <a:cubicBezTo>
                      <a:pt x="321287" y="678733"/>
                      <a:pt x="331353" y="672849"/>
                      <a:pt x="340944" y="666680"/>
                    </a:cubicBezTo>
                    <a:cubicBezTo>
                      <a:pt x="349007" y="661270"/>
                      <a:pt x="357554" y="656631"/>
                      <a:pt x="366490" y="652825"/>
                    </a:cubicBezTo>
                    <a:cubicBezTo>
                      <a:pt x="371713" y="650546"/>
                      <a:pt x="376765" y="647881"/>
                      <a:pt x="381589" y="644853"/>
                    </a:cubicBezTo>
                    <a:cubicBezTo>
                      <a:pt x="388996" y="640488"/>
                      <a:pt x="396024" y="635363"/>
                      <a:pt x="403336" y="631187"/>
                    </a:cubicBezTo>
                    <a:cubicBezTo>
                      <a:pt x="421122" y="619014"/>
                      <a:pt x="439612" y="607892"/>
                      <a:pt x="458700" y="597877"/>
                    </a:cubicBezTo>
                    <a:cubicBezTo>
                      <a:pt x="462755" y="595778"/>
                      <a:pt x="466658" y="593400"/>
                      <a:pt x="470380" y="590759"/>
                    </a:cubicBezTo>
                    <a:cubicBezTo>
                      <a:pt x="505327" y="567888"/>
                      <a:pt x="544452" y="552799"/>
                      <a:pt x="579494" y="529928"/>
                    </a:cubicBezTo>
                    <a:cubicBezTo>
                      <a:pt x="625361" y="500508"/>
                      <a:pt x="633433" y="482477"/>
                      <a:pt x="637612" y="475834"/>
                    </a:cubicBezTo>
                    <a:cubicBezTo>
                      <a:pt x="640432" y="471405"/>
                      <a:pt x="645484" y="468916"/>
                      <a:pt x="650717" y="469381"/>
                    </a:cubicBezTo>
                    <a:cubicBezTo>
                      <a:pt x="661134" y="469190"/>
                      <a:pt x="671258" y="472800"/>
                      <a:pt x="679206" y="479535"/>
                    </a:cubicBezTo>
                    <a:cubicBezTo>
                      <a:pt x="688180" y="487551"/>
                      <a:pt x="695141" y="497564"/>
                      <a:pt x="699528" y="508765"/>
                    </a:cubicBezTo>
                    <a:cubicBezTo>
                      <a:pt x="700753" y="511848"/>
                      <a:pt x="700573" y="515308"/>
                      <a:pt x="699054" y="518255"/>
                    </a:cubicBezTo>
                    <a:cubicBezTo>
                      <a:pt x="698066" y="520321"/>
                      <a:pt x="696888" y="522290"/>
                      <a:pt x="695540" y="524139"/>
                    </a:cubicBezTo>
                    <a:cubicBezTo>
                      <a:pt x="690982" y="530782"/>
                      <a:pt x="675597" y="558303"/>
                      <a:pt x="671039" y="564851"/>
                    </a:cubicBezTo>
                    <a:cubicBezTo>
                      <a:pt x="669140" y="567604"/>
                      <a:pt x="668000" y="570925"/>
                      <a:pt x="666196" y="573867"/>
                    </a:cubicBezTo>
                    <a:cubicBezTo>
                      <a:pt x="663632" y="578327"/>
                      <a:pt x="660878" y="582693"/>
                      <a:pt x="658029" y="586868"/>
                    </a:cubicBezTo>
                    <a:cubicBezTo>
                      <a:pt x="653281" y="593986"/>
                      <a:pt x="647868" y="600724"/>
                      <a:pt x="643500" y="608031"/>
                    </a:cubicBezTo>
                    <a:cubicBezTo>
                      <a:pt x="627356" y="635032"/>
                      <a:pt x="613595" y="663388"/>
                      <a:pt x="602380" y="692778"/>
                    </a:cubicBezTo>
                    <a:cubicBezTo>
                      <a:pt x="599341" y="700750"/>
                      <a:pt x="597062" y="709006"/>
                      <a:pt x="594593" y="717168"/>
                    </a:cubicBezTo>
                    <a:cubicBezTo>
                      <a:pt x="593406" y="720448"/>
                      <a:pt x="593406" y="724041"/>
                      <a:pt x="594593" y="727322"/>
                    </a:cubicBezTo>
                    <a:cubicBezTo>
                      <a:pt x="594593" y="728176"/>
                      <a:pt x="596018" y="729315"/>
                      <a:pt x="596967" y="729220"/>
                    </a:cubicBezTo>
                    <a:cubicBezTo>
                      <a:pt x="617764" y="727702"/>
                      <a:pt x="686708" y="668768"/>
                      <a:pt x="704182" y="653299"/>
                    </a:cubicBezTo>
                    <a:cubicBezTo>
                      <a:pt x="728113" y="632041"/>
                      <a:pt x="779203" y="603761"/>
                      <a:pt x="804938" y="536476"/>
                    </a:cubicBezTo>
                    <a:cubicBezTo>
                      <a:pt x="811681" y="518824"/>
                      <a:pt x="819278" y="496712"/>
                      <a:pt x="833428" y="456949"/>
                    </a:cubicBezTo>
                    <a:cubicBezTo>
                      <a:pt x="839258" y="440758"/>
                      <a:pt x="846010" y="424915"/>
                      <a:pt x="853655" y="409498"/>
                    </a:cubicBezTo>
                    <a:cubicBezTo>
                      <a:pt x="861936" y="393193"/>
                      <a:pt x="869039" y="376322"/>
                      <a:pt x="874927" y="359011"/>
                    </a:cubicBezTo>
                    <a:cubicBezTo>
                      <a:pt x="875914" y="354336"/>
                      <a:pt x="880226" y="351124"/>
                      <a:pt x="884993" y="351514"/>
                    </a:cubicBezTo>
                    <a:cubicBezTo>
                      <a:pt x="902210" y="353006"/>
                      <a:pt x="918287" y="360735"/>
                      <a:pt x="930196" y="373246"/>
                    </a:cubicBezTo>
                    <a:cubicBezTo>
                      <a:pt x="931307" y="374577"/>
                      <a:pt x="932294" y="376007"/>
                      <a:pt x="933140" y="377517"/>
                    </a:cubicBezTo>
                    <a:cubicBezTo>
                      <a:pt x="935808" y="381335"/>
                      <a:pt x="935808" y="386415"/>
                      <a:pt x="933140" y="390233"/>
                    </a:cubicBezTo>
                    <a:cubicBezTo>
                      <a:pt x="924849" y="404597"/>
                      <a:pt x="917888" y="419685"/>
                      <a:pt x="912343" y="435311"/>
                    </a:cubicBezTo>
                    <a:cubicBezTo>
                      <a:pt x="908354" y="445466"/>
                      <a:pt x="904651" y="455620"/>
                      <a:pt x="900282" y="465585"/>
                    </a:cubicBezTo>
                    <a:cubicBezTo>
                      <a:pt x="880216" y="511038"/>
                      <a:pt x="863085" y="557730"/>
                      <a:pt x="849002" y="605374"/>
                    </a:cubicBezTo>
                    <a:cubicBezTo>
                      <a:pt x="847387" y="610878"/>
                      <a:pt x="845773" y="616383"/>
                      <a:pt x="844443" y="621887"/>
                    </a:cubicBezTo>
                    <a:cubicBezTo>
                      <a:pt x="844120" y="623515"/>
                      <a:pt x="844120" y="625193"/>
                      <a:pt x="844443" y="626822"/>
                    </a:cubicBezTo>
                    <a:cubicBezTo>
                      <a:pt x="844443" y="628150"/>
                      <a:pt x="847577" y="629574"/>
                      <a:pt x="848527" y="628815"/>
                    </a:cubicBezTo>
                    <a:cubicBezTo>
                      <a:pt x="849989" y="627989"/>
                      <a:pt x="851328" y="626967"/>
                      <a:pt x="852515" y="625778"/>
                    </a:cubicBezTo>
                    <a:cubicBezTo>
                      <a:pt x="858973" y="617047"/>
                      <a:pt x="865715" y="608506"/>
                      <a:pt x="871508" y="599395"/>
                    </a:cubicBezTo>
                    <a:cubicBezTo>
                      <a:pt x="888830" y="572574"/>
                      <a:pt x="907860" y="546898"/>
                      <a:pt x="928486" y="522525"/>
                    </a:cubicBezTo>
                    <a:cubicBezTo>
                      <a:pt x="964763" y="479061"/>
                      <a:pt x="1002558" y="437114"/>
                      <a:pt x="1042918" y="397256"/>
                    </a:cubicBezTo>
                    <a:cubicBezTo>
                      <a:pt x="1055073" y="385204"/>
                      <a:pt x="1067704" y="373626"/>
                      <a:pt x="1080904" y="362332"/>
                    </a:cubicBezTo>
                    <a:cubicBezTo>
                      <a:pt x="1090400" y="354456"/>
                      <a:pt x="1099896" y="347433"/>
                      <a:pt x="1109393" y="340410"/>
                    </a:cubicBezTo>
                    <a:cubicBezTo>
                      <a:pt x="1116221" y="335143"/>
                      <a:pt x="1124369" y="331860"/>
                      <a:pt x="1132944" y="330920"/>
                    </a:cubicBezTo>
                    <a:cubicBezTo>
                      <a:pt x="1135185" y="330664"/>
                      <a:pt x="1137388" y="330121"/>
                      <a:pt x="1139497" y="329307"/>
                    </a:cubicBezTo>
                    <a:cubicBezTo>
                      <a:pt x="1149506" y="326613"/>
                      <a:pt x="1160085" y="326976"/>
                      <a:pt x="1169885" y="330351"/>
                    </a:cubicBezTo>
                    <a:cubicBezTo>
                      <a:pt x="1171575" y="330718"/>
                      <a:pt x="1173142" y="331501"/>
                      <a:pt x="1174443" y="332628"/>
                    </a:cubicBezTo>
                    <a:cubicBezTo>
                      <a:pt x="1177824" y="335689"/>
                      <a:pt x="1181803" y="338016"/>
                      <a:pt x="1186124" y="339461"/>
                    </a:cubicBezTo>
                    <a:cubicBezTo>
                      <a:pt x="1190881" y="341580"/>
                      <a:pt x="1194395" y="345787"/>
                      <a:pt x="1195620" y="350849"/>
                    </a:cubicBezTo>
                    <a:cubicBezTo>
                      <a:pt x="1196522" y="353009"/>
                      <a:pt x="1196076" y="355494"/>
                      <a:pt x="1194480" y="357208"/>
                    </a:cubicBezTo>
                    <a:cubicBezTo>
                      <a:pt x="1192486" y="359240"/>
                      <a:pt x="1190255" y="361024"/>
                      <a:pt x="1187833" y="362522"/>
                    </a:cubicBezTo>
                    <a:cubicBezTo>
                      <a:pt x="1181945" y="366034"/>
                      <a:pt x="1175963" y="369355"/>
                      <a:pt x="1169885" y="372582"/>
                    </a:cubicBezTo>
                    <a:cubicBezTo>
                      <a:pt x="1158290" y="378757"/>
                      <a:pt x="1147321" y="386034"/>
                      <a:pt x="1137122" y="394314"/>
                    </a:cubicBezTo>
                    <a:cubicBezTo>
                      <a:pt x="1124141" y="404626"/>
                      <a:pt x="1111805" y="415718"/>
                      <a:pt x="1100181" y="427529"/>
                    </a:cubicBezTo>
                    <a:cubicBezTo>
                      <a:pt x="1082233" y="445940"/>
                      <a:pt x="1064380" y="464446"/>
                      <a:pt x="1046906" y="483331"/>
                    </a:cubicBezTo>
                    <a:cubicBezTo>
                      <a:pt x="1029433" y="502217"/>
                      <a:pt x="1009871" y="523759"/>
                      <a:pt x="992682" y="545207"/>
                    </a:cubicBezTo>
                    <a:cubicBezTo>
                      <a:pt x="990109" y="548219"/>
                      <a:pt x="987734" y="551389"/>
                      <a:pt x="985560" y="554697"/>
                    </a:cubicBezTo>
                    <a:cubicBezTo>
                      <a:pt x="977269" y="567715"/>
                      <a:pt x="967963" y="580058"/>
                      <a:pt x="957735" y="591613"/>
                    </a:cubicBezTo>
                    <a:cubicBezTo>
                      <a:pt x="951088" y="599490"/>
                      <a:pt x="944820" y="607652"/>
                      <a:pt x="938743" y="615718"/>
                    </a:cubicBezTo>
                    <a:cubicBezTo>
                      <a:pt x="937641" y="617014"/>
                      <a:pt x="936777" y="618490"/>
                      <a:pt x="936178" y="620084"/>
                    </a:cubicBezTo>
                    <a:cubicBezTo>
                      <a:pt x="934640" y="624413"/>
                      <a:pt x="932143" y="628339"/>
                      <a:pt x="928866" y="631567"/>
                    </a:cubicBezTo>
                    <a:cubicBezTo>
                      <a:pt x="910785" y="652961"/>
                      <a:pt x="894280" y="675639"/>
                      <a:pt x="879485" y="699421"/>
                    </a:cubicBezTo>
                    <a:cubicBezTo>
                      <a:pt x="854842" y="737934"/>
                      <a:pt x="833342" y="778366"/>
                      <a:pt x="815194" y="820325"/>
                    </a:cubicBezTo>
                    <a:cubicBezTo>
                      <a:pt x="811272" y="829837"/>
                      <a:pt x="806230" y="838852"/>
                      <a:pt x="800190" y="847182"/>
                    </a:cubicBezTo>
                    <a:cubicBezTo>
                      <a:pt x="797417" y="850826"/>
                      <a:pt x="794397" y="854282"/>
                      <a:pt x="791169" y="857526"/>
                    </a:cubicBezTo>
                    <a:cubicBezTo>
                      <a:pt x="786629" y="862077"/>
                      <a:pt x="779982" y="863819"/>
                      <a:pt x="773790" y="862082"/>
                    </a:cubicBezTo>
                    <a:cubicBezTo>
                      <a:pt x="767029" y="860580"/>
                      <a:pt x="760894" y="857035"/>
                      <a:pt x="756222" y="851927"/>
                    </a:cubicBezTo>
                    <a:cubicBezTo>
                      <a:pt x="749365" y="844288"/>
                      <a:pt x="741977" y="837152"/>
                      <a:pt x="734095" y="830574"/>
                    </a:cubicBezTo>
                    <a:cubicBezTo>
                      <a:pt x="732500" y="828972"/>
                      <a:pt x="731436" y="826917"/>
                      <a:pt x="731056" y="824691"/>
                    </a:cubicBezTo>
                    <a:cubicBezTo>
                      <a:pt x="729537" y="816823"/>
                      <a:pt x="729537" y="808738"/>
                      <a:pt x="731056" y="800870"/>
                    </a:cubicBezTo>
                    <a:cubicBezTo>
                      <a:pt x="735330" y="774298"/>
                      <a:pt x="739793" y="747821"/>
                      <a:pt x="746061" y="721723"/>
                    </a:cubicBezTo>
                    <a:cubicBezTo>
                      <a:pt x="747751" y="717434"/>
                      <a:pt x="748083" y="712730"/>
                      <a:pt x="747010" y="708247"/>
                    </a:cubicBezTo>
                    <a:cubicBezTo>
                      <a:pt x="747419" y="708337"/>
                      <a:pt x="747837" y="708337"/>
                      <a:pt x="748245" y="708247"/>
                    </a:cubicBezTo>
                    <a:cubicBezTo>
                      <a:pt x="748245" y="708247"/>
                      <a:pt x="748245" y="707298"/>
                      <a:pt x="748245" y="707298"/>
                    </a:cubicBezTo>
                    <a:cubicBezTo>
                      <a:pt x="748245" y="707298"/>
                      <a:pt x="746820" y="707298"/>
                      <a:pt x="747390" y="708816"/>
                    </a:cubicBezTo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>
                  <a:solidFill>
                    <a:schemeClr val="bg2"/>
                  </a:solidFill>
                </a:endParaRPr>
              </a:p>
            </p:txBody>
          </p:sp>
          <p:sp>
            <p:nvSpPr>
              <p:cNvPr id="10" name="Freeform 9">
                <a:extLst>
                  <a:ext uri="{FF2B5EF4-FFF2-40B4-BE49-F238E27FC236}">
                    <a16:creationId xmlns:a16="http://schemas.microsoft.com/office/drawing/2014/main" id="{9AE9F94B-E933-DEB6-389E-1574F4036318}"/>
                  </a:ext>
                </a:extLst>
              </p:cNvPr>
              <p:cNvSpPr/>
              <p:nvPr/>
            </p:nvSpPr>
            <p:spPr>
              <a:xfrm>
                <a:off x="4921141" y="-580737"/>
                <a:ext cx="66058" cy="65097"/>
              </a:xfrm>
              <a:custGeom>
                <a:avLst/>
                <a:gdLst>
                  <a:gd name="connsiteX0" fmla="*/ 3952 w 66058"/>
                  <a:gd name="connsiteY0" fmla="*/ 4713 h 65097"/>
                  <a:gd name="connsiteX1" fmla="*/ 55993 w 66058"/>
                  <a:gd name="connsiteY1" fmla="*/ 11831 h 65097"/>
                  <a:gd name="connsiteX2" fmla="*/ 66059 w 66058"/>
                  <a:gd name="connsiteY2" fmla="*/ 31665 h 65097"/>
                  <a:gd name="connsiteX3" fmla="*/ 64255 w 66058"/>
                  <a:gd name="connsiteY3" fmla="*/ 49127 h 65097"/>
                  <a:gd name="connsiteX4" fmla="*/ 63020 w 66058"/>
                  <a:gd name="connsiteY4" fmla="*/ 58048 h 65097"/>
                  <a:gd name="connsiteX5" fmla="*/ 14303 w 66058"/>
                  <a:gd name="connsiteY5" fmla="*/ 54252 h 65097"/>
                  <a:gd name="connsiteX6" fmla="*/ 2718 w 66058"/>
                  <a:gd name="connsiteY6" fmla="*/ 34227 h 65097"/>
                  <a:gd name="connsiteX7" fmla="*/ 3952 w 66058"/>
                  <a:gd name="connsiteY7" fmla="*/ 4713 h 65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058" h="65097">
                    <a:moveTo>
                      <a:pt x="3952" y="4713"/>
                    </a:moveTo>
                    <a:cubicBezTo>
                      <a:pt x="24654" y="-127"/>
                      <a:pt x="39849" y="-5346"/>
                      <a:pt x="55993" y="11831"/>
                    </a:cubicBezTo>
                    <a:cubicBezTo>
                      <a:pt x="61833" y="16859"/>
                      <a:pt x="65451" y="23987"/>
                      <a:pt x="66059" y="31665"/>
                    </a:cubicBezTo>
                    <a:cubicBezTo>
                      <a:pt x="66059" y="37264"/>
                      <a:pt x="64349" y="43243"/>
                      <a:pt x="64255" y="49127"/>
                    </a:cubicBezTo>
                    <a:cubicBezTo>
                      <a:pt x="64255" y="52828"/>
                      <a:pt x="65204" y="54726"/>
                      <a:pt x="63020" y="58048"/>
                    </a:cubicBezTo>
                    <a:cubicBezTo>
                      <a:pt x="53524" y="72567"/>
                      <a:pt x="25034" y="61274"/>
                      <a:pt x="14303" y="54252"/>
                    </a:cubicBezTo>
                    <a:cubicBezTo>
                      <a:pt x="6611" y="49222"/>
                      <a:pt x="5662" y="42294"/>
                      <a:pt x="2718" y="34227"/>
                    </a:cubicBezTo>
                    <a:cubicBezTo>
                      <a:pt x="-1299" y="24698"/>
                      <a:pt x="-843" y="13874"/>
                      <a:pt x="3952" y="4713"/>
                    </a:cubicBezTo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>
                  <a:solidFill>
                    <a:schemeClr val="bg2"/>
                  </a:solidFill>
                </a:endParaRPr>
              </a:p>
            </p:txBody>
          </p:sp>
          <p:sp>
            <p:nvSpPr>
              <p:cNvPr id="11" name="Freeform 10">
                <a:extLst>
                  <a:ext uri="{FF2B5EF4-FFF2-40B4-BE49-F238E27FC236}">
                    <a16:creationId xmlns:a16="http://schemas.microsoft.com/office/drawing/2014/main" id="{8CB36F21-5A09-485E-0C2F-BCFE61C75ADE}"/>
                  </a:ext>
                </a:extLst>
              </p:cNvPr>
              <p:cNvSpPr/>
              <p:nvPr/>
            </p:nvSpPr>
            <p:spPr>
              <a:xfrm>
                <a:off x="5175172" y="-425891"/>
                <a:ext cx="412425" cy="351340"/>
              </a:xfrm>
              <a:custGeom>
                <a:avLst/>
                <a:gdLst>
                  <a:gd name="connsiteX0" fmla="*/ 151 w 412425"/>
                  <a:gd name="connsiteY0" fmla="*/ 240100 h 351340"/>
                  <a:gd name="connsiteX1" fmla="*/ 4139 w 412425"/>
                  <a:gd name="connsiteY1" fmla="*/ 204987 h 351340"/>
                  <a:gd name="connsiteX2" fmla="*/ 14775 w 412425"/>
                  <a:gd name="connsiteY2" fmla="*/ 177940 h 351340"/>
                  <a:gd name="connsiteX3" fmla="*/ 99388 w 412425"/>
                  <a:gd name="connsiteY3" fmla="*/ 68614 h 351340"/>
                  <a:gd name="connsiteX4" fmla="*/ 141267 w 412425"/>
                  <a:gd name="connsiteY4" fmla="*/ 33406 h 351340"/>
                  <a:gd name="connsiteX5" fmla="*/ 184666 w 412425"/>
                  <a:gd name="connsiteY5" fmla="*/ 9491 h 351340"/>
                  <a:gd name="connsiteX6" fmla="*/ 229584 w 412425"/>
                  <a:gd name="connsiteY6" fmla="*/ 1 h 351340"/>
                  <a:gd name="connsiteX7" fmla="*/ 291405 w 412425"/>
                  <a:gd name="connsiteY7" fmla="*/ 28471 h 351340"/>
                  <a:gd name="connsiteX8" fmla="*/ 305080 w 412425"/>
                  <a:gd name="connsiteY8" fmla="*/ 64628 h 351340"/>
                  <a:gd name="connsiteX9" fmla="*/ 299003 w 412425"/>
                  <a:gd name="connsiteY9" fmla="*/ 87405 h 351340"/>
                  <a:gd name="connsiteX10" fmla="*/ 278775 w 412425"/>
                  <a:gd name="connsiteY10" fmla="*/ 116919 h 351340"/>
                  <a:gd name="connsiteX11" fmla="*/ 264341 w 412425"/>
                  <a:gd name="connsiteY11" fmla="*/ 135899 h 351340"/>
                  <a:gd name="connsiteX12" fmla="*/ 174220 w 412425"/>
                  <a:gd name="connsiteY12" fmla="*/ 208593 h 351340"/>
                  <a:gd name="connsiteX13" fmla="*/ 134430 w 412425"/>
                  <a:gd name="connsiteY13" fmla="*/ 223683 h 351340"/>
                  <a:gd name="connsiteX14" fmla="*/ 95590 w 412425"/>
                  <a:gd name="connsiteY14" fmla="*/ 221500 h 351340"/>
                  <a:gd name="connsiteX15" fmla="*/ 79161 w 412425"/>
                  <a:gd name="connsiteY15" fmla="*/ 216755 h 351340"/>
                  <a:gd name="connsiteX16" fmla="*/ 71754 w 412425"/>
                  <a:gd name="connsiteY16" fmla="*/ 219697 h 351340"/>
                  <a:gd name="connsiteX17" fmla="*/ 70709 w 412425"/>
                  <a:gd name="connsiteY17" fmla="*/ 221120 h 351340"/>
                  <a:gd name="connsiteX18" fmla="*/ 57889 w 412425"/>
                  <a:gd name="connsiteY18" fmla="*/ 266768 h 351340"/>
                  <a:gd name="connsiteX19" fmla="*/ 58649 w 412425"/>
                  <a:gd name="connsiteY19" fmla="*/ 277017 h 351340"/>
                  <a:gd name="connsiteX20" fmla="*/ 68810 w 412425"/>
                  <a:gd name="connsiteY20" fmla="*/ 294099 h 351340"/>
                  <a:gd name="connsiteX21" fmla="*/ 72893 w 412425"/>
                  <a:gd name="connsiteY21" fmla="*/ 297231 h 351340"/>
                  <a:gd name="connsiteX22" fmla="*/ 91886 w 412425"/>
                  <a:gd name="connsiteY22" fmla="*/ 301881 h 351340"/>
                  <a:gd name="connsiteX23" fmla="*/ 111734 w 412425"/>
                  <a:gd name="connsiteY23" fmla="*/ 296756 h 351340"/>
                  <a:gd name="connsiteX24" fmla="*/ 164629 w 412425"/>
                  <a:gd name="connsiteY24" fmla="*/ 269235 h 351340"/>
                  <a:gd name="connsiteX25" fmla="*/ 177354 w 412425"/>
                  <a:gd name="connsiteY25" fmla="*/ 260504 h 351340"/>
                  <a:gd name="connsiteX26" fmla="*/ 256839 w 412425"/>
                  <a:gd name="connsiteY26" fmla="*/ 198154 h 351340"/>
                  <a:gd name="connsiteX27" fmla="*/ 312582 w 412425"/>
                  <a:gd name="connsiteY27" fmla="*/ 152697 h 351340"/>
                  <a:gd name="connsiteX28" fmla="*/ 350568 w 412425"/>
                  <a:gd name="connsiteY28" fmla="*/ 125934 h 351340"/>
                  <a:gd name="connsiteX29" fmla="*/ 376018 w 412425"/>
                  <a:gd name="connsiteY29" fmla="*/ 111794 h 351340"/>
                  <a:gd name="connsiteX30" fmla="*/ 398810 w 412425"/>
                  <a:gd name="connsiteY30" fmla="*/ 104961 h 351340"/>
                  <a:gd name="connsiteX31" fmla="*/ 407166 w 412425"/>
                  <a:gd name="connsiteY31" fmla="*/ 106195 h 351340"/>
                  <a:gd name="connsiteX32" fmla="*/ 411535 w 412425"/>
                  <a:gd name="connsiteY32" fmla="*/ 111035 h 351340"/>
                  <a:gd name="connsiteX33" fmla="*/ 411535 w 412425"/>
                  <a:gd name="connsiteY33" fmla="*/ 122898 h 351340"/>
                  <a:gd name="connsiteX34" fmla="*/ 407831 w 412425"/>
                  <a:gd name="connsiteY34" fmla="*/ 132388 h 351340"/>
                  <a:gd name="connsiteX35" fmla="*/ 398335 w 412425"/>
                  <a:gd name="connsiteY35" fmla="*/ 150704 h 351340"/>
                  <a:gd name="connsiteX36" fmla="*/ 375828 w 412425"/>
                  <a:gd name="connsiteY36" fmla="*/ 178320 h 351340"/>
                  <a:gd name="connsiteX37" fmla="*/ 350663 w 412425"/>
                  <a:gd name="connsiteY37" fmla="*/ 198913 h 351340"/>
                  <a:gd name="connsiteX38" fmla="*/ 293020 w 412425"/>
                  <a:gd name="connsiteY38" fmla="*/ 254905 h 351340"/>
                  <a:gd name="connsiteX39" fmla="*/ 281719 w 412425"/>
                  <a:gd name="connsiteY39" fmla="*/ 264775 h 351340"/>
                  <a:gd name="connsiteX40" fmla="*/ 246772 w 412425"/>
                  <a:gd name="connsiteY40" fmla="*/ 289449 h 351340"/>
                  <a:gd name="connsiteX41" fmla="*/ 229394 w 412425"/>
                  <a:gd name="connsiteY41" fmla="*/ 303210 h 351340"/>
                  <a:gd name="connsiteX42" fmla="*/ 210401 w 412425"/>
                  <a:gd name="connsiteY42" fmla="*/ 314788 h 351340"/>
                  <a:gd name="connsiteX43" fmla="*/ 180013 w 412425"/>
                  <a:gd name="connsiteY43" fmla="*/ 330446 h 351340"/>
                  <a:gd name="connsiteX44" fmla="*/ 161590 w 412425"/>
                  <a:gd name="connsiteY44" fmla="*/ 339367 h 351340"/>
                  <a:gd name="connsiteX45" fmla="*/ 128732 w 412425"/>
                  <a:gd name="connsiteY45" fmla="*/ 348857 h 351340"/>
                  <a:gd name="connsiteX46" fmla="*/ 40321 w 412425"/>
                  <a:gd name="connsiteY46" fmla="*/ 327504 h 351340"/>
                  <a:gd name="connsiteX47" fmla="*/ 7843 w 412425"/>
                  <a:gd name="connsiteY47" fmla="*/ 282047 h 351340"/>
                  <a:gd name="connsiteX48" fmla="*/ 246 w 412425"/>
                  <a:gd name="connsiteY48" fmla="*/ 239816 h 351340"/>
                  <a:gd name="connsiteX49" fmla="*/ 102807 w 412425"/>
                  <a:gd name="connsiteY49" fmla="*/ 176042 h 351340"/>
                  <a:gd name="connsiteX50" fmla="*/ 112303 w 412425"/>
                  <a:gd name="connsiteY50" fmla="*/ 173859 h 351340"/>
                  <a:gd name="connsiteX51" fmla="*/ 143641 w 412425"/>
                  <a:gd name="connsiteY51" fmla="*/ 156398 h 351340"/>
                  <a:gd name="connsiteX52" fmla="*/ 221132 w 412425"/>
                  <a:gd name="connsiteY52" fmla="*/ 86740 h 351340"/>
                  <a:gd name="connsiteX53" fmla="*/ 237656 w 412425"/>
                  <a:gd name="connsiteY53" fmla="*/ 64818 h 351340"/>
                  <a:gd name="connsiteX54" fmla="*/ 240790 w 412425"/>
                  <a:gd name="connsiteY54" fmla="*/ 58744 h 351340"/>
                  <a:gd name="connsiteX55" fmla="*/ 240790 w 412425"/>
                  <a:gd name="connsiteY55" fmla="*/ 55708 h 351340"/>
                  <a:gd name="connsiteX56" fmla="*/ 237846 w 412425"/>
                  <a:gd name="connsiteY56" fmla="*/ 54569 h 351340"/>
                  <a:gd name="connsiteX57" fmla="*/ 225121 w 412425"/>
                  <a:gd name="connsiteY57" fmla="*/ 59409 h 351340"/>
                  <a:gd name="connsiteX58" fmla="*/ 192453 w 412425"/>
                  <a:gd name="connsiteY58" fmla="*/ 81331 h 351340"/>
                  <a:gd name="connsiteX59" fmla="*/ 126453 w 412425"/>
                  <a:gd name="connsiteY59" fmla="*/ 141119 h 351340"/>
                  <a:gd name="connsiteX60" fmla="*/ 104042 w 412425"/>
                  <a:gd name="connsiteY60" fmla="*/ 167027 h 351340"/>
                  <a:gd name="connsiteX61" fmla="*/ 101098 w 412425"/>
                  <a:gd name="connsiteY61" fmla="*/ 173005 h 351340"/>
                  <a:gd name="connsiteX62" fmla="*/ 103092 w 412425"/>
                  <a:gd name="connsiteY62" fmla="*/ 176042 h 351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412425" h="351340">
                    <a:moveTo>
                      <a:pt x="151" y="240100"/>
                    </a:moveTo>
                    <a:cubicBezTo>
                      <a:pt x="28" y="228277"/>
                      <a:pt x="1366" y="216482"/>
                      <a:pt x="4139" y="204987"/>
                    </a:cubicBezTo>
                    <a:cubicBezTo>
                      <a:pt x="6523" y="195557"/>
                      <a:pt x="10094" y="186468"/>
                      <a:pt x="14775" y="177940"/>
                    </a:cubicBezTo>
                    <a:cubicBezTo>
                      <a:pt x="37757" y="137744"/>
                      <a:pt x="66236" y="100948"/>
                      <a:pt x="99388" y="68614"/>
                    </a:cubicBezTo>
                    <a:cubicBezTo>
                      <a:pt x="112275" y="55665"/>
                      <a:pt x="126292" y="43882"/>
                      <a:pt x="141267" y="33406"/>
                    </a:cubicBezTo>
                    <a:cubicBezTo>
                      <a:pt x="154714" y="23715"/>
                      <a:pt x="169291" y="15686"/>
                      <a:pt x="184666" y="9491"/>
                    </a:cubicBezTo>
                    <a:cubicBezTo>
                      <a:pt x="198910" y="3549"/>
                      <a:pt x="214152" y="330"/>
                      <a:pt x="229584" y="1"/>
                    </a:cubicBezTo>
                    <a:cubicBezTo>
                      <a:pt x="253382" y="-94"/>
                      <a:pt x="276012" y="10327"/>
                      <a:pt x="291405" y="28471"/>
                    </a:cubicBezTo>
                    <a:cubicBezTo>
                      <a:pt x="300171" y="38484"/>
                      <a:pt x="305033" y="51323"/>
                      <a:pt x="305080" y="64628"/>
                    </a:cubicBezTo>
                    <a:cubicBezTo>
                      <a:pt x="305593" y="72680"/>
                      <a:pt x="303456" y="80677"/>
                      <a:pt x="299003" y="87405"/>
                    </a:cubicBezTo>
                    <a:cubicBezTo>
                      <a:pt x="292868" y="97643"/>
                      <a:pt x="286106" y="107499"/>
                      <a:pt x="278775" y="116919"/>
                    </a:cubicBezTo>
                    <a:cubicBezTo>
                      <a:pt x="273362" y="122803"/>
                      <a:pt x="269279" y="130015"/>
                      <a:pt x="264341" y="135899"/>
                    </a:cubicBezTo>
                    <a:cubicBezTo>
                      <a:pt x="239147" y="165583"/>
                      <a:pt x="208568" y="190247"/>
                      <a:pt x="174220" y="208593"/>
                    </a:cubicBezTo>
                    <a:cubicBezTo>
                      <a:pt x="161713" y="215428"/>
                      <a:pt x="148323" y="220505"/>
                      <a:pt x="134430" y="223683"/>
                    </a:cubicBezTo>
                    <a:cubicBezTo>
                      <a:pt x="121496" y="226100"/>
                      <a:pt x="108172" y="225351"/>
                      <a:pt x="95590" y="221500"/>
                    </a:cubicBezTo>
                    <a:cubicBezTo>
                      <a:pt x="90082" y="219981"/>
                      <a:pt x="84764" y="218083"/>
                      <a:pt x="79161" y="216755"/>
                    </a:cubicBezTo>
                    <a:cubicBezTo>
                      <a:pt x="76322" y="216077"/>
                      <a:pt x="73359" y="217254"/>
                      <a:pt x="71754" y="219697"/>
                    </a:cubicBezTo>
                    <a:cubicBezTo>
                      <a:pt x="71355" y="220130"/>
                      <a:pt x="71004" y="220608"/>
                      <a:pt x="70709" y="221120"/>
                    </a:cubicBezTo>
                    <a:cubicBezTo>
                      <a:pt x="63065" y="235181"/>
                      <a:pt x="58677" y="250782"/>
                      <a:pt x="57889" y="266768"/>
                    </a:cubicBezTo>
                    <a:cubicBezTo>
                      <a:pt x="57861" y="270199"/>
                      <a:pt x="58117" y="273627"/>
                      <a:pt x="58649" y="277017"/>
                    </a:cubicBezTo>
                    <a:cubicBezTo>
                      <a:pt x="59238" y="283966"/>
                      <a:pt x="62989" y="290259"/>
                      <a:pt x="68810" y="294099"/>
                    </a:cubicBezTo>
                    <a:cubicBezTo>
                      <a:pt x="70234" y="295060"/>
                      <a:pt x="71592" y="296105"/>
                      <a:pt x="72893" y="297231"/>
                    </a:cubicBezTo>
                    <a:cubicBezTo>
                      <a:pt x="78259" y="301436"/>
                      <a:pt x="85182" y="303130"/>
                      <a:pt x="91886" y="301881"/>
                    </a:cubicBezTo>
                    <a:cubicBezTo>
                      <a:pt x="98667" y="300893"/>
                      <a:pt x="105323" y="299175"/>
                      <a:pt x="111734" y="296756"/>
                    </a:cubicBezTo>
                    <a:cubicBezTo>
                      <a:pt x="130366" y="289645"/>
                      <a:pt x="148114" y="280411"/>
                      <a:pt x="164629" y="269235"/>
                    </a:cubicBezTo>
                    <a:cubicBezTo>
                      <a:pt x="168807" y="266198"/>
                      <a:pt x="173175" y="263446"/>
                      <a:pt x="177354" y="260504"/>
                    </a:cubicBezTo>
                    <a:cubicBezTo>
                      <a:pt x="204988" y="241524"/>
                      <a:pt x="230913" y="219697"/>
                      <a:pt x="256839" y="198154"/>
                    </a:cubicBezTo>
                    <a:cubicBezTo>
                      <a:pt x="275262" y="182780"/>
                      <a:pt x="293685" y="167501"/>
                      <a:pt x="312582" y="152697"/>
                    </a:cubicBezTo>
                    <a:cubicBezTo>
                      <a:pt x="324643" y="143206"/>
                      <a:pt x="337368" y="134381"/>
                      <a:pt x="350568" y="125934"/>
                    </a:cubicBezTo>
                    <a:cubicBezTo>
                      <a:pt x="358801" y="120777"/>
                      <a:pt x="367291" y="116057"/>
                      <a:pt x="376018" y="111794"/>
                    </a:cubicBezTo>
                    <a:cubicBezTo>
                      <a:pt x="383160" y="108197"/>
                      <a:pt x="390871" y="105885"/>
                      <a:pt x="398810" y="104961"/>
                    </a:cubicBezTo>
                    <a:cubicBezTo>
                      <a:pt x="401649" y="104865"/>
                      <a:pt x="404479" y="105284"/>
                      <a:pt x="407166" y="106195"/>
                    </a:cubicBezTo>
                    <a:cubicBezTo>
                      <a:pt x="409389" y="106901"/>
                      <a:pt x="411060" y="108752"/>
                      <a:pt x="411535" y="111035"/>
                    </a:cubicBezTo>
                    <a:cubicBezTo>
                      <a:pt x="412722" y="114900"/>
                      <a:pt x="412722" y="119032"/>
                      <a:pt x="411535" y="122898"/>
                    </a:cubicBezTo>
                    <a:cubicBezTo>
                      <a:pt x="410481" y="126128"/>
                      <a:pt x="409246" y="129296"/>
                      <a:pt x="407831" y="132388"/>
                    </a:cubicBezTo>
                    <a:cubicBezTo>
                      <a:pt x="404887" y="138556"/>
                      <a:pt x="401564" y="144535"/>
                      <a:pt x="398335" y="150704"/>
                    </a:cubicBezTo>
                    <a:cubicBezTo>
                      <a:pt x="393112" y="161551"/>
                      <a:pt x="385401" y="171012"/>
                      <a:pt x="375828" y="178320"/>
                    </a:cubicBezTo>
                    <a:cubicBezTo>
                      <a:pt x="367282" y="184963"/>
                      <a:pt x="359115" y="192080"/>
                      <a:pt x="350663" y="198913"/>
                    </a:cubicBezTo>
                    <a:cubicBezTo>
                      <a:pt x="329429" y="215378"/>
                      <a:pt x="310094" y="234158"/>
                      <a:pt x="293020" y="254905"/>
                    </a:cubicBezTo>
                    <a:cubicBezTo>
                      <a:pt x="289734" y="258706"/>
                      <a:pt x="285926" y="262028"/>
                      <a:pt x="281719" y="264775"/>
                    </a:cubicBezTo>
                    <a:lnTo>
                      <a:pt x="246772" y="289449"/>
                    </a:lnTo>
                    <a:cubicBezTo>
                      <a:pt x="240514" y="293413"/>
                      <a:pt x="234683" y="298025"/>
                      <a:pt x="229394" y="303210"/>
                    </a:cubicBezTo>
                    <a:cubicBezTo>
                      <a:pt x="223952" y="308370"/>
                      <a:pt x="217485" y="312317"/>
                      <a:pt x="210401" y="314788"/>
                    </a:cubicBezTo>
                    <a:cubicBezTo>
                      <a:pt x="199889" y="319226"/>
                      <a:pt x="189727" y="324461"/>
                      <a:pt x="180013" y="330446"/>
                    </a:cubicBezTo>
                    <a:cubicBezTo>
                      <a:pt x="174096" y="333855"/>
                      <a:pt x="167933" y="336836"/>
                      <a:pt x="161590" y="339367"/>
                    </a:cubicBezTo>
                    <a:cubicBezTo>
                      <a:pt x="151030" y="343762"/>
                      <a:pt x="140004" y="346946"/>
                      <a:pt x="128732" y="348857"/>
                    </a:cubicBezTo>
                    <a:cubicBezTo>
                      <a:pt x="97546" y="355828"/>
                      <a:pt x="64878" y="347939"/>
                      <a:pt x="40321" y="327504"/>
                    </a:cubicBezTo>
                    <a:cubicBezTo>
                      <a:pt x="25753" y="315405"/>
                      <a:pt x="14566" y="299746"/>
                      <a:pt x="7843" y="282047"/>
                    </a:cubicBezTo>
                    <a:cubicBezTo>
                      <a:pt x="1756" y="268845"/>
                      <a:pt x="-856" y="254309"/>
                      <a:pt x="246" y="239816"/>
                    </a:cubicBezTo>
                    <a:moveTo>
                      <a:pt x="102807" y="176042"/>
                    </a:moveTo>
                    <a:cubicBezTo>
                      <a:pt x="106026" y="175572"/>
                      <a:pt x="109198" y="174842"/>
                      <a:pt x="112303" y="173859"/>
                    </a:cubicBezTo>
                    <a:cubicBezTo>
                      <a:pt x="123395" y="169282"/>
                      <a:pt x="133917" y="163422"/>
                      <a:pt x="143641" y="156398"/>
                    </a:cubicBezTo>
                    <a:cubicBezTo>
                      <a:pt x="172377" y="136622"/>
                      <a:pt x="198426" y="113208"/>
                      <a:pt x="221132" y="86740"/>
                    </a:cubicBezTo>
                    <a:cubicBezTo>
                      <a:pt x="227115" y="79718"/>
                      <a:pt x="232243" y="72220"/>
                      <a:pt x="237656" y="64818"/>
                    </a:cubicBezTo>
                    <a:cubicBezTo>
                      <a:pt x="238938" y="62927"/>
                      <a:pt x="239992" y="60887"/>
                      <a:pt x="240790" y="58744"/>
                    </a:cubicBezTo>
                    <a:cubicBezTo>
                      <a:pt x="241170" y="57768"/>
                      <a:pt x="241170" y="56684"/>
                      <a:pt x="240790" y="55708"/>
                    </a:cubicBezTo>
                    <a:cubicBezTo>
                      <a:pt x="239963" y="55003"/>
                      <a:pt x="238928" y="54602"/>
                      <a:pt x="237846" y="54569"/>
                    </a:cubicBezTo>
                    <a:cubicBezTo>
                      <a:pt x="233278" y="55131"/>
                      <a:pt x="228910" y="56791"/>
                      <a:pt x="225121" y="59409"/>
                    </a:cubicBezTo>
                    <a:cubicBezTo>
                      <a:pt x="213621" y="65761"/>
                      <a:pt x="202690" y="73096"/>
                      <a:pt x="192453" y="81331"/>
                    </a:cubicBezTo>
                    <a:cubicBezTo>
                      <a:pt x="168968" y="99564"/>
                      <a:pt x="146908" y="119550"/>
                      <a:pt x="126453" y="141119"/>
                    </a:cubicBezTo>
                    <a:cubicBezTo>
                      <a:pt x="118666" y="149375"/>
                      <a:pt x="111354" y="158296"/>
                      <a:pt x="104042" y="167027"/>
                    </a:cubicBezTo>
                    <a:cubicBezTo>
                      <a:pt x="102712" y="168831"/>
                      <a:pt x="101715" y="170855"/>
                      <a:pt x="101098" y="173005"/>
                    </a:cubicBezTo>
                    <a:cubicBezTo>
                      <a:pt x="101098" y="173575"/>
                      <a:pt x="102142" y="174619"/>
                      <a:pt x="103092" y="176042"/>
                    </a:cubicBezTo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>
                  <a:solidFill>
                    <a:schemeClr val="bg2"/>
                  </a:solidFill>
                </a:endParaRPr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2FCE8F22-D9E1-5EE4-DF8A-F337F307402A}"/>
                  </a:ext>
                </a:extLst>
              </p:cNvPr>
              <p:cNvSpPr/>
              <p:nvPr/>
            </p:nvSpPr>
            <p:spPr>
              <a:xfrm>
                <a:off x="5660524" y="-724743"/>
                <a:ext cx="333068" cy="540294"/>
              </a:xfrm>
              <a:custGeom>
                <a:avLst/>
                <a:gdLst>
                  <a:gd name="connsiteX0" fmla="*/ 322278 w 333068"/>
                  <a:gd name="connsiteY0" fmla="*/ 12157 h 540294"/>
                  <a:gd name="connsiteX1" fmla="*/ 330825 w 333068"/>
                  <a:gd name="connsiteY1" fmla="*/ 27436 h 540294"/>
                  <a:gd name="connsiteX2" fmla="*/ 330825 w 333068"/>
                  <a:gd name="connsiteY2" fmla="*/ 43854 h 540294"/>
                  <a:gd name="connsiteX3" fmla="*/ 324462 w 333068"/>
                  <a:gd name="connsiteY3" fmla="*/ 53913 h 540294"/>
                  <a:gd name="connsiteX4" fmla="*/ 308318 w 333068"/>
                  <a:gd name="connsiteY4" fmla="*/ 76120 h 540294"/>
                  <a:gd name="connsiteX5" fmla="*/ 267199 w 333068"/>
                  <a:gd name="connsiteY5" fmla="*/ 139134 h 540294"/>
                  <a:gd name="connsiteX6" fmla="*/ 241464 w 333068"/>
                  <a:gd name="connsiteY6" fmla="*/ 179562 h 540294"/>
                  <a:gd name="connsiteX7" fmla="*/ 228643 w 333068"/>
                  <a:gd name="connsiteY7" fmla="*/ 199776 h 540294"/>
                  <a:gd name="connsiteX8" fmla="*/ 211835 w 333068"/>
                  <a:gd name="connsiteY8" fmla="*/ 227677 h 540294"/>
                  <a:gd name="connsiteX9" fmla="*/ 193792 w 333068"/>
                  <a:gd name="connsiteY9" fmla="*/ 258710 h 540294"/>
                  <a:gd name="connsiteX10" fmla="*/ 186669 w 333068"/>
                  <a:gd name="connsiteY10" fmla="*/ 270382 h 540294"/>
                  <a:gd name="connsiteX11" fmla="*/ 124373 w 333068"/>
                  <a:gd name="connsiteY11" fmla="*/ 384264 h 540294"/>
                  <a:gd name="connsiteX12" fmla="*/ 94460 w 333068"/>
                  <a:gd name="connsiteY12" fmla="*/ 449556 h 540294"/>
                  <a:gd name="connsiteX13" fmla="*/ 65400 w 333068"/>
                  <a:gd name="connsiteY13" fmla="*/ 513424 h 540294"/>
                  <a:gd name="connsiteX14" fmla="*/ 46407 w 333068"/>
                  <a:gd name="connsiteY14" fmla="*/ 534018 h 540294"/>
                  <a:gd name="connsiteX15" fmla="*/ 33872 w 333068"/>
                  <a:gd name="connsiteY15" fmla="*/ 539332 h 540294"/>
                  <a:gd name="connsiteX16" fmla="*/ 14880 w 333068"/>
                  <a:gd name="connsiteY16" fmla="*/ 532025 h 540294"/>
                  <a:gd name="connsiteX17" fmla="*/ 8992 w 333068"/>
                  <a:gd name="connsiteY17" fmla="*/ 519688 h 540294"/>
                  <a:gd name="connsiteX18" fmla="*/ 6333 w 333068"/>
                  <a:gd name="connsiteY18" fmla="*/ 515417 h 540294"/>
                  <a:gd name="connsiteX19" fmla="*/ 1205 w 333068"/>
                  <a:gd name="connsiteY19" fmla="*/ 497765 h 540294"/>
                  <a:gd name="connsiteX20" fmla="*/ 13645 w 333068"/>
                  <a:gd name="connsiteY20" fmla="*/ 453352 h 540294"/>
                  <a:gd name="connsiteX21" fmla="*/ 39190 w 333068"/>
                  <a:gd name="connsiteY21" fmla="*/ 387965 h 540294"/>
                  <a:gd name="connsiteX22" fmla="*/ 94649 w 333068"/>
                  <a:gd name="connsiteY22" fmla="*/ 274084 h 540294"/>
                  <a:gd name="connsiteX23" fmla="*/ 113642 w 333068"/>
                  <a:gd name="connsiteY23" fmla="*/ 243336 h 540294"/>
                  <a:gd name="connsiteX24" fmla="*/ 118105 w 333068"/>
                  <a:gd name="connsiteY24" fmla="*/ 236028 h 540294"/>
                  <a:gd name="connsiteX25" fmla="*/ 137858 w 333068"/>
                  <a:gd name="connsiteY25" fmla="*/ 202243 h 540294"/>
                  <a:gd name="connsiteX26" fmla="*/ 158370 w 333068"/>
                  <a:gd name="connsiteY26" fmla="*/ 166656 h 540294"/>
                  <a:gd name="connsiteX27" fmla="*/ 178882 w 333068"/>
                  <a:gd name="connsiteY27" fmla="*/ 132966 h 540294"/>
                  <a:gd name="connsiteX28" fmla="*/ 261691 w 333068"/>
                  <a:gd name="connsiteY28" fmla="*/ 15478 h 540294"/>
                  <a:gd name="connsiteX29" fmla="*/ 270713 w 333068"/>
                  <a:gd name="connsiteY29" fmla="*/ 5134 h 540294"/>
                  <a:gd name="connsiteX30" fmla="*/ 284767 w 333068"/>
                  <a:gd name="connsiteY30" fmla="*/ 104 h 540294"/>
                  <a:gd name="connsiteX31" fmla="*/ 291510 w 333068"/>
                  <a:gd name="connsiteY31" fmla="*/ 1148 h 540294"/>
                  <a:gd name="connsiteX32" fmla="*/ 323513 w 333068"/>
                  <a:gd name="connsiteY32" fmla="*/ 11967 h 540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33068" h="540294">
                    <a:moveTo>
                      <a:pt x="322278" y="12157"/>
                    </a:moveTo>
                    <a:lnTo>
                      <a:pt x="330825" y="27436"/>
                    </a:lnTo>
                    <a:cubicBezTo>
                      <a:pt x="333816" y="32500"/>
                      <a:pt x="333816" y="38790"/>
                      <a:pt x="330825" y="43854"/>
                    </a:cubicBezTo>
                    <a:cubicBezTo>
                      <a:pt x="328887" y="47317"/>
                      <a:pt x="326760" y="50675"/>
                      <a:pt x="324462" y="53913"/>
                    </a:cubicBezTo>
                    <a:cubicBezTo>
                      <a:pt x="319144" y="61410"/>
                      <a:pt x="313826" y="68813"/>
                      <a:pt x="308318" y="76120"/>
                    </a:cubicBezTo>
                    <a:cubicBezTo>
                      <a:pt x="293285" y="96227"/>
                      <a:pt x="279544" y="117275"/>
                      <a:pt x="267199" y="139134"/>
                    </a:cubicBezTo>
                    <a:cubicBezTo>
                      <a:pt x="259317" y="153085"/>
                      <a:pt x="250010" y="166086"/>
                      <a:pt x="241464" y="179562"/>
                    </a:cubicBezTo>
                    <a:cubicBezTo>
                      <a:pt x="237095" y="186300"/>
                      <a:pt x="232727" y="193038"/>
                      <a:pt x="228643" y="199776"/>
                    </a:cubicBezTo>
                    <a:cubicBezTo>
                      <a:pt x="222946" y="209266"/>
                      <a:pt x="217723" y="218756"/>
                      <a:pt x="211835" y="227677"/>
                    </a:cubicBezTo>
                    <a:cubicBezTo>
                      <a:pt x="205187" y="237639"/>
                      <a:pt x="199157" y="248003"/>
                      <a:pt x="193792" y="258710"/>
                    </a:cubicBezTo>
                    <a:cubicBezTo>
                      <a:pt x="191750" y="262793"/>
                      <a:pt x="189366" y="266697"/>
                      <a:pt x="186669" y="270382"/>
                    </a:cubicBezTo>
                    <a:cubicBezTo>
                      <a:pt x="161779" y="305941"/>
                      <a:pt x="140887" y="344132"/>
                      <a:pt x="124373" y="384264"/>
                    </a:cubicBezTo>
                    <a:cubicBezTo>
                      <a:pt x="114877" y="406376"/>
                      <a:pt x="104905" y="428013"/>
                      <a:pt x="94460" y="449556"/>
                    </a:cubicBezTo>
                    <a:cubicBezTo>
                      <a:pt x="84013" y="471098"/>
                      <a:pt x="73472" y="491407"/>
                      <a:pt x="65400" y="513424"/>
                    </a:cubicBezTo>
                    <a:cubicBezTo>
                      <a:pt x="62409" y="522744"/>
                      <a:pt x="55458" y="530276"/>
                      <a:pt x="46407" y="534018"/>
                    </a:cubicBezTo>
                    <a:cubicBezTo>
                      <a:pt x="42229" y="535726"/>
                      <a:pt x="38146" y="537814"/>
                      <a:pt x="33872" y="539332"/>
                    </a:cubicBezTo>
                    <a:cubicBezTo>
                      <a:pt x="26608" y="542027"/>
                      <a:pt x="18460" y="538896"/>
                      <a:pt x="14880" y="532025"/>
                    </a:cubicBezTo>
                    <a:cubicBezTo>
                      <a:pt x="12885" y="527944"/>
                      <a:pt x="10986" y="523768"/>
                      <a:pt x="8992" y="519688"/>
                    </a:cubicBezTo>
                    <a:cubicBezTo>
                      <a:pt x="8232" y="518169"/>
                      <a:pt x="7567" y="516081"/>
                      <a:pt x="6333" y="515417"/>
                    </a:cubicBezTo>
                    <a:cubicBezTo>
                      <a:pt x="-2119" y="511336"/>
                      <a:pt x="-125" y="504693"/>
                      <a:pt x="1205" y="497765"/>
                    </a:cubicBezTo>
                    <a:cubicBezTo>
                      <a:pt x="4405" y="482712"/>
                      <a:pt x="8564" y="467877"/>
                      <a:pt x="13645" y="453352"/>
                    </a:cubicBezTo>
                    <a:cubicBezTo>
                      <a:pt x="21147" y="431145"/>
                      <a:pt x="29884" y="409413"/>
                      <a:pt x="39190" y="387965"/>
                    </a:cubicBezTo>
                    <a:cubicBezTo>
                      <a:pt x="55904" y="349182"/>
                      <a:pt x="74394" y="311221"/>
                      <a:pt x="94649" y="274084"/>
                    </a:cubicBezTo>
                    <a:cubicBezTo>
                      <a:pt x="100262" y="263406"/>
                      <a:pt x="106605" y="253131"/>
                      <a:pt x="113642" y="243336"/>
                    </a:cubicBezTo>
                    <a:cubicBezTo>
                      <a:pt x="115465" y="241119"/>
                      <a:pt x="116966" y="238660"/>
                      <a:pt x="118105" y="236028"/>
                    </a:cubicBezTo>
                    <a:cubicBezTo>
                      <a:pt x="123689" y="224209"/>
                      <a:pt x="130299" y="212905"/>
                      <a:pt x="137858" y="202243"/>
                    </a:cubicBezTo>
                    <a:cubicBezTo>
                      <a:pt x="144410" y="190191"/>
                      <a:pt x="151438" y="178423"/>
                      <a:pt x="158370" y="166656"/>
                    </a:cubicBezTo>
                    <a:cubicBezTo>
                      <a:pt x="165303" y="154888"/>
                      <a:pt x="171855" y="144164"/>
                      <a:pt x="178882" y="132966"/>
                    </a:cubicBezTo>
                    <a:cubicBezTo>
                      <a:pt x="204057" y="92150"/>
                      <a:pt x="231711" y="52914"/>
                      <a:pt x="261691" y="15478"/>
                    </a:cubicBezTo>
                    <a:cubicBezTo>
                      <a:pt x="264521" y="11877"/>
                      <a:pt x="267531" y="8424"/>
                      <a:pt x="270713" y="5134"/>
                    </a:cubicBezTo>
                    <a:cubicBezTo>
                      <a:pt x="274369" y="1382"/>
                      <a:pt x="279554" y="-475"/>
                      <a:pt x="284767" y="104"/>
                    </a:cubicBezTo>
                    <a:cubicBezTo>
                      <a:pt x="287046" y="166"/>
                      <a:pt x="289316" y="516"/>
                      <a:pt x="291510" y="1148"/>
                    </a:cubicBezTo>
                    <a:cubicBezTo>
                      <a:pt x="302240" y="4659"/>
                      <a:pt x="312971" y="8361"/>
                      <a:pt x="323513" y="11967"/>
                    </a:cubicBezTo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>
                  <a:solidFill>
                    <a:schemeClr val="bg2"/>
                  </a:solidFill>
                </a:endParaRPr>
              </a:p>
            </p:txBody>
          </p:sp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C7806C4E-CC7F-3A66-07B1-2F909BF5BE10}"/>
                  </a:ext>
                </a:extLst>
              </p:cNvPr>
              <p:cNvSpPr/>
              <p:nvPr/>
            </p:nvSpPr>
            <p:spPr>
              <a:xfrm>
                <a:off x="5588240" y="-82064"/>
                <a:ext cx="97217" cy="64492"/>
              </a:xfrm>
              <a:custGeom>
                <a:avLst/>
                <a:gdLst>
                  <a:gd name="connsiteX0" fmla="*/ 25057 w 97217"/>
                  <a:gd name="connsiteY0" fmla="*/ 0 h 64492"/>
                  <a:gd name="connsiteX1" fmla="*/ 35788 w 97217"/>
                  <a:gd name="connsiteY1" fmla="*/ 1613 h 64492"/>
                  <a:gd name="connsiteX2" fmla="*/ 57724 w 97217"/>
                  <a:gd name="connsiteY2" fmla="*/ 3227 h 64492"/>
                  <a:gd name="connsiteX3" fmla="*/ 76717 w 97217"/>
                  <a:gd name="connsiteY3" fmla="*/ 8731 h 64492"/>
                  <a:gd name="connsiteX4" fmla="*/ 94760 w 97217"/>
                  <a:gd name="connsiteY4" fmla="*/ 28850 h 64492"/>
                  <a:gd name="connsiteX5" fmla="*/ 94760 w 97217"/>
                  <a:gd name="connsiteY5" fmla="*/ 44888 h 64492"/>
                  <a:gd name="connsiteX6" fmla="*/ 80041 w 97217"/>
                  <a:gd name="connsiteY6" fmla="*/ 61401 h 64492"/>
                  <a:gd name="connsiteX7" fmla="*/ 70544 w 97217"/>
                  <a:gd name="connsiteY7" fmla="*/ 64438 h 64492"/>
                  <a:gd name="connsiteX8" fmla="*/ 46993 w 97217"/>
                  <a:gd name="connsiteY8" fmla="*/ 60642 h 64492"/>
                  <a:gd name="connsiteX9" fmla="*/ 13186 w 97217"/>
                  <a:gd name="connsiteY9" fmla="*/ 38909 h 64492"/>
                  <a:gd name="connsiteX10" fmla="*/ 1126 w 97217"/>
                  <a:gd name="connsiteY10" fmla="*/ 18316 h 64492"/>
                  <a:gd name="connsiteX11" fmla="*/ 6472 w 97217"/>
                  <a:gd name="connsiteY11" fmla="*/ 3123 h 64492"/>
                  <a:gd name="connsiteX12" fmla="*/ 8913 w 97217"/>
                  <a:gd name="connsiteY12" fmla="*/ 2278 h 64492"/>
                  <a:gd name="connsiteX13" fmla="*/ 17270 w 97217"/>
                  <a:gd name="connsiteY13" fmla="*/ 569 h 64492"/>
                  <a:gd name="connsiteX14" fmla="*/ 25152 w 97217"/>
                  <a:gd name="connsiteY14" fmla="*/ 0 h 64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7217" h="64492">
                    <a:moveTo>
                      <a:pt x="25057" y="0"/>
                    </a:moveTo>
                    <a:cubicBezTo>
                      <a:pt x="28665" y="335"/>
                      <a:pt x="32245" y="873"/>
                      <a:pt x="35788" y="1613"/>
                    </a:cubicBezTo>
                    <a:cubicBezTo>
                      <a:pt x="42910" y="3665"/>
                      <a:pt x="50383" y="4214"/>
                      <a:pt x="57724" y="3227"/>
                    </a:cubicBezTo>
                    <a:cubicBezTo>
                      <a:pt x="64524" y="2611"/>
                      <a:pt x="71304" y="4576"/>
                      <a:pt x="76717" y="8731"/>
                    </a:cubicBezTo>
                    <a:cubicBezTo>
                      <a:pt x="84314" y="13832"/>
                      <a:pt x="90515" y="20747"/>
                      <a:pt x="94760" y="28850"/>
                    </a:cubicBezTo>
                    <a:cubicBezTo>
                      <a:pt x="98036" y="33696"/>
                      <a:pt x="98036" y="40043"/>
                      <a:pt x="94760" y="44888"/>
                    </a:cubicBezTo>
                    <a:cubicBezTo>
                      <a:pt x="90810" y="51175"/>
                      <a:pt x="85834" y="56757"/>
                      <a:pt x="80041" y="61401"/>
                    </a:cubicBezTo>
                    <a:cubicBezTo>
                      <a:pt x="77420" y="63662"/>
                      <a:pt x="73991" y="64759"/>
                      <a:pt x="70544" y="64438"/>
                    </a:cubicBezTo>
                    <a:cubicBezTo>
                      <a:pt x="62662" y="63299"/>
                      <a:pt x="54685" y="62445"/>
                      <a:pt x="46993" y="60642"/>
                    </a:cubicBezTo>
                    <a:cubicBezTo>
                      <a:pt x="33556" y="57503"/>
                      <a:pt x="21619" y="49828"/>
                      <a:pt x="13186" y="38909"/>
                    </a:cubicBezTo>
                    <a:cubicBezTo>
                      <a:pt x="8334" y="32564"/>
                      <a:pt x="4288" y="25648"/>
                      <a:pt x="1126" y="18316"/>
                    </a:cubicBezTo>
                    <a:cubicBezTo>
                      <a:pt x="-1600" y="12645"/>
                      <a:pt x="793" y="5843"/>
                      <a:pt x="6472" y="3123"/>
                    </a:cubicBezTo>
                    <a:cubicBezTo>
                      <a:pt x="7251" y="2749"/>
                      <a:pt x="8068" y="2466"/>
                      <a:pt x="8913" y="2278"/>
                    </a:cubicBezTo>
                    <a:cubicBezTo>
                      <a:pt x="11657" y="1508"/>
                      <a:pt x="14449" y="937"/>
                      <a:pt x="17270" y="569"/>
                    </a:cubicBezTo>
                    <a:cubicBezTo>
                      <a:pt x="19454" y="569"/>
                      <a:pt x="21733" y="569"/>
                      <a:pt x="25152" y="0"/>
                    </a:cubicBezTo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>
                  <a:solidFill>
                    <a:schemeClr val="bg2"/>
                  </a:solidFill>
                </a:endParaRPr>
              </a:p>
            </p:txBody>
          </p:sp>
        </p:grpSp>
      </p:grpSp>
      <p:sp>
        <p:nvSpPr>
          <p:cNvPr id="5" name="Title 7">
            <a:extLst>
              <a:ext uri="{FF2B5EF4-FFF2-40B4-BE49-F238E27FC236}">
                <a16:creationId xmlns:a16="http://schemas.microsoft.com/office/drawing/2014/main" id="{51DA4B7A-F672-604E-AC53-28E80A7ADE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560013" y="2134386"/>
            <a:ext cx="6616927" cy="2589229"/>
          </a:xfr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lang="en-US" sz="4800" dirty="0">
                <a:solidFill>
                  <a:schemeClr val="bg2"/>
                </a:solidFill>
                <a:ea typeface="ＭＳ Ｐゴシック" charset="0"/>
                <a:cs typeface="CiscoSansTT Light" panose="020B0503020201020303" pitchFamily="34" charset="0"/>
              </a:defRPr>
            </a:lvl1pPr>
          </a:lstStyle>
          <a:p>
            <a:pPr marL="8334" lvl="0" indent="-8334" defTabSz="1219170" eaLnBrk="0" latinLnBrk="0" hangingPunct="0">
              <a:lnSpc>
                <a:spcPct val="90000"/>
              </a:lnSpc>
            </a:pPr>
            <a:r>
              <a:rPr lang="en-US"/>
              <a:t>Demo</a:t>
            </a:r>
          </a:p>
        </p:txBody>
      </p:sp>
    </p:spTree>
    <p:extLst>
      <p:ext uri="{BB962C8B-B14F-4D97-AF65-F5344CB8AC3E}">
        <p14:creationId xmlns:p14="http://schemas.microsoft.com/office/powerpoint/2010/main" val="42440091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F7BC5C7-A956-C8B9-9644-9AF3B2C4FDC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7" name="Title 7">
            <a:extLst>
              <a:ext uri="{FF2B5EF4-FFF2-40B4-BE49-F238E27FC236}">
                <a16:creationId xmlns:a16="http://schemas.microsoft.com/office/drawing/2014/main" id="{2E53C8D8-6328-1946-921C-7CA0C68F0A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white">
          <a:xfrm>
            <a:off x="560013" y="2134386"/>
            <a:ext cx="4982736" cy="2589229"/>
          </a:xfrm>
          <a:noFill/>
          <a:ln w="9525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lang="en-US" sz="4800" dirty="0">
                <a:solidFill>
                  <a:schemeClr val="bg2"/>
                </a:solidFill>
                <a:ea typeface="ＭＳ Ｐゴシック" charset="0"/>
                <a:cs typeface="CiscoSansTT Light" panose="020B0503020201020303" pitchFamily="34" charset="0"/>
              </a:defRPr>
            </a:lvl1pPr>
          </a:lstStyle>
          <a:p>
            <a:pPr marL="8334" lvl="0" indent="-8334" defTabSz="1219170" eaLnBrk="0" latinLnBrk="0" hangingPunct="0">
              <a:lnSpc>
                <a:spcPct val="90000"/>
              </a:lnSpc>
            </a:pPr>
            <a:r>
              <a:rPr lang="en-US"/>
              <a:t>Segu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292C41A-4C93-D085-B5D3-7E450FFD9055}"/>
              </a:ext>
            </a:extLst>
          </p:cNvPr>
          <p:cNvGrpSpPr/>
          <p:nvPr/>
        </p:nvGrpSpPr>
        <p:grpSpPr>
          <a:xfrm>
            <a:off x="715224" y="6381263"/>
            <a:ext cx="1341120" cy="365592"/>
            <a:chOff x="536418" y="4785947"/>
            <a:chExt cx="1005840" cy="274194"/>
          </a:xfrm>
        </p:grpSpPr>
        <p:grpSp>
          <p:nvGrpSpPr>
            <p:cNvPr id="4" name="Group 3">
              <a:extLst>
                <a:ext uri="{FF2B5EF4-FFF2-40B4-BE49-F238E27FC236}">
                  <a16:creationId xmlns:a16="http://schemas.microsoft.com/office/drawing/2014/main" id="{2F6BB5B7-6665-3107-A0D1-D4EA36C95352}"/>
                </a:ext>
              </a:extLst>
            </p:cNvPr>
            <p:cNvGrpSpPr/>
            <p:nvPr/>
          </p:nvGrpSpPr>
          <p:grpSpPr>
            <a:xfrm>
              <a:off x="536418" y="4930673"/>
              <a:ext cx="386220" cy="86649"/>
              <a:chOff x="2826390" y="-407669"/>
              <a:chExt cx="1216132" cy="272841"/>
            </a:xfrm>
            <a:solidFill>
              <a:schemeClr val="bg2"/>
            </a:solidFill>
          </p:grpSpPr>
          <p:sp>
            <p:nvSpPr>
              <p:cNvPr id="26" name="Freeform 25">
                <a:extLst>
                  <a:ext uri="{FF2B5EF4-FFF2-40B4-BE49-F238E27FC236}">
                    <a16:creationId xmlns:a16="http://schemas.microsoft.com/office/drawing/2014/main" id="{0B716C54-70D2-33A0-46A0-A5F435269329}"/>
                  </a:ext>
                </a:extLst>
              </p:cNvPr>
              <p:cNvSpPr/>
              <p:nvPr/>
            </p:nvSpPr>
            <p:spPr>
              <a:xfrm>
                <a:off x="3112516" y="-397325"/>
                <a:ext cx="68279" cy="250823"/>
              </a:xfrm>
              <a:custGeom>
                <a:avLst/>
                <a:gdLst>
                  <a:gd name="connsiteX0" fmla="*/ 0 w 68279"/>
                  <a:gd name="connsiteY0" fmla="*/ 0 h 250823"/>
                  <a:gd name="connsiteX1" fmla="*/ 68279 w 68279"/>
                  <a:gd name="connsiteY1" fmla="*/ 0 h 250823"/>
                  <a:gd name="connsiteX2" fmla="*/ 68279 w 68279"/>
                  <a:gd name="connsiteY2" fmla="*/ 250824 h 250823"/>
                  <a:gd name="connsiteX3" fmla="*/ 0 w 68279"/>
                  <a:gd name="connsiteY3" fmla="*/ 250824 h 250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279" h="250823">
                    <a:moveTo>
                      <a:pt x="0" y="0"/>
                    </a:moveTo>
                    <a:lnTo>
                      <a:pt x="68279" y="0"/>
                    </a:lnTo>
                    <a:lnTo>
                      <a:pt x="68279" y="250824"/>
                    </a:lnTo>
                    <a:lnTo>
                      <a:pt x="0" y="250824"/>
                    </a:lnTo>
                    <a:close/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  <p:sp>
            <p:nvSpPr>
              <p:cNvPr id="27" name="Freeform 26">
                <a:extLst>
                  <a:ext uri="{FF2B5EF4-FFF2-40B4-BE49-F238E27FC236}">
                    <a16:creationId xmlns:a16="http://schemas.microsoft.com/office/drawing/2014/main" id="{D0DE0EF1-B002-14AD-E7D6-B7954C0A9DC0}"/>
                  </a:ext>
                </a:extLst>
              </p:cNvPr>
              <p:cNvSpPr/>
              <p:nvPr/>
            </p:nvSpPr>
            <p:spPr>
              <a:xfrm>
                <a:off x="3505952" y="-406341"/>
                <a:ext cx="198569" cy="267051"/>
              </a:xfrm>
              <a:custGeom>
                <a:avLst/>
                <a:gdLst>
                  <a:gd name="connsiteX0" fmla="*/ 198570 w 198569"/>
                  <a:gd name="connsiteY0" fmla="*/ 77819 h 267051"/>
                  <a:gd name="connsiteX1" fmla="*/ 142541 w 198569"/>
                  <a:gd name="connsiteY1" fmla="*/ 64058 h 267051"/>
                  <a:gd name="connsiteX2" fmla="*/ 70653 w 198569"/>
                  <a:gd name="connsiteY2" fmla="*/ 132862 h 267051"/>
                  <a:gd name="connsiteX3" fmla="*/ 142826 w 198569"/>
                  <a:gd name="connsiteY3" fmla="*/ 201665 h 267051"/>
                  <a:gd name="connsiteX4" fmla="*/ 198570 w 198569"/>
                  <a:gd name="connsiteY4" fmla="*/ 188284 h 267051"/>
                  <a:gd name="connsiteX5" fmla="*/ 198570 w 198569"/>
                  <a:gd name="connsiteY5" fmla="*/ 257562 h 267051"/>
                  <a:gd name="connsiteX6" fmla="*/ 137983 w 198569"/>
                  <a:gd name="connsiteY6" fmla="*/ 267052 h 267051"/>
                  <a:gd name="connsiteX7" fmla="*/ 0 w 198569"/>
                  <a:gd name="connsiteY7" fmla="*/ 133526 h 267051"/>
                  <a:gd name="connsiteX8" fmla="*/ 138268 w 198569"/>
                  <a:gd name="connsiteY8" fmla="*/ 0 h 267051"/>
                  <a:gd name="connsiteX9" fmla="*/ 198570 w 198569"/>
                  <a:gd name="connsiteY9" fmla="*/ 9490 h 267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8569" h="267051">
                    <a:moveTo>
                      <a:pt x="198570" y="77819"/>
                    </a:moveTo>
                    <a:cubicBezTo>
                      <a:pt x="181462" y="68304"/>
                      <a:pt x="162113" y="63552"/>
                      <a:pt x="142541" y="64058"/>
                    </a:cubicBezTo>
                    <a:cubicBezTo>
                      <a:pt x="100472" y="64058"/>
                      <a:pt x="70653" y="93383"/>
                      <a:pt x="70653" y="132862"/>
                    </a:cubicBezTo>
                    <a:cubicBezTo>
                      <a:pt x="70653" y="172340"/>
                      <a:pt x="99142" y="201665"/>
                      <a:pt x="142826" y="201665"/>
                    </a:cubicBezTo>
                    <a:cubicBezTo>
                      <a:pt x="162269" y="202249"/>
                      <a:pt x="181514" y="197630"/>
                      <a:pt x="198570" y="188284"/>
                    </a:cubicBezTo>
                    <a:lnTo>
                      <a:pt x="198570" y="257562"/>
                    </a:lnTo>
                    <a:cubicBezTo>
                      <a:pt x="178846" y="263222"/>
                      <a:pt x="158494" y="266409"/>
                      <a:pt x="137983" y="267052"/>
                    </a:cubicBezTo>
                    <a:cubicBezTo>
                      <a:pt x="64860" y="267052"/>
                      <a:pt x="0" y="216564"/>
                      <a:pt x="0" y="133526"/>
                    </a:cubicBezTo>
                    <a:cubicBezTo>
                      <a:pt x="0" y="56466"/>
                      <a:pt x="59068" y="0"/>
                      <a:pt x="138268" y="0"/>
                    </a:cubicBezTo>
                    <a:cubicBezTo>
                      <a:pt x="158679" y="710"/>
                      <a:pt x="178928" y="3897"/>
                      <a:pt x="198570" y="9490"/>
                    </a:cubicBezTo>
                    <a:close/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  <p:sp>
            <p:nvSpPr>
              <p:cNvPr id="28" name="Freeform 27">
                <a:extLst>
                  <a:ext uri="{FF2B5EF4-FFF2-40B4-BE49-F238E27FC236}">
                    <a16:creationId xmlns:a16="http://schemas.microsoft.com/office/drawing/2014/main" id="{8B2797B7-A7D8-609E-C5DF-6DFC3B38D5AB}"/>
                  </a:ext>
                </a:extLst>
              </p:cNvPr>
              <p:cNvSpPr/>
              <p:nvPr/>
            </p:nvSpPr>
            <p:spPr>
              <a:xfrm>
                <a:off x="2826390" y="-407005"/>
                <a:ext cx="195055" cy="267716"/>
              </a:xfrm>
              <a:custGeom>
                <a:avLst/>
                <a:gdLst>
                  <a:gd name="connsiteX0" fmla="*/ 195056 w 195055"/>
                  <a:gd name="connsiteY0" fmla="*/ 78483 h 267716"/>
                  <a:gd name="connsiteX1" fmla="*/ 141401 w 195055"/>
                  <a:gd name="connsiteY1" fmla="*/ 64723 h 267716"/>
                  <a:gd name="connsiteX2" fmla="*/ 72552 w 195055"/>
                  <a:gd name="connsiteY2" fmla="*/ 133526 h 267716"/>
                  <a:gd name="connsiteX3" fmla="*/ 141401 w 195055"/>
                  <a:gd name="connsiteY3" fmla="*/ 202329 h 267716"/>
                  <a:gd name="connsiteX4" fmla="*/ 195056 w 195055"/>
                  <a:gd name="connsiteY4" fmla="*/ 188948 h 267716"/>
                  <a:gd name="connsiteX5" fmla="*/ 195056 w 195055"/>
                  <a:gd name="connsiteY5" fmla="*/ 258226 h 267716"/>
                  <a:gd name="connsiteX6" fmla="*/ 136748 w 195055"/>
                  <a:gd name="connsiteY6" fmla="*/ 267716 h 267716"/>
                  <a:gd name="connsiteX7" fmla="*/ 0 w 195055"/>
                  <a:gd name="connsiteY7" fmla="*/ 133526 h 267716"/>
                  <a:gd name="connsiteX8" fmla="*/ 136463 w 195055"/>
                  <a:gd name="connsiteY8" fmla="*/ 0 h 267716"/>
                  <a:gd name="connsiteX9" fmla="*/ 195056 w 195055"/>
                  <a:gd name="connsiteY9" fmla="*/ 9490 h 267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5055" h="267716">
                    <a:moveTo>
                      <a:pt x="195056" y="78483"/>
                    </a:moveTo>
                    <a:cubicBezTo>
                      <a:pt x="178900" y="68759"/>
                      <a:pt x="160247" y="63976"/>
                      <a:pt x="141401" y="64723"/>
                    </a:cubicBezTo>
                    <a:cubicBezTo>
                      <a:pt x="103377" y="64723"/>
                      <a:pt x="72552" y="95526"/>
                      <a:pt x="72552" y="133526"/>
                    </a:cubicBezTo>
                    <a:cubicBezTo>
                      <a:pt x="72552" y="171525"/>
                      <a:pt x="103377" y="202329"/>
                      <a:pt x="141401" y="202329"/>
                    </a:cubicBezTo>
                    <a:cubicBezTo>
                      <a:pt x="160194" y="203039"/>
                      <a:pt x="178801" y="198399"/>
                      <a:pt x="195056" y="188948"/>
                    </a:cubicBezTo>
                    <a:lnTo>
                      <a:pt x="195056" y="258226"/>
                    </a:lnTo>
                    <a:cubicBezTo>
                      <a:pt x="176125" y="263948"/>
                      <a:pt x="156518" y="267140"/>
                      <a:pt x="136748" y="267716"/>
                    </a:cubicBezTo>
                    <a:cubicBezTo>
                      <a:pt x="63626" y="267052"/>
                      <a:pt x="0" y="216564"/>
                      <a:pt x="0" y="133526"/>
                    </a:cubicBezTo>
                    <a:cubicBezTo>
                      <a:pt x="0" y="56087"/>
                      <a:pt x="56978" y="0"/>
                      <a:pt x="136463" y="0"/>
                    </a:cubicBezTo>
                    <a:cubicBezTo>
                      <a:pt x="167042" y="0"/>
                      <a:pt x="195056" y="7402"/>
                      <a:pt x="195056" y="9490"/>
                    </a:cubicBezTo>
                    <a:close/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  <p:sp>
            <p:nvSpPr>
              <p:cNvPr id="29" name="Freeform 28">
                <a:extLst>
                  <a:ext uri="{FF2B5EF4-FFF2-40B4-BE49-F238E27FC236}">
                    <a16:creationId xmlns:a16="http://schemas.microsoft.com/office/drawing/2014/main" id="{876E8CF1-B052-8C08-3E9C-881902E4B2A8}"/>
                  </a:ext>
                </a:extLst>
              </p:cNvPr>
              <p:cNvSpPr/>
              <p:nvPr/>
            </p:nvSpPr>
            <p:spPr>
              <a:xfrm>
                <a:off x="3770165" y="-407058"/>
                <a:ext cx="272357" cy="272230"/>
              </a:xfrm>
              <a:custGeom>
                <a:avLst/>
                <a:gdLst>
                  <a:gd name="connsiteX0" fmla="*/ 272333 w 272357"/>
                  <a:gd name="connsiteY0" fmla="*/ 133579 h 272230"/>
                  <a:gd name="connsiteX1" fmla="*/ 138747 w 272357"/>
                  <a:gd name="connsiteY1" fmla="*/ 272206 h 272230"/>
                  <a:gd name="connsiteX2" fmla="*/ 25 w 272357"/>
                  <a:gd name="connsiteY2" fmla="*/ 138703 h 272230"/>
                  <a:gd name="connsiteX3" fmla="*/ 133619 w 272357"/>
                  <a:gd name="connsiteY3" fmla="*/ 77 h 272230"/>
                  <a:gd name="connsiteX4" fmla="*/ 136155 w 272357"/>
                  <a:gd name="connsiteY4" fmla="*/ 53 h 272230"/>
                  <a:gd name="connsiteX5" fmla="*/ 272285 w 272357"/>
                  <a:gd name="connsiteY5" fmla="*/ 128682 h 272230"/>
                  <a:gd name="connsiteX6" fmla="*/ 272333 w 272357"/>
                  <a:gd name="connsiteY6" fmla="*/ 133579 h 272230"/>
                  <a:gd name="connsiteX7" fmla="*/ 136155 w 272357"/>
                  <a:gd name="connsiteY7" fmla="*/ 65630 h 272230"/>
                  <a:gd name="connsiteX8" fmla="*/ 67591 w 272357"/>
                  <a:gd name="connsiteY8" fmla="*/ 132817 h 272230"/>
                  <a:gd name="connsiteX9" fmla="*/ 134825 w 272357"/>
                  <a:gd name="connsiteY9" fmla="*/ 201332 h 272230"/>
                  <a:gd name="connsiteX10" fmla="*/ 203389 w 272357"/>
                  <a:gd name="connsiteY10" fmla="*/ 134145 h 272230"/>
                  <a:gd name="connsiteX11" fmla="*/ 203389 w 272357"/>
                  <a:gd name="connsiteY11" fmla="*/ 133484 h 272230"/>
                  <a:gd name="connsiteX12" fmla="*/ 138358 w 272357"/>
                  <a:gd name="connsiteY12" fmla="*/ 65640 h 272230"/>
                  <a:gd name="connsiteX13" fmla="*/ 136155 w 272357"/>
                  <a:gd name="connsiteY13" fmla="*/ 65630 h 272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72357" h="272230">
                    <a:moveTo>
                      <a:pt x="272333" y="133579"/>
                    </a:moveTo>
                    <a:cubicBezTo>
                      <a:pt x="273748" y="208725"/>
                      <a:pt x="213940" y="270790"/>
                      <a:pt x="138747" y="272206"/>
                    </a:cubicBezTo>
                    <a:cubicBezTo>
                      <a:pt x="63545" y="273621"/>
                      <a:pt x="1441" y="213850"/>
                      <a:pt x="25" y="138703"/>
                    </a:cubicBezTo>
                    <a:cubicBezTo>
                      <a:pt x="-1391" y="63557"/>
                      <a:pt x="58417" y="1493"/>
                      <a:pt x="133619" y="77"/>
                    </a:cubicBezTo>
                    <a:cubicBezTo>
                      <a:pt x="134464" y="61"/>
                      <a:pt x="135309" y="53"/>
                      <a:pt x="136155" y="53"/>
                    </a:cubicBezTo>
                    <a:cubicBezTo>
                      <a:pt x="209286" y="-1994"/>
                      <a:pt x="270234" y="55595"/>
                      <a:pt x="272285" y="128682"/>
                    </a:cubicBezTo>
                    <a:cubicBezTo>
                      <a:pt x="272333" y="130313"/>
                      <a:pt x="272352" y="131946"/>
                      <a:pt x="272333" y="133579"/>
                    </a:cubicBezTo>
                    <a:moveTo>
                      <a:pt x="136155" y="65630"/>
                    </a:moveTo>
                    <a:cubicBezTo>
                      <a:pt x="98653" y="65262"/>
                      <a:pt x="67961" y="95343"/>
                      <a:pt x="67591" y="132817"/>
                    </a:cubicBezTo>
                    <a:cubicBezTo>
                      <a:pt x="67230" y="170289"/>
                      <a:pt x="97324" y="200965"/>
                      <a:pt x="134825" y="201332"/>
                    </a:cubicBezTo>
                    <a:cubicBezTo>
                      <a:pt x="172326" y="201699"/>
                      <a:pt x="203019" y="171618"/>
                      <a:pt x="203389" y="134145"/>
                    </a:cubicBezTo>
                    <a:cubicBezTo>
                      <a:pt x="203389" y="133924"/>
                      <a:pt x="203389" y="133704"/>
                      <a:pt x="203389" y="133484"/>
                    </a:cubicBezTo>
                    <a:cubicBezTo>
                      <a:pt x="204177" y="96804"/>
                      <a:pt x="175061" y="66429"/>
                      <a:pt x="138358" y="65640"/>
                    </a:cubicBezTo>
                    <a:cubicBezTo>
                      <a:pt x="137626" y="65625"/>
                      <a:pt x="136886" y="65621"/>
                      <a:pt x="136155" y="65630"/>
                    </a:cubicBezTo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  <p:sp>
            <p:nvSpPr>
              <p:cNvPr id="30" name="Freeform 29">
                <a:extLst>
                  <a:ext uri="{FF2B5EF4-FFF2-40B4-BE49-F238E27FC236}">
                    <a16:creationId xmlns:a16="http://schemas.microsoft.com/office/drawing/2014/main" id="{6C637F47-8CCC-ECB5-CCD0-F36B0E863AEC}"/>
                  </a:ext>
                </a:extLst>
              </p:cNvPr>
              <p:cNvSpPr/>
              <p:nvPr/>
            </p:nvSpPr>
            <p:spPr>
              <a:xfrm>
                <a:off x="3260565" y="-407669"/>
                <a:ext cx="181666" cy="267810"/>
              </a:xfrm>
              <a:custGeom>
                <a:avLst/>
                <a:gdLst>
                  <a:gd name="connsiteX0" fmla="*/ 159350 w 181666"/>
                  <a:gd name="connsiteY0" fmla="*/ 63868 h 267810"/>
                  <a:gd name="connsiteX1" fmla="*/ 110633 w 181666"/>
                  <a:gd name="connsiteY1" fmla="*/ 55992 h 267810"/>
                  <a:gd name="connsiteX2" fmla="*/ 71508 w 181666"/>
                  <a:gd name="connsiteY2" fmla="*/ 77155 h 267810"/>
                  <a:gd name="connsiteX3" fmla="*/ 101896 w 181666"/>
                  <a:gd name="connsiteY3" fmla="*/ 101639 h 267810"/>
                  <a:gd name="connsiteX4" fmla="*/ 120034 w 181666"/>
                  <a:gd name="connsiteY4" fmla="*/ 107428 h 267810"/>
                  <a:gd name="connsiteX5" fmla="*/ 181666 w 181666"/>
                  <a:gd name="connsiteY5" fmla="*/ 181166 h 267810"/>
                  <a:gd name="connsiteX6" fmla="*/ 72552 w 181666"/>
                  <a:gd name="connsiteY6" fmla="*/ 267811 h 267810"/>
                  <a:gd name="connsiteX7" fmla="*/ 0 w 181666"/>
                  <a:gd name="connsiteY7" fmla="*/ 260693 h 267810"/>
                  <a:gd name="connsiteX8" fmla="*/ 0 w 181666"/>
                  <a:gd name="connsiteY8" fmla="*/ 201380 h 267810"/>
                  <a:gd name="connsiteX9" fmla="*/ 63816 w 181666"/>
                  <a:gd name="connsiteY9" fmla="*/ 210870 h 267810"/>
                  <a:gd name="connsiteX10" fmla="*/ 112342 w 181666"/>
                  <a:gd name="connsiteY10" fmla="*/ 186765 h 267810"/>
                  <a:gd name="connsiteX11" fmla="*/ 83853 w 181666"/>
                  <a:gd name="connsiteY11" fmla="*/ 161047 h 267810"/>
                  <a:gd name="connsiteX12" fmla="*/ 70273 w 181666"/>
                  <a:gd name="connsiteY12" fmla="*/ 156587 h 267810"/>
                  <a:gd name="connsiteX13" fmla="*/ 3799 w 181666"/>
                  <a:gd name="connsiteY13" fmla="*/ 80666 h 267810"/>
                  <a:gd name="connsiteX14" fmla="*/ 97718 w 181666"/>
                  <a:gd name="connsiteY14" fmla="*/ 0 h 267810"/>
                  <a:gd name="connsiteX15" fmla="*/ 159350 w 181666"/>
                  <a:gd name="connsiteY15" fmla="*/ 9300 h 267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81666" h="267810">
                    <a:moveTo>
                      <a:pt x="159350" y="63868"/>
                    </a:moveTo>
                    <a:cubicBezTo>
                      <a:pt x="143531" y="59099"/>
                      <a:pt x="127149" y="56450"/>
                      <a:pt x="110633" y="55992"/>
                    </a:cubicBezTo>
                    <a:cubicBezTo>
                      <a:pt x="84613" y="55992"/>
                      <a:pt x="71508" y="64723"/>
                      <a:pt x="71508" y="77155"/>
                    </a:cubicBezTo>
                    <a:cubicBezTo>
                      <a:pt x="71508" y="92813"/>
                      <a:pt x="91165" y="98318"/>
                      <a:pt x="101896" y="101639"/>
                    </a:cubicBezTo>
                    <a:lnTo>
                      <a:pt x="120034" y="107428"/>
                    </a:lnTo>
                    <a:cubicBezTo>
                      <a:pt x="162293" y="120809"/>
                      <a:pt x="181666" y="149754"/>
                      <a:pt x="181666" y="181166"/>
                    </a:cubicBezTo>
                    <a:cubicBezTo>
                      <a:pt x="181666" y="245984"/>
                      <a:pt x="122314" y="267811"/>
                      <a:pt x="72552" y="267811"/>
                    </a:cubicBezTo>
                    <a:cubicBezTo>
                      <a:pt x="48241" y="266988"/>
                      <a:pt x="24007" y="264611"/>
                      <a:pt x="0" y="260693"/>
                    </a:cubicBezTo>
                    <a:lnTo>
                      <a:pt x="0" y="201380"/>
                    </a:lnTo>
                    <a:cubicBezTo>
                      <a:pt x="20921" y="206563"/>
                      <a:pt x="42290" y="209741"/>
                      <a:pt x="63816" y="210870"/>
                    </a:cubicBezTo>
                    <a:cubicBezTo>
                      <a:pt x="96198" y="210870"/>
                      <a:pt x="112342" y="201380"/>
                      <a:pt x="112342" y="186765"/>
                    </a:cubicBezTo>
                    <a:cubicBezTo>
                      <a:pt x="112342" y="173669"/>
                      <a:pt x="100092" y="166172"/>
                      <a:pt x="83853" y="161047"/>
                    </a:cubicBezTo>
                    <a:lnTo>
                      <a:pt x="70273" y="156587"/>
                    </a:lnTo>
                    <a:cubicBezTo>
                      <a:pt x="34092" y="145104"/>
                      <a:pt x="3799" y="123846"/>
                      <a:pt x="3799" y="80666"/>
                    </a:cubicBezTo>
                    <a:cubicBezTo>
                      <a:pt x="3799" y="32361"/>
                      <a:pt x="37796" y="0"/>
                      <a:pt x="97718" y="0"/>
                    </a:cubicBezTo>
                    <a:cubicBezTo>
                      <a:pt x="118590" y="278"/>
                      <a:pt x="139326" y="3407"/>
                      <a:pt x="159350" y="9300"/>
                    </a:cubicBezTo>
                    <a:close/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</p:grp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id="{39EB5738-949D-7CD1-8F73-5C179778921F}"/>
                </a:ext>
              </a:extLst>
            </p:cNvPr>
            <p:cNvGrpSpPr/>
            <p:nvPr/>
          </p:nvGrpSpPr>
          <p:grpSpPr>
            <a:xfrm>
              <a:off x="968312" y="4785947"/>
              <a:ext cx="573946" cy="274194"/>
              <a:chOff x="4186345" y="-863385"/>
              <a:chExt cx="1807247" cy="863385"/>
            </a:xfrm>
            <a:solidFill>
              <a:schemeClr val="accent1"/>
            </a:solidFill>
          </p:grpSpPr>
          <p:sp>
            <p:nvSpPr>
              <p:cNvPr id="6" name="Freeform 5">
                <a:extLst>
                  <a:ext uri="{FF2B5EF4-FFF2-40B4-BE49-F238E27FC236}">
                    <a16:creationId xmlns:a16="http://schemas.microsoft.com/office/drawing/2014/main" id="{CD11B15D-F7BA-0768-9F51-EB7F80A51EE3}"/>
                  </a:ext>
                </a:extLst>
              </p:cNvPr>
              <p:cNvSpPr/>
              <p:nvPr/>
            </p:nvSpPr>
            <p:spPr>
              <a:xfrm>
                <a:off x="4186345" y="-863385"/>
                <a:ext cx="1196080" cy="863385"/>
              </a:xfrm>
              <a:custGeom>
                <a:avLst/>
                <a:gdLst>
                  <a:gd name="connsiteX0" fmla="*/ 748245 w 1196080"/>
                  <a:gd name="connsiteY0" fmla="*/ 709196 h 863385"/>
                  <a:gd name="connsiteX1" fmla="*/ 745016 w 1196080"/>
                  <a:gd name="connsiteY1" fmla="*/ 709196 h 863385"/>
                  <a:gd name="connsiteX2" fmla="*/ 735520 w 1196080"/>
                  <a:gd name="connsiteY2" fmla="*/ 716883 h 863385"/>
                  <a:gd name="connsiteX3" fmla="*/ 698389 w 1196080"/>
                  <a:gd name="connsiteY3" fmla="*/ 747156 h 863385"/>
                  <a:gd name="connsiteX4" fmla="*/ 669900 w 1196080"/>
                  <a:gd name="connsiteY4" fmla="*/ 765567 h 863385"/>
                  <a:gd name="connsiteX5" fmla="*/ 620708 w 1196080"/>
                  <a:gd name="connsiteY5" fmla="*/ 781321 h 863385"/>
                  <a:gd name="connsiteX6" fmla="*/ 538754 w 1196080"/>
                  <a:gd name="connsiteY6" fmla="*/ 735673 h 863385"/>
                  <a:gd name="connsiteX7" fmla="*/ 530872 w 1196080"/>
                  <a:gd name="connsiteY7" fmla="*/ 690975 h 863385"/>
                  <a:gd name="connsiteX8" fmla="*/ 544642 w 1196080"/>
                  <a:gd name="connsiteY8" fmla="*/ 639823 h 863385"/>
                  <a:gd name="connsiteX9" fmla="*/ 550910 w 1196080"/>
                  <a:gd name="connsiteY9" fmla="*/ 623880 h 863385"/>
                  <a:gd name="connsiteX10" fmla="*/ 549865 w 1196080"/>
                  <a:gd name="connsiteY10" fmla="*/ 620938 h 863385"/>
                  <a:gd name="connsiteX11" fmla="*/ 548251 w 1196080"/>
                  <a:gd name="connsiteY11" fmla="*/ 620938 h 863385"/>
                  <a:gd name="connsiteX12" fmla="*/ 534006 w 1196080"/>
                  <a:gd name="connsiteY12" fmla="*/ 630428 h 863385"/>
                  <a:gd name="connsiteX13" fmla="*/ 516628 w 1196080"/>
                  <a:gd name="connsiteY13" fmla="*/ 643904 h 863385"/>
                  <a:gd name="connsiteX14" fmla="*/ 498680 w 1196080"/>
                  <a:gd name="connsiteY14" fmla="*/ 656905 h 863385"/>
                  <a:gd name="connsiteX15" fmla="*/ 412167 w 1196080"/>
                  <a:gd name="connsiteY15" fmla="*/ 712423 h 863385"/>
                  <a:gd name="connsiteX16" fmla="*/ 407704 w 1196080"/>
                  <a:gd name="connsiteY16" fmla="*/ 715080 h 863385"/>
                  <a:gd name="connsiteX17" fmla="*/ 332967 w 1196080"/>
                  <a:gd name="connsiteY17" fmla="*/ 760158 h 863385"/>
                  <a:gd name="connsiteX18" fmla="*/ 281592 w 1196080"/>
                  <a:gd name="connsiteY18" fmla="*/ 794227 h 863385"/>
                  <a:gd name="connsiteX19" fmla="*/ 261080 w 1196080"/>
                  <a:gd name="connsiteY19" fmla="*/ 806659 h 863385"/>
                  <a:gd name="connsiteX20" fmla="*/ 211224 w 1196080"/>
                  <a:gd name="connsiteY20" fmla="*/ 833042 h 863385"/>
                  <a:gd name="connsiteX21" fmla="*/ 206855 w 1196080"/>
                  <a:gd name="connsiteY21" fmla="*/ 835794 h 863385"/>
                  <a:gd name="connsiteX22" fmla="*/ 145888 w 1196080"/>
                  <a:gd name="connsiteY22" fmla="*/ 858096 h 863385"/>
                  <a:gd name="connsiteX23" fmla="*/ 119109 w 1196080"/>
                  <a:gd name="connsiteY23" fmla="*/ 863315 h 863385"/>
                  <a:gd name="connsiteX24" fmla="*/ 98596 w 1196080"/>
                  <a:gd name="connsiteY24" fmla="*/ 862082 h 863385"/>
                  <a:gd name="connsiteX25" fmla="*/ 70962 w 1196080"/>
                  <a:gd name="connsiteY25" fmla="*/ 853541 h 863385"/>
                  <a:gd name="connsiteX26" fmla="*/ 12844 w 1196080"/>
                  <a:gd name="connsiteY26" fmla="*/ 799162 h 863385"/>
                  <a:gd name="connsiteX27" fmla="*/ 2778 w 1196080"/>
                  <a:gd name="connsiteY27" fmla="*/ 773824 h 863385"/>
                  <a:gd name="connsiteX28" fmla="*/ 2778 w 1196080"/>
                  <a:gd name="connsiteY28" fmla="*/ 724665 h 863385"/>
                  <a:gd name="connsiteX29" fmla="*/ 15313 w 1196080"/>
                  <a:gd name="connsiteY29" fmla="*/ 685566 h 863385"/>
                  <a:gd name="connsiteX30" fmla="*/ 51494 w 1196080"/>
                  <a:gd name="connsiteY30" fmla="*/ 606038 h 863385"/>
                  <a:gd name="connsiteX31" fmla="*/ 53773 w 1196080"/>
                  <a:gd name="connsiteY31" fmla="*/ 601388 h 863385"/>
                  <a:gd name="connsiteX32" fmla="*/ 83497 w 1196080"/>
                  <a:gd name="connsiteY32" fmla="*/ 543499 h 863385"/>
                  <a:gd name="connsiteX33" fmla="*/ 119014 w 1196080"/>
                  <a:gd name="connsiteY33" fmla="*/ 480959 h 863385"/>
                  <a:gd name="connsiteX34" fmla="*/ 174852 w 1196080"/>
                  <a:gd name="connsiteY34" fmla="*/ 386058 h 863385"/>
                  <a:gd name="connsiteX35" fmla="*/ 188147 w 1196080"/>
                  <a:gd name="connsiteY35" fmla="*/ 362048 h 863385"/>
                  <a:gd name="connsiteX36" fmla="*/ 194985 w 1196080"/>
                  <a:gd name="connsiteY36" fmla="*/ 350185 h 863385"/>
                  <a:gd name="connsiteX37" fmla="*/ 214737 w 1196080"/>
                  <a:gd name="connsiteY37" fmla="*/ 318109 h 863385"/>
                  <a:gd name="connsiteX38" fmla="*/ 243227 w 1196080"/>
                  <a:gd name="connsiteY38" fmla="*/ 270658 h 863385"/>
                  <a:gd name="connsiteX39" fmla="*/ 265448 w 1196080"/>
                  <a:gd name="connsiteY39" fmla="*/ 232033 h 863385"/>
                  <a:gd name="connsiteX40" fmla="*/ 278268 w 1196080"/>
                  <a:gd name="connsiteY40" fmla="*/ 211819 h 863385"/>
                  <a:gd name="connsiteX41" fmla="*/ 349396 w 1196080"/>
                  <a:gd name="connsiteY41" fmla="*/ 75921 h 863385"/>
                  <a:gd name="connsiteX42" fmla="*/ 367724 w 1196080"/>
                  <a:gd name="connsiteY42" fmla="*/ 13476 h 863385"/>
                  <a:gd name="connsiteX43" fmla="*/ 369054 w 1196080"/>
                  <a:gd name="connsiteY43" fmla="*/ 6738 h 863385"/>
                  <a:gd name="connsiteX44" fmla="*/ 377885 w 1196080"/>
                  <a:gd name="connsiteY44" fmla="*/ 0 h 863385"/>
                  <a:gd name="connsiteX45" fmla="*/ 420049 w 1196080"/>
                  <a:gd name="connsiteY45" fmla="*/ 19834 h 863385"/>
                  <a:gd name="connsiteX46" fmla="*/ 428311 w 1196080"/>
                  <a:gd name="connsiteY46" fmla="*/ 41946 h 863385"/>
                  <a:gd name="connsiteX47" fmla="*/ 428311 w 1196080"/>
                  <a:gd name="connsiteY47" fmla="*/ 52196 h 863385"/>
                  <a:gd name="connsiteX48" fmla="*/ 429546 w 1196080"/>
                  <a:gd name="connsiteY48" fmla="*/ 57036 h 863385"/>
                  <a:gd name="connsiteX49" fmla="*/ 432015 w 1196080"/>
                  <a:gd name="connsiteY49" fmla="*/ 74972 h 863385"/>
                  <a:gd name="connsiteX50" fmla="*/ 422993 w 1196080"/>
                  <a:gd name="connsiteY50" fmla="*/ 97084 h 863385"/>
                  <a:gd name="connsiteX51" fmla="*/ 419480 w 1196080"/>
                  <a:gd name="connsiteY51" fmla="*/ 106574 h 863385"/>
                  <a:gd name="connsiteX52" fmla="*/ 414921 w 1196080"/>
                  <a:gd name="connsiteY52" fmla="*/ 115115 h 863385"/>
                  <a:gd name="connsiteX53" fmla="*/ 409508 w 1196080"/>
                  <a:gd name="connsiteY53" fmla="*/ 123561 h 863385"/>
                  <a:gd name="connsiteX54" fmla="*/ 394504 w 1196080"/>
                  <a:gd name="connsiteY54" fmla="*/ 161522 h 863385"/>
                  <a:gd name="connsiteX55" fmla="*/ 355759 w 1196080"/>
                  <a:gd name="connsiteY55" fmla="*/ 234026 h 863385"/>
                  <a:gd name="connsiteX56" fmla="*/ 347782 w 1196080"/>
                  <a:gd name="connsiteY56" fmla="*/ 249210 h 863385"/>
                  <a:gd name="connsiteX57" fmla="*/ 338285 w 1196080"/>
                  <a:gd name="connsiteY57" fmla="*/ 263256 h 863385"/>
                  <a:gd name="connsiteX58" fmla="*/ 325845 w 1196080"/>
                  <a:gd name="connsiteY58" fmla="*/ 285747 h 863385"/>
                  <a:gd name="connsiteX59" fmla="*/ 273805 w 1196080"/>
                  <a:gd name="connsiteY59" fmla="*/ 372392 h 863385"/>
                  <a:gd name="connsiteX60" fmla="*/ 241327 w 1196080"/>
                  <a:gd name="connsiteY60" fmla="*/ 426865 h 863385"/>
                  <a:gd name="connsiteX61" fmla="*/ 212838 w 1196080"/>
                  <a:gd name="connsiteY61" fmla="*/ 475834 h 863385"/>
                  <a:gd name="connsiteX62" fmla="*/ 203816 w 1196080"/>
                  <a:gd name="connsiteY62" fmla="*/ 490354 h 863385"/>
                  <a:gd name="connsiteX63" fmla="*/ 171624 w 1196080"/>
                  <a:gd name="connsiteY63" fmla="*/ 546725 h 863385"/>
                  <a:gd name="connsiteX64" fmla="*/ 169914 w 1196080"/>
                  <a:gd name="connsiteY64" fmla="*/ 549762 h 863385"/>
                  <a:gd name="connsiteX65" fmla="*/ 145603 w 1196080"/>
                  <a:gd name="connsiteY65" fmla="*/ 593037 h 863385"/>
                  <a:gd name="connsiteX66" fmla="*/ 101730 w 1196080"/>
                  <a:gd name="connsiteY66" fmla="*/ 676455 h 863385"/>
                  <a:gd name="connsiteX67" fmla="*/ 96412 w 1196080"/>
                  <a:gd name="connsiteY67" fmla="*/ 687179 h 863385"/>
                  <a:gd name="connsiteX68" fmla="*/ 63650 w 1196080"/>
                  <a:gd name="connsiteY68" fmla="*/ 777145 h 863385"/>
                  <a:gd name="connsiteX69" fmla="*/ 63650 w 1196080"/>
                  <a:gd name="connsiteY69" fmla="*/ 783883 h 863385"/>
                  <a:gd name="connsiteX70" fmla="*/ 73621 w 1196080"/>
                  <a:gd name="connsiteY70" fmla="*/ 791855 h 863385"/>
                  <a:gd name="connsiteX71" fmla="*/ 99071 w 1196080"/>
                  <a:gd name="connsiteY71" fmla="*/ 789482 h 863385"/>
                  <a:gd name="connsiteX72" fmla="*/ 144749 w 1196080"/>
                  <a:gd name="connsiteY72" fmla="*/ 775057 h 863385"/>
                  <a:gd name="connsiteX73" fmla="*/ 206950 w 1196080"/>
                  <a:gd name="connsiteY73" fmla="*/ 746207 h 863385"/>
                  <a:gd name="connsiteX74" fmla="*/ 277983 w 1196080"/>
                  <a:gd name="connsiteY74" fmla="*/ 704830 h 863385"/>
                  <a:gd name="connsiteX75" fmla="*/ 311790 w 1196080"/>
                  <a:gd name="connsiteY75" fmla="*/ 684617 h 863385"/>
                  <a:gd name="connsiteX76" fmla="*/ 340944 w 1196080"/>
                  <a:gd name="connsiteY76" fmla="*/ 666680 h 863385"/>
                  <a:gd name="connsiteX77" fmla="*/ 366490 w 1196080"/>
                  <a:gd name="connsiteY77" fmla="*/ 652825 h 863385"/>
                  <a:gd name="connsiteX78" fmla="*/ 381589 w 1196080"/>
                  <a:gd name="connsiteY78" fmla="*/ 644853 h 863385"/>
                  <a:gd name="connsiteX79" fmla="*/ 403336 w 1196080"/>
                  <a:gd name="connsiteY79" fmla="*/ 631187 h 863385"/>
                  <a:gd name="connsiteX80" fmla="*/ 458700 w 1196080"/>
                  <a:gd name="connsiteY80" fmla="*/ 597877 h 863385"/>
                  <a:gd name="connsiteX81" fmla="*/ 470380 w 1196080"/>
                  <a:gd name="connsiteY81" fmla="*/ 590759 h 863385"/>
                  <a:gd name="connsiteX82" fmla="*/ 579494 w 1196080"/>
                  <a:gd name="connsiteY82" fmla="*/ 529928 h 863385"/>
                  <a:gd name="connsiteX83" fmla="*/ 637612 w 1196080"/>
                  <a:gd name="connsiteY83" fmla="*/ 475834 h 863385"/>
                  <a:gd name="connsiteX84" fmla="*/ 650717 w 1196080"/>
                  <a:gd name="connsiteY84" fmla="*/ 469381 h 863385"/>
                  <a:gd name="connsiteX85" fmla="*/ 679206 w 1196080"/>
                  <a:gd name="connsiteY85" fmla="*/ 479535 h 863385"/>
                  <a:gd name="connsiteX86" fmla="*/ 699528 w 1196080"/>
                  <a:gd name="connsiteY86" fmla="*/ 508765 h 863385"/>
                  <a:gd name="connsiteX87" fmla="*/ 699054 w 1196080"/>
                  <a:gd name="connsiteY87" fmla="*/ 518255 h 863385"/>
                  <a:gd name="connsiteX88" fmla="*/ 695540 w 1196080"/>
                  <a:gd name="connsiteY88" fmla="*/ 524139 h 863385"/>
                  <a:gd name="connsiteX89" fmla="*/ 671039 w 1196080"/>
                  <a:gd name="connsiteY89" fmla="*/ 564851 h 863385"/>
                  <a:gd name="connsiteX90" fmla="*/ 666196 w 1196080"/>
                  <a:gd name="connsiteY90" fmla="*/ 573867 h 863385"/>
                  <a:gd name="connsiteX91" fmla="*/ 658029 w 1196080"/>
                  <a:gd name="connsiteY91" fmla="*/ 586868 h 863385"/>
                  <a:gd name="connsiteX92" fmla="*/ 643500 w 1196080"/>
                  <a:gd name="connsiteY92" fmla="*/ 608031 h 863385"/>
                  <a:gd name="connsiteX93" fmla="*/ 602380 w 1196080"/>
                  <a:gd name="connsiteY93" fmla="*/ 692778 h 863385"/>
                  <a:gd name="connsiteX94" fmla="*/ 594593 w 1196080"/>
                  <a:gd name="connsiteY94" fmla="*/ 717168 h 863385"/>
                  <a:gd name="connsiteX95" fmla="*/ 594593 w 1196080"/>
                  <a:gd name="connsiteY95" fmla="*/ 727322 h 863385"/>
                  <a:gd name="connsiteX96" fmla="*/ 596967 w 1196080"/>
                  <a:gd name="connsiteY96" fmla="*/ 729220 h 863385"/>
                  <a:gd name="connsiteX97" fmla="*/ 704182 w 1196080"/>
                  <a:gd name="connsiteY97" fmla="*/ 653299 h 863385"/>
                  <a:gd name="connsiteX98" fmla="*/ 804938 w 1196080"/>
                  <a:gd name="connsiteY98" fmla="*/ 536476 h 863385"/>
                  <a:gd name="connsiteX99" fmla="*/ 833428 w 1196080"/>
                  <a:gd name="connsiteY99" fmla="*/ 456949 h 863385"/>
                  <a:gd name="connsiteX100" fmla="*/ 853655 w 1196080"/>
                  <a:gd name="connsiteY100" fmla="*/ 409498 h 863385"/>
                  <a:gd name="connsiteX101" fmla="*/ 874927 w 1196080"/>
                  <a:gd name="connsiteY101" fmla="*/ 359011 h 863385"/>
                  <a:gd name="connsiteX102" fmla="*/ 884993 w 1196080"/>
                  <a:gd name="connsiteY102" fmla="*/ 351514 h 863385"/>
                  <a:gd name="connsiteX103" fmla="*/ 930196 w 1196080"/>
                  <a:gd name="connsiteY103" fmla="*/ 373246 h 863385"/>
                  <a:gd name="connsiteX104" fmla="*/ 933140 w 1196080"/>
                  <a:gd name="connsiteY104" fmla="*/ 377517 h 863385"/>
                  <a:gd name="connsiteX105" fmla="*/ 933140 w 1196080"/>
                  <a:gd name="connsiteY105" fmla="*/ 390233 h 863385"/>
                  <a:gd name="connsiteX106" fmla="*/ 912343 w 1196080"/>
                  <a:gd name="connsiteY106" fmla="*/ 435311 h 863385"/>
                  <a:gd name="connsiteX107" fmla="*/ 900282 w 1196080"/>
                  <a:gd name="connsiteY107" fmla="*/ 465585 h 863385"/>
                  <a:gd name="connsiteX108" fmla="*/ 849002 w 1196080"/>
                  <a:gd name="connsiteY108" fmla="*/ 605374 h 863385"/>
                  <a:gd name="connsiteX109" fmla="*/ 844443 w 1196080"/>
                  <a:gd name="connsiteY109" fmla="*/ 621887 h 863385"/>
                  <a:gd name="connsiteX110" fmla="*/ 844443 w 1196080"/>
                  <a:gd name="connsiteY110" fmla="*/ 626822 h 863385"/>
                  <a:gd name="connsiteX111" fmla="*/ 848527 w 1196080"/>
                  <a:gd name="connsiteY111" fmla="*/ 628815 h 863385"/>
                  <a:gd name="connsiteX112" fmla="*/ 852515 w 1196080"/>
                  <a:gd name="connsiteY112" fmla="*/ 625778 h 863385"/>
                  <a:gd name="connsiteX113" fmla="*/ 871508 w 1196080"/>
                  <a:gd name="connsiteY113" fmla="*/ 599395 h 863385"/>
                  <a:gd name="connsiteX114" fmla="*/ 928486 w 1196080"/>
                  <a:gd name="connsiteY114" fmla="*/ 522525 h 863385"/>
                  <a:gd name="connsiteX115" fmla="*/ 1042918 w 1196080"/>
                  <a:gd name="connsiteY115" fmla="*/ 397256 h 863385"/>
                  <a:gd name="connsiteX116" fmla="*/ 1080904 w 1196080"/>
                  <a:gd name="connsiteY116" fmla="*/ 362332 h 863385"/>
                  <a:gd name="connsiteX117" fmla="*/ 1109393 w 1196080"/>
                  <a:gd name="connsiteY117" fmla="*/ 340410 h 863385"/>
                  <a:gd name="connsiteX118" fmla="*/ 1132944 w 1196080"/>
                  <a:gd name="connsiteY118" fmla="*/ 330920 h 863385"/>
                  <a:gd name="connsiteX119" fmla="*/ 1139497 w 1196080"/>
                  <a:gd name="connsiteY119" fmla="*/ 329307 h 863385"/>
                  <a:gd name="connsiteX120" fmla="*/ 1169885 w 1196080"/>
                  <a:gd name="connsiteY120" fmla="*/ 330351 h 863385"/>
                  <a:gd name="connsiteX121" fmla="*/ 1174443 w 1196080"/>
                  <a:gd name="connsiteY121" fmla="*/ 332628 h 863385"/>
                  <a:gd name="connsiteX122" fmla="*/ 1186124 w 1196080"/>
                  <a:gd name="connsiteY122" fmla="*/ 339461 h 863385"/>
                  <a:gd name="connsiteX123" fmla="*/ 1195620 w 1196080"/>
                  <a:gd name="connsiteY123" fmla="*/ 350849 h 863385"/>
                  <a:gd name="connsiteX124" fmla="*/ 1194480 w 1196080"/>
                  <a:gd name="connsiteY124" fmla="*/ 357208 h 863385"/>
                  <a:gd name="connsiteX125" fmla="*/ 1187833 w 1196080"/>
                  <a:gd name="connsiteY125" fmla="*/ 362522 h 863385"/>
                  <a:gd name="connsiteX126" fmla="*/ 1169885 w 1196080"/>
                  <a:gd name="connsiteY126" fmla="*/ 372582 h 863385"/>
                  <a:gd name="connsiteX127" fmla="*/ 1137122 w 1196080"/>
                  <a:gd name="connsiteY127" fmla="*/ 394314 h 863385"/>
                  <a:gd name="connsiteX128" fmla="*/ 1100181 w 1196080"/>
                  <a:gd name="connsiteY128" fmla="*/ 427529 h 863385"/>
                  <a:gd name="connsiteX129" fmla="*/ 1046906 w 1196080"/>
                  <a:gd name="connsiteY129" fmla="*/ 483331 h 863385"/>
                  <a:gd name="connsiteX130" fmla="*/ 992682 w 1196080"/>
                  <a:gd name="connsiteY130" fmla="*/ 545207 h 863385"/>
                  <a:gd name="connsiteX131" fmla="*/ 985560 w 1196080"/>
                  <a:gd name="connsiteY131" fmla="*/ 554697 h 863385"/>
                  <a:gd name="connsiteX132" fmla="*/ 957735 w 1196080"/>
                  <a:gd name="connsiteY132" fmla="*/ 591613 h 863385"/>
                  <a:gd name="connsiteX133" fmla="*/ 938743 w 1196080"/>
                  <a:gd name="connsiteY133" fmla="*/ 615718 h 863385"/>
                  <a:gd name="connsiteX134" fmla="*/ 936178 w 1196080"/>
                  <a:gd name="connsiteY134" fmla="*/ 620084 h 863385"/>
                  <a:gd name="connsiteX135" fmla="*/ 928866 w 1196080"/>
                  <a:gd name="connsiteY135" fmla="*/ 631567 h 863385"/>
                  <a:gd name="connsiteX136" fmla="*/ 879485 w 1196080"/>
                  <a:gd name="connsiteY136" fmla="*/ 699421 h 863385"/>
                  <a:gd name="connsiteX137" fmla="*/ 815194 w 1196080"/>
                  <a:gd name="connsiteY137" fmla="*/ 820325 h 863385"/>
                  <a:gd name="connsiteX138" fmla="*/ 800190 w 1196080"/>
                  <a:gd name="connsiteY138" fmla="*/ 847182 h 863385"/>
                  <a:gd name="connsiteX139" fmla="*/ 791169 w 1196080"/>
                  <a:gd name="connsiteY139" fmla="*/ 857526 h 863385"/>
                  <a:gd name="connsiteX140" fmla="*/ 773790 w 1196080"/>
                  <a:gd name="connsiteY140" fmla="*/ 862082 h 863385"/>
                  <a:gd name="connsiteX141" fmla="*/ 756222 w 1196080"/>
                  <a:gd name="connsiteY141" fmla="*/ 851927 h 863385"/>
                  <a:gd name="connsiteX142" fmla="*/ 734095 w 1196080"/>
                  <a:gd name="connsiteY142" fmla="*/ 830574 h 863385"/>
                  <a:gd name="connsiteX143" fmla="*/ 731056 w 1196080"/>
                  <a:gd name="connsiteY143" fmla="*/ 824691 h 863385"/>
                  <a:gd name="connsiteX144" fmla="*/ 731056 w 1196080"/>
                  <a:gd name="connsiteY144" fmla="*/ 800870 h 863385"/>
                  <a:gd name="connsiteX145" fmla="*/ 746061 w 1196080"/>
                  <a:gd name="connsiteY145" fmla="*/ 721723 h 863385"/>
                  <a:gd name="connsiteX146" fmla="*/ 747010 w 1196080"/>
                  <a:gd name="connsiteY146" fmla="*/ 708247 h 863385"/>
                  <a:gd name="connsiteX147" fmla="*/ 748245 w 1196080"/>
                  <a:gd name="connsiteY147" fmla="*/ 708247 h 863385"/>
                  <a:gd name="connsiteX148" fmla="*/ 748245 w 1196080"/>
                  <a:gd name="connsiteY148" fmla="*/ 707298 h 863385"/>
                  <a:gd name="connsiteX149" fmla="*/ 747390 w 1196080"/>
                  <a:gd name="connsiteY149" fmla="*/ 708816 h 863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</a:cxnLst>
                <a:rect l="l" t="t" r="r" b="b"/>
                <a:pathLst>
                  <a:path w="1196080" h="863385">
                    <a:moveTo>
                      <a:pt x="748245" y="709196"/>
                    </a:moveTo>
                    <a:cubicBezTo>
                      <a:pt x="747200" y="709196"/>
                      <a:pt x="745776" y="709196"/>
                      <a:pt x="745016" y="709196"/>
                    </a:cubicBezTo>
                    <a:cubicBezTo>
                      <a:pt x="741882" y="711569"/>
                      <a:pt x="738843" y="714226"/>
                      <a:pt x="735520" y="716883"/>
                    </a:cubicBezTo>
                    <a:cubicBezTo>
                      <a:pt x="723554" y="727512"/>
                      <a:pt x="711304" y="737761"/>
                      <a:pt x="698389" y="747156"/>
                    </a:cubicBezTo>
                    <a:cubicBezTo>
                      <a:pt x="689329" y="753937"/>
                      <a:pt x="679804" y="760089"/>
                      <a:pt x="669900" y="765567"/>
                    </a:cubicBezTo>
                    <a:cubicBezTo>
                      <a:pt x="655190" y="775074"/>
                      <a:pt x="638210" y="780510"/>
                      <a:pt x="620708" y="781321"/>
                    </a:cubicBezTo>
                    <a:cubicBezTo>
                      <a:pt x="586730" y="783789"/>
                      <a:pt x="554528" y="765853"/>
                      <a:pt x="538754" y="735673"/>
                    </a:cubicBezTo>
                    <a:cubicBezTo>
                      <a:pt x="531091" y="722112"/>
                      <a:pt x="528308" y="706337"/>
                      <a:pt x="530872" y="690975"/>
                    </a:cubicBezTo>
                    <a:cubicBezTo>
                      <a:pt x="533398" y="673435"/>
                      <a:pt x="538023" y="656262"/>
                      <a:pt x="544642" y="639823"/>
                    </a:cubicBezTo>
                    <a:cubicBezTo>
                      <a:pt x="546731" y="634509"/>
                      <a:pt x="548915" y="629194"/>
                      <a:pt x="550910" y="623880"/>
                    </a:cubicBezTo>
                    <a:cubicBezTo>
                      <a:pt x="550910" y="623121"/>
                      <a:pt x="550340" y="621887"/>
                      <a:pt x="549865" y="620938"/>
                    </a:cubicBezTo>
                    <a:cubicBezTo>
                      <a:pt x="549390" y="619989"/>
                      <a:pt x="548726" y="620938"/>
                      <a:pt x="548251" y="620938"/>
                    </a:cubicBezTo>
                    <a:cubicBezTo>
                      <a:pt x="543104" y="623454"/>
                      <a:pt x="538308" y="626645"/>
                      <a:pt x="534006" y="630428"/>
                    </a:cubicBezTo>
                    <a:cubicBezTo>
                      <a:pt x="528555" y="635348"/>
                      <a:pt x="522753" y="639853"/>
                      <a:pt x="516628" y="643904"/>
                    </a:cubicBezTo>
                    <a:cubicBezTo>
                      <a:pt x="510873" y="648543"/>
                      <a:pt x="504881" y="652883"/>
                      <a:pt x="498680" y="656905"/>
                    </a:cubicBezTo>
                    <a:cubicBezTo>
                      <a:pt x="470190" y="675886"/>
                      <a:pt x="441701" y="694866"/>
                      <a:pt x="412167" y="712423"/>
                    </a:cubicBezTo>
                    <a:cubicBezTo>
                      <a:pt x="410648" y="713277"/>
                      <a:pt x="409128" y="714131"/>
                      <a:pt x="407704" y="715080"/>
                    </a:cubicBezTo>
                    <a:cubicBezTo>
                      <a:pt x="383583" y="731403"/>
                      <a:pt x="358133" y="745543"/>
                      <a:pt x="332967" y="760158"/>
                    </a:cubicBezTo>
                    <a:cubicBezTo>
                      <a:pt x="315143" y="770418"/>
                      <a:pt x="297983" y="781796"/>
                      <a:pt x="281592" y="794227"/>
                    </a:cubicBezTo>
                    <a:cubicBezTo>
                      <a:pt x="275305" y="799214"/>
                      <a:pt x="268411" y="803391"/>
                      <a:pt x="261080" y="806659"/>
                    </a:cubicBezTo>
                    <a:cubicBezTo>
                      <a:pt x="243796" y="814251"/>
                      <a:pt x="227842" y="824216"/>
                      <a:pt x="211224" y="833042"/>
                    </a:cubicBezTo>
                    <a:cubicBezTo>
                      <a:pt x="209828" y="834048"/>
                      <a:pt x="208365" y="834967"/>
                      <a:pt x="206855" y="835794"/>
                    </a:cubicBezTo>
                    <a:cubicBezTo>
                      <a:pt x="187084" y="844643"/>
                      <a:pt x="166704" y="852095"/>
                      <a:pt x="145888" y="858096"/>
                    </a:cubicBezTo>
                    <a:cubicBezTo>
                      <a:pt x="137104" y="860491"/>
                      <a:pt x="128149" y="862235"/>
                      <a:pt x="119109" y="863315"/>
                    </a:cubicBezTo>
                    <a:cubicBezTo>
                      <a:pt x="112243" y="863564"/>
                      <a:pt x="105377" y="863151"/>
                      <a:pt x="98596" y="862082"/>
                    </a:cubicBezTo>
                    <a:cubicBezTo>
                      <a:pt x="88919" y="861029"/>
                      <a:pt x="79537" y="858130"/>
                      <a:pt x="70962" y="853541"/>
                    </a:cubicBezTo>
                    <a:cubicBezTo>
                      <a:pt x="47097" y="840899"/>
                      <a:pt x="27031" y="822128"/>
                      <a:pt x="12844" y="799162"/>
                    </a:cubicBezTo>
                    <a:cubicBezTo>
                      <a:pt x="7896" y="791437"/>
                      <a:pt x="4478" y="782835"/>
                      <a:pt x="2778" y="773824"/>
                    </a:cubicBezTo>
                    <a:cubicBezTo>
                      <a:pt x="-926" y="757647"/>
                      <a:pt x="-926" y="740842"/>
                      <a:pt x="2778" y="724665"/>
                    </a:cubicBezTo>
                    <a:cubicBezTo>
                      <a:pt x="5893" y="711314"/>
                      <a:pt x="10080" y="698239"/>
                      <a:pt x="15313" y="685566"/>
                    </a:cubicBezTo>
                    <a:cubicBezTo>
                      <a:pt x="27278" y="658993"/>
                      <a:pt x="39434" y="632516"/>
                      <a:pt x="51494" y="606038"/>
                    </a:cubicBezTo>
                    <a:cubicBezTo>
                      <a:pt x="52159" y="604443"/>
                      <a:pt x="52919" y="602891"/>
                      <a:pt x="53773" y="601388"/>
                    </a:cubicBezTo>
                    <a:cubicBezTo>
                      <a:pt x="64789" y="582408"/>
                      <a:pt x="73431" y="562764"/>
                      <a:pt x="83497" y="543499"/>
                    </a:cubicBezTo>
                    <a:cubicBezTo>
                      <a:pt x="94608" y="522241"/>
                      <a:pt x="106953" y="501647"/>
                      <a:pt x="119014" y="480959"/>
                    </a:cubicBezTo>
                    <a:cubicBezTo>
                      <a:pt x="137532" y="449452"/>
                      <a:pt x="156334" y="418039"/>
                      <a:pt x="174852" y="386058"/>
                    </a:cubicBezTo>
                    <a:cubicBezTo>
                      <a:pt x="179411" y="378181"/>
                      <a:pt x="183684" y="370114"/>
                      <a:pt x="188147" y="362048"/>
                    </a:cubicBezTo>
                    <a:cubicBezTo>
                      <a:pt x="190189" y="357959"/>
                      <a:pt x="192468" y="353997"/>
                      <a:pt x="194985" y="350185"/>
                    </a:cubicBezTo>
                    <a:cubicBezTo>
                      <a:pt x="202297" y="339936"/>
                      <a:pt x="208280" y="328927"/>
                      <a:pt x="214737" y="318109"/>
                    </a:cubicBezTo>
                    <a:cubicBezTo>
                      <a:pt x="224234" y="302355"/>
                      <a:pt x="233730" y="286886"/>
                      <a:pt x="243227" y="270658"/>
                    </a:cubicBezTo>
                    <a:cubicBezTo>
                      <a:pt x="250824" y="257941"/>
                      <a:pt x="257946" y="244845"/>
                      <a:pt x="265448" y="232033"/>
                    </a:cubicBezTo>
                    <a:cubicBezTo>
                      <a:pt x="269560" y="225200"/>
                      <a:pt x="273833" y="218462"/>
                      <a:pt x="278268" y="211819"/>
                    </a:cubicBezTo>
                    <a:cubicBezTo>
                      <a:pt x="307080" y="169373"/>
                      <a:pt x="330935" y="123778"/>
                      <a:pt x="349396" y="75921"/>
                    </a:cubicBezTo>
                    <a:cubicBezTo>
                      <a:pt x="357107" y="55611"/>
                      <a:pt x="363242" y="34733"/>
                      <a:pt x="367724" y="13476"/>
                    </a:cubicBezTo>
                    <a:cubicBezTo>
                      <a:pt x="367724" y="11293"/>
                      <a:pt x="368484" y="9016"/>
                      <a:pt x="369054" y="6738"/>
                    </a:cubicBezTo>
                    <a:cubicBezTo>
                      <a:pt x="370241" y="2826"/>
                      <a:pt x="373792" y="111"/>
                      <a:pt x="377885" y="0"/>
                    </a:cubicBezTo>
                    <a:cubicBezTo>
                      <a:pt x="394067" y="535"/>
                      <a:pt x="409318" y="7709"/>
                      <a:pt x="420049" y="19834"/>
                    </a:cubicBezTo>
                    <a:cubicBezTo>
                      <a:pt x="425244" y="26051"/>
                      <a:pt x="428159" y="33851"/>
                      <a:pt x="428311" y="41946"/>
                    </a:cubicBezTo>
                    <a:cubicBezTo>
                      <a:pt x="428311" y="45363"/>
                      <a:pt x="428311" y="48779"/>
                      <a:pt x="428311" y="52196"/>
                    </a:cubicBezTo>
                    <a:cubicBezTo>
                      <a:pt x="428283" y="53890"/>
                      <a:pt x="428710" y="55561"/>
                      <a:pt x="429546" y="57036"/>
                    </a:cubicBezTo>
                    <a:cubicBezTo>
                      <a:pt x="433126" y="62302"/>
                      <a:pt x="434038" y="68935"/>
                      <a:pt x="432015" y="74972"/>
                    </a:cubicBezTo>
                    <a:cubicBezTo>
                      <a:pt x="430210" y="82777"/>
                      <a:pt x="427162" y="90243"/>
                      <a:pt x="422993" y="97084"/>
                    </a:cubicBezTo>
                    <a:cubicBezTo>
                      <a:pt x="420942" y="99850"/>
                      <a:pt x="419727" y="103141"/>
                      <a:pt x="419480" y="106574"/>
                    </a:cubicBezTo>
                    <a:cubicBezTo>
                      <a:pt x="419641" y="110040"/>
                      <a:pt x="417884" y="113315"/>
                      <a:pt x="414921" y="115115"/>
                    </a:cubicBezTo>
                    <a:cubicBezTo>
                      <a:pt x="412091" y="117122"/>
                      <a:pt x="410145" y="120151"/>
                      <a:pt x="409508" y="123561"/>
                    </a:cubicBezTo>
                    <a:cubicBezTo>
                      <a:pt x="405852" y="136704"/>
                      <a:pt x="400819" y="149427"/>
                      <a:pt x="394504" y="161522"/>
                    </a:cubicBezTo>
                    <a:cubicBezTo>
                      <a:pt x="382634" y="186196"/>
                      <a:pt x="369908" y="210586"/>
                      <a:pt x="355759" y="234026"/>
                    </a:cubicBezTo>
                    <a:cubicBezTo>
                      <a:pt x="352815" y="238866"/>
                      <a:pt x="350726" y="244275"/>
                      <a:pt x="347782" y="249210"/>
                    </a:cubicBezTo>
                    <a:cubicBezTo>
                      <a:pt x="344838" y="254145"/>
                      <a:pt x="341134" y="258700"/>
                      <a:pt x="338285" y="263256"/>
                    </a:cubicBezTo>
                    <a:cubicBezTo>
                      <a:pt x="333917" y="270563"/>
                      <a:pt x="329929" y="278250"/>
                      <a:pt x="325845" y="285747"/>
                    </a:cubicBezTo>
                    <a:cubicBezTo>
                      <a:pt x="309416" y="315167"/>
                      <a:pt x="291943" y="344016"/>
                      <a:pt x="273805" y="372392"/>
                    </a:cubicBezTo>
                    <a:cubicBezTo>
                      <a:pt x="262409" y="390233"/>
                      <a:pt x="252153" y="408739"/>
                      <a:pt x="241327" y="426865"/>
                    </a:cubicBezTo>
                    <a:cubicBezTo>
                      <a:pt x="231005" y="442691"/>
                      <a:pt x="221489" y="459036"/>
                      <a:pt x="212838" y="475834"/>
                    </a:cubicBezTo>
                    <a:cubicBezTo>
                      <a:pt x="210217" y="480903"/>
                      <a:pt x="207197" y="485758"/>
                      <a:pt x="203816" y="490354"/>
                    </a:cubicBezTo>
                    <a:cubicBezTo>
                      <a:pt x="191613" y="508263"/>
                      <a:pt x="180845" y="527113"/>
                      <a:pt x="171624" y="546725"/>
                    </a:cubicBezTo>
                    <a:cubicBezTo>
                      <a:pt x="171111" y="547768"/>
                      <a:pt x="170541" y="548783"/>
                      <a:pt x="169914" y="549762"/>
                    </a:cubicBezTo>
                    <a:cubicBezTo>
                      <a:pt x="160997" y="563717"/>
                      <a:pt x="152887" y="578165"/>
                      <a:pt x="145603" y="593037"/>
                    </a:cubicBezTo>
                    <a:cubicBezTo>
                      <a:pt x="130219" y="620369"/>
                      <a:pt x="116165" y="648554"/>
                      <a:pt x="101730" y="676455"/>
                    </a:cubicBezTo>
                    <a:cubicBezTo>
                      <a:pt x="99831" y="679966"/>
                      <a:pt x="98311" y="683668"/>
                      <a:pt x="96412" y="687179"/>
                    </a:cubicBezTo>
                    <a:cubicBezTo>
                      <a:pt x="82054" y="715804"/>
                      <a:pt x="71057" y="745994"/>
                      <a:pt x="63650" y="777145"/>
                    </a:cubicBezTo>
                    <a:cubicBezTo>
                      <a:pt x="63175" y="779366"/>
                      <a:pt x="63175" y="781662"/>
                      <a:pt x="63650" y="783883"/>
                    </a:cubicBezTo>
                    <a:cubicBezTo>
                      <a:pt x="64799" y="788479"/>
                      <a:pt x="68882" y="791741"/>
                      <a:pt x="73621" y="791855"/>
                    </a:cubicBezTo>
                    <a:cubicBezTo>
                      <a:pt x="82168" y="792158"/>
                      <a:pt x="90724" y="791361"/>
                      <a:pt x="99071" y="789482"/>
                    </a:cubicBezTo>
                    <a:cubicBezTo>
                      <a:pt x="114664" y="785913"/>
                      <a:pt x="129934" y="781088"/>
                      <a:pt x="144749" y="775057"/>
                    </a:cubicBezTo>
                    <a:cubicBezTo>
                      <a:pt x="166021" y="766647"/>
                      <a:pt x="186789" y="757015"/>
                      <a:pt x="206950" y="746207"/>
                    </a:cubicBezTo>
                    <a:cubicBezTo>
                      <a:pt x="231166" y="733301"/>
                      <a:pt x="254432" y="719066"/>
                      <a:pt x="277983" y="704830"/>
                    </a:cubicBezTo>
                    <a:cubicBezTo>
                      <a:pt x="289189" y="697903"/>
                      <a:pt x="300585" y="691355"/>
                      <a:pt x="311790" y="684617"/>
                    </a:cubicBezTo>
                    <a:cubicBezTo>
                      <a:pt x="321287" y="678733"/>
                      <a:pt x="331353" y="672849"/>
                      <a:pt x="340944" y="666680"/>
                    </a:cubicBezTo>
                    <a:cubicBezTo>
                      <a:pt x="349007" y="661270"/>
                      <a:pt x="357554" y="656631"/>
                      <a:pt x="366490" y="652825"/>
                    </a:cubicBezTo>
                    <a:cubicBezTo>
                      <a:pt x="371713" y="650546"/>
                      <a:pt x="376765" y="647881"/>
                      <a:pt x="381589" y="644853"/>
                    </a:cubicBezTo>
                    <a:cubicBezTo>
                      <a:pt x="388996" y="640488"/>
                      <a:pt x="396024" y="635363"/>
                      <a:pt x="403336" y="631187"/>
                    </a:cubicBezTo>
                    <a:cubicBezTo>
                      <a:pt x="421122" y="619014"/>
                      <a:pt x="439612" y="607892"/>
                      <a:pt x="458700" y="597877"/>
                    </a:cubicBezTo>
                    <a:cubicBezTo>
                      <a:pt x="462755" y="595778"/>
                      <a:pt x="466658" y="593400"/>
                      <a:pt x="470380" y="590759"/>
                    </a:cubicBezTo>
                    <a:cubicBezTo>
                      <a:pt x="505327" y="567888"/>
                      <a:pt x="544452" y="552799"/>
                      <a:pt x="579494" y="529928"/>
                    </a:cubicBezTo>
                    <a:cubicBezTo>
                      <a:pt x="625361" y="500508"/>
                      <a:pt x="633433" y="482477"/>
                      <a:pt x="637612" y="475834"/>
                    </a:cubicBezTo>
                    <a:cubicBezTo>
                      <a:pt x="640432" y="471405"/>
                      <a:pt x="645484" y="468916"/>
                      <a:pt x="650717" y="469381"/>
                    </a:cubicBezTo>
                    <a:cubicBezTo>
                      <a:pt x="661134" y="469190"/>
                      <a:pt x="671258" y="472800"/>
                      <a:pt x="679206" y="479535"/>
                    </a:cubicBezTo>
                    <a:cubicBezTo>
                      <a:pt x="688180" y="487551"/>
                      <a:pt x="695141" y="497564"/>
                      <a:pt x="699528" y="508765"/>
                    </a:cubicBezTo>
                    <a:cubicBezTo>
                      <a:pt x="700753" y="511848"/>
                      <a:pt x="700573" y="515308"/>
                      <a:pt x="699054" y="518255"/>
                    </a:cubicBezTo>
                    <a:cubicBezTo>
                      <a:pt x="698066" y="520321"/>
                      <a:pt x="696888" y="522290"/>
                      <a:pt x="695540" y="524139"/>
                    </a:cubicBezTo>
                    <a:cubicBezTo>
                      <a:pt x="690982" y="530782"/>
                      <a:pt x="675597" y="558303"/>
                      <a:pt x="671039" y="564851"/>
                    </a:cubicBezTo>
                    <a:cubicBezTo>
                      <a:pt x="669140" y="567604"/>
                      <a:pt x="668000" y="570925"/>
                      <a:pt x="666196" y="573867"/>
                    </a:cubicBezTo>
                    <a:cubicBezTo>
                      <a:pt x="663632" y="578327"/>
                      <a:pt x="660878" y="582693"/>
                      <a:pt x="658029" y="586868"/>
                    </a:cubicBezTo>
                    <a:cubicBezTo>
                      <a:pt x="653281" y="593986"/>
                      <a:pt x="647868" y="600724"/>
                      <a:pt x="643500" y="608031"/>
                    </a:cubicBezTo>
                    <a:cubicBezTo>
                      <a:pt x="627356" y="635032"/>
                      <a:pt x="613595" y="663388"/>
                      <a:pt x="602380" y="692778"/>
                    </a:cubicBezTo>
                    <a:cubicBezTo>
                      <a:pt x="599341" y="700750"/>
                      <a:pt x="597062" y="709006"/>
                      <a:pt x="594593" y="717168"/>
                    </a:cubicBezTo>
                    <a:cubicBezTo>
                      <a:pt x="593406" y="720448"/>
                      <a:pt x="593406" y="724041"/>
                      <a:pt x="594593" y="727322"/>
                    </a:cubicBezTo>
                    <a:cubicBezTo>
                      <a:pt x="594593" y="728176"/>
                      <a:pt x="596018" y="729315"/>
                      <a:pt x="596967" y="729220"/>
                    </a:cubicBezTo>
                    <a:cubicBezTo>
                      <a:pt x="617764" y="727702"/>
                      <a:pt x="686708" y="668768"/>
                      <a:pt x="704182" y="653299"/>
                    </a:cubicBezTo>
                    <a:cubicBezTo>
                      <a:pt x="728113" y="632041"/>
                      <a:pt x="779203" y="603761"/>
                      <a:pt x="804938" y="536476"/>
                    </a:cubicBezTo>
                    <a:cubicBezTo>
                      <a:pt x="811681" y="518824"/>
                      <a:pt x="819278" y="496712"/>
                      <a:pt x="833428" y="456949"/>
                    </a:cubicBezTo>
                    <a:cubicBezTo>
                      <a:pt x="839258" y="440758"/>
                      <a:pt x="846010" y="424915"/>
                      <a:pt x="853655" y="409498"/>
                    </a:cubicBezTo>
                    <a:cubicBezTo>
                      <a:pt x="861936" y="393193"/>
                      <a:pt x="869039" y="376322"/>
                      <a:pt x="874927" y="359011"/>
                    </a:cubicBezTo>
                    <a:cubicBezTo>
                      <a:pt x="875914" y="354336"/>
                      <a:pt x="880226" y="351124"/>
                      <a:pt x="884993" y="351514"/>
                    </a:cubicBezTo>
                    <a:cubicBezTo>
                      <a:pt x="902210" y="353006"/>
                      <a:pt x="918287" y="360735"/>
                      <a:pt x="930196" y="373246"/>
                    </a:cubicBezTo>
                    <a:cubicBezTo>
                      <a:pt x="931307" y="374577"/>
                      <a:pt x="932294" y="376007"/>
                      <a:pt x="933140" y="377517"/>
                    </a:cubicBezTo>
                    <a:cubicBezTo>
                      <a:pt x="935808" y="381335"/>
                      <a:pt x="935808" y="386415"/>
                      <a:pt x="933140" y="390233"/>
                    </a:cubicBezTo>
                    <a:cubicBezTo>
                      <a:pt x="924849" y="404597"/>
                      <a:pt x="917888" y="419685"/>
                      <a:pt x="912343" y="435311"/>
                    </a:cubicBezTo>
                    <a:cubicBezTo>
                      <a:pt x="908354" y="445466"/>
                      <a:pt x="904651" y="455620"/>
                      <a:pt x="900282" y="465585"/>
                    </a:cubicBezTo>
                    <a:cubicBezTo>
                      <a:pt x="880216" y="511038"/>
                      <a:pt x="863085" y="557730"/>
                      <a:pt x="849002" y="605374"/>
                    </a:cubicBezTo>
                    <a:cubicBezTo>
                      <a:pt x="847387" y="610878"/>
                      <a:pt x="845773" y="616383"/>
                      <a:pt x="844443" y="621887"/>
                    </a:cubicBezTo>
                    <a:cubicBezTo>
                      <a:pt x="844120" y="623515"/>
                      <a:pt x="844120" y="625193"/>
                      <a:pt x="844443" y="626822"/>
                    </a:cubicBezTo>
                    <a:cubicBezTo>
                      <a:pt x="844443" y="628150"/>
                      <a:pt x="847577" y="629574"/>
                      <a:pt x="848527" y="628815"/>
                    </a:cubicBezTo>
                    <a:cubicBezTo>
                      <a:pt x="849989" y="627989"/>
                      <a:pt x="851328" y="626967"/>
                      <a:pt x="852515" y="625778"/>
                    </a:cubicBezTo>
                    <a:cubicBezTo>
                      <a:pt x="858973" y="617047"/>
                      <a:pt x="865715" y="608506"/>
                      <a:pt x="871508" y="599395"/>
                    </a:cubicBezTo>
                    <a:cubicBezTo>
                      <a:pt x="888830" y="572574"/>
                      <a:pt x="907860" y="546898"/>
                      <a:pt x="928486" y="522525"/>
                    </a:cubicBezTo>
                    <a:cubicBezTo>
                      <a:pt x="964763" y="479061"/>
                      <a:pt x="1002558" y="437114"/>
                      <a:pt x="1042918" y="397256"/>
                    </a:cubicBezTo>
                    <a:cubicBezTo>
                      <a:pt x="1055073" y="385204"/>
                      <a:pt x="1067704" y="373626"/>
                      <a:pt x="1080904" y="362332"/>
                    </a:cubicBezTo>
                    <a:cubicBezTo>
                      <a:pt x="1090400" y="354456"/>
                      <a:pt x="1099896" y="347433"/>
                      <a:pt x="1109393" y="340410"/>
                    </a:cubicBezTo>
                    <a:cubicBezTo>
                      <a:pt x="1116221" y="335143"/>
                      <a:pt x="1124369" y="331860"/>
                      <a:pt x="1132944" y="330920"/>
                    </a:cubicBezTo>
                    <a:cubicBezTo>
                      <a:pt x="1135185" y="330664"/>
                      <a:pt x="1137388" y="330121"/>
                      <a:pt x="1139497" y="329307"/>
                    </a:cubicBezTo>
                    <a:cubicBezTo>
                      <a:pt x="1149506" y="326613"/>
                      <a:pt x="1160085" y="326976"/>
                      <a:pt x="1169885" y="330351"/>
                    </a:cubicBezTo>
                    <a:cubicBezTo>
                      <a:pt x="1171575" y="330718"/>
                      <a:pt x="1173142" y="331501"/>
                      <a:pt x="1174443" y="332628"/>
                    </a:cubicBezTo>
                    <a:cubicBezTo>
                      <a:pt x="1177824" y="335689"/>
                      <a:pt x="1181803" y="338016"/>
                      <a:pt x="1186124" y="339461"/>
                    </a:cubicBezTo>
                    <a:cubicBezTo>
                      <a:pt x="1190881" y="341580"/>
                      <a:pt x="1194395" y="345787"/>
                      <a:pt x="1195620" y="350849"/>
                    </a:cubicBezTo>
                    <a:cubicBezTo>
                      <a:pt x="1196522" y="353009"/>
                      <a:pt x="1196076" y="355494"/>
                      <a:pt x="1194480" y="357208"/>
                    </a:cubicBezTo>
                    <a:cubicBezTo>
                      <a:pt x="1192486" y="359240"/>
                      <a:pt x="1190255" y="361024"/>
                      <a:pt x="1187833" y="362522"/>
                    </a:cubicBezTo>
                    <a:cubicBezTo>
                      <a:pt x="1181945" y="366034"/>
                      <a:pt x="1175963" y="369355"/>
                      <a:pt x="1169885" y="372582"/>
                    </a:cubicBezTo>
                    <a:cubicBezTo>
                      <a:pt x="1158290" y="378757"/>
                      <a:pt x="1147321" y="386034"/>
                      <a:pt x="1137122" y="394314"/>
                    </a:cubicBezTo>
                    <a:cubicBezTo>
                      <a:pt x="1124141" y="404626"/>
                      <a:pt x="1111805" y="415718"/>
                      <a:pt x="1100181" y="427529"/>
                    </a:cubicBezTo>
                    <a:cubicBezTo>
                      <a:pt x="1082233" y="445940"/>
                      <a:pt x="1064380" y="464446"/>
                      <a:pt x="1046906" y="483331"/>
                    </a:cubicBezTo>
                    <a:cubicBezTo>
                      <a:pt x="1029433" y="502217"/>
                      <a:pt x="1009871" y="523759"/>
                      <a:pt x="992682" y="545207"/>
                    </a:cubicBezTo>
                    <a:cubicBezTo>
                      <a:pt x="990109" y="548219"/>
                      <a:pt x="987734" y="551389"/>
                      <a:pt x="985560" y="554697"/>
                    </a:cubicBezTo>
                    <a:cubicBezTo>
                      <a:pt x="977269" y="567715"/>
                      <a:pt x="967963" y="580058"/>
                      <a:pt x="957735" y="591613"/>
                    </a:cubicBezTo>
                    <a:cubicBezTo>
                      <a:pt x="951088" y="599490"/>
                      <a:pt x="944820" y="607652"/>
                      <a:pt x="938743" y="615718"/>
                    </a:cubicBezTo>
                    <a:cubicBezTo>
                      <a:pt x="937641" y="617014"/>
                      <a:pt x="936777" y="618490"/>
                      <a:pt x="936178" y="620084"/>
                    </a:cubicBezTo>
                    <a:cubicBezTo>
                      <a:pt x="934640" y="624413"/>
                      <a:pt x="932143" y="628339"/>
                      <a:pt x="928866" y="631567"/>
                    </a:cubicBezTo>
                    <a:cubicBezTo>
                      <a:pt x="910785" y="652961"/>
                      <a:pt x="894280" y="675639"/>
                      <a:pt x="879485" y="699421"/>
                    </a:cubicBezTo>
                    <a:cubicBezTo>
                      <a:pt x="854842" y="737934"/>
                      <a:pt x="833342" y="778366"/>
                      <a:pt x="815194" y="820325"/>
                    </a:cubicBezTo>
                    <a:cubicBezTo>
                      <a:pt x="811272" y="829837"/>
                      <a:pt x="806230" y="838852"/>
                      <a:pt x="800190" y="847182"/>
                    </a:cubicBezTo>
                    <a:cubicBezTo>
                      <a:pt x="797417" y="850826"/>
                      <a:pt x="794397" y="854282"/>
                      <a:pt x="791169" y="857526"/>
                    </a:cubicBezTo>
                    <a:cubicBezTo>
                      <a:pt x="786629" y="862077"/>
                      <a:pt x="779982" y="863819"/>
                      <a:pt x="773790" y="862082"/>
                    </a:cubicBezTo>
                    <a:cubicBezTo>
                      <a:pt x="767029" y="860580"/>
                      <a:pt x="760894" y="857035"/>
                      <a:pt x="756222" y="851927"/>
                    </a:cubicBezTo>
                    <a:cubicBezTo>
                      <a:pt x="749365" y="844288"/>
                      <a:pt x="741977" y="837152"/>
                      <a:pt x="734095" y="830574"/>
                    </a:cubicBezTo>
                    <a:cubicBezTo>
                      <a:pt x="732500" y="828972"/>
                      <a:pt x="731436" y="826917"/>
                      <a:pt x="731056" y="824691"/>
                    </a:cubicBezTo>
                    <a:cubicBezTo>
                      <a:pt x="729537" y="816823"/>
                      <a:pt x="729537" y="808738"/>
                      <a:pt x="731056" y="800870"/>
                    </a:cubicBezTo>
                    <a:cubicBezTo>
                      <a:pt x="735330" y="774298"/>
                      <a:pt x="739793" y="747821"/>
                      <a:pt x="746061" y="721723"/>
                    </a:cubicBezTo>
                    <a:cubicBezTo>
                      <a:pt x="747751" y="717434"/>
                      <a:pt x="748083" y="712730"/>
                      <a:pt x="747010" y="708247"/>
                    </a:cubicBezTo>
                    <a:cubicBezTo>
                      <a:pt x="747419" y="708337"/>
                      <a:pt x="747837" y="708337"/>
                      <a:pt x="748245" y="708247"/>
                    </a:cubicBezTo>
                    <a:cubicBezTo>
                      <a:pt x="748245" y="708247"/>
                      <a:pt x="748245" y="707298"/>
                      <a:pt x="748245" y="707298"/>
                    </a:cubicBezTo>
                    <a:cubicBezTo>
                      <a:pt x="748245" y="707298"/>
                      <a:pt x="746820" y="707298"/>
                      <a:pt x="747390" y="708816"/>
                    </a:cubicBezTo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  <p:sp>
            <p:nvSpPr>
              <p:cNvPr id="8" name="Freeform 7">
                <a:extLst>
                  <a:ext uri="{FF2B5EF4-FFF2-40B4-BE49-F238E27FC236}">
                    <a16:creationId xmlns:a16="http://schemas.microsoft.com/office/drawing/2014/main" id="{ECFCF492-3760-E452-8507-087A61A4BE74}"/>
                  </a:ext>
                </a:extLst>
              </p:cNvPr>
              <p:cNvSpPr/>
              <p:nvPr/>
            </p:nvSpPr>
            <p:spPr>
              <a:xfrm>
                <a:off x="4921141" y="-580737"/>
                <a:ext cx="66058" cy="65097"/>
              </a:xfrm>
              <a:custGeom>
                <a:avLst/>
                <a:gdLst>
                  <a:gd name="connsiteX0" fmla="*/ 3952 w 66058"/>
                  <a:gd name="connsiteY0" fmla="*/ 4713 h 65097"/>
                  <a:gd name="connsiteX1" fmla="*/ 55993 w 66058"/>
                  <a:gd name="connsiteY1" fmla="*/ 11831 h 65097"/>
                  <a:gd name="connsiteX2" fmla="*/ 66059 w 66058"/>
                  <a:gd name="connsiteY2" fmla="*/ 31665 h 65097"/>
                  <a:gd name="connsiteX3" fmla="*/ 64255 w 66058"/>
                  <a:gd name="connsiteY3" fmla="*/ 49127 h 65097"/>
                  <a:gd name="connsiteX4" fmla="*/ 63020 w 66058"/>
                  <a:gd name="connsiteY4" fmla="*/ 58048 h 65097"/>
                  <a:gd name="connsiteX5" fmla="*/ 14303 w 66058"/>
                  <a:gd name="connsiteY5" fmla="*/ 54252 h 65097"/>
                  <a:gd name="connsiteX6" fmla="*/ 2718 w 66058"/>
                  <a:gd name="connsiteY6" fmla="*/ 34227 h 65097"/>
                  <a:gd name="connsiteX7" fmla="*/ 3952 w 66058"/>
                  <a:gd name="connsiteY7" fmla="*/ 4713 h 65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058" h="65097">
                    <a:moveTo>
                      <a:pt x="3952" y="4713"/>
                    </a:moveTo>
                    <a:cubicBezTo>
                      <a:pt x="24654" y="-127"/>
                      <a:pt x="39849" y="-5346"/>
                      <a:pt x="55993" y="11831"/>
                    </a:cubicBezTo>
                    <a:cubicBezTo>
                      <a:pt x="61833" y="16859"/>
                      <a:pt x="65451" y="23987"/>
                      <a:pt x="66059" y="31665"/>
                    </a:cubicBezTo>
                    <a:cubicBezTo>
                      <a:pt x="66059" y="37264"/>
                      <a:pt x="64349" y="43243"/>
                      <a:pt x="64255" y="49127"/>
                    </a:cubicBezTo>
                    <a:cubicBezTo>
                      <a:pt x="64255" y="52828"/>
                      <a:pt x="65204" y="54726"/>
                      <a:pt x="63020" y="58048"/>
                    </a:cubicBezTo>
                    <a:cubicBezTo>
                      <a:pt x="53524" y="72567"/>
                      <a:pt x="25034" y="61274"/>
                      <a:pt x="14303" y="54252"/>
                    </a:cubicBezTo>
                    <a:cubicBezTo>
                      <a:pt x="6611" y="49222"/>
                      <a:pt x="5662" y="42294"/>
                      <a:pt x="2718" y="34227"/>
                    </a:cubicBezTo>
                    <a:cubicBezTo>
                      <a:pt x="-1299" y="24698"/>
                      <a:pt x="-843" y="13874"/>
                      <a:pt x="3952" y="4713"/>
                    </a:cubicBezTo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A6EC8CC5-4B31-3DF0-419D-EF306330DCCF}"/>
                  </a:ext>
                </a:extLst>
              </p:cNvPr>
              <p:cNvSpPr/>
              <p:nvPr/>
            </p:nvSpPr>
            <p:spPr>
              <a:xfrm>
                <a:off x="5175172" y="-425891"/>
                <a:ext cx="412425" cy="351340"/>
              </a:xfrm>
              <a:custGeom>
                <a:avLst/>
                <a:gdLst>
                  <a:gd name="connsiteX0" fmla="*/ 151 w 412425"/>
                  <a:gd name="connsiteY0" fmla="*/ 240100 h 351340"/>
                  <a:gd name="connsiteX1" fmla="*/ 4139 w 412425"/>
                  <a:gd name="connsiteY1" fmla="*/ 204987 h 351340"/>
                  <a:gd name="connsiteX2" fmla="*/ 14775 w 412425"/>
                  <a:gd name="connsiteY2" fmla="*/ 177940 h 351340"/>
                  <a:gd name="connsiteX3" fmla="*/ 99388 w 412425"/>
                  <a:gd name="connsiteY3" fmla="*/ 68614 h 351340"/>
                  <a:gd name="connsiteX4" fmla="*/ 141267 w 412425"/>
                  <a:gd name="connsiteY4" fmla="*/ 33406 h 351340"/>
                  <a:gd name="connsiteX5" fmla="*/ 184666 w 412425"/>
                  <a:gd name="connsiteY5" fmla="*/ 9491 h 351340"/>
                  <a:gd name="connsiteX6" fmla="*/ 229584 w 412425"/>
                  <a:gd name="connsiteY6" fmla="*/ 1 h 351340"/>
                  <a:gd name="connsiteX7" fmla="*/ 291405 w 412425"/>
                  <a:gd name="connsiteY7" fmla="*/ 28471 h 351340"/>
                  <a:gd name="connsiteX8" fmla="*/ 305080 w 412425"/>
                  <a:gd name="connsiteY8" fmla="*/ 64628 h 351340"/>
                  <a:gd name="connsiteX9" fmla="*/ 299003 w 412425"/>
                  <a:gd name="connsiteY9" fmla="*/ 87405 h 351340"/>
                  <a:gd name="connsiteX10" fmla="*/ 278775 w 412425"/>
                  <a:gd name="connsiteY10" fmla="*/ 116919 h 351340"/>
                  <a:gd name="connsiteX11" fmla="*/ 264341 w 412425"/>
                  <a:gd name="connsiteY11" fmla="*/ 135899 h 351340"/>
                  <a:gd name="connsiteX12" fmla="*/ 174220 w 412425"/>
                  <a:gd name="connsiteY12" fmla="*/ 208593 h 351340"/>
                  <a:gd name="connsiteX13" fmla="*/ 134430 w 412425"/>
                  <a:gd name="connsiteY13" fmla="*/ 223683 h 351340"/>
                  <a:gd name="connsiteX14" fmla="*/ 95590 w 412425"/>
                  <a:gd name="connsiteY14" fmla="*/ 221500 h 351340"/>
                  <a:gd name="connsiteX15" fmla="*/ 79161 w 412425"/>
                  <a:gd name="connsiteY15" fmla="*/ 216755 h 351340"/>
                  <a:gd name="connsiteX16" fmla="*/ 71754 w 412425"/>
                  <a:gd name="connsiteY16" fmla="*/ 219697 h 351340"/>
                  <a:gd name="connsiteX17" fmla="*/ 70709 w 412425"/>
                  <a:gd name="connsiteY17" fmla="*/ 221120 h 351340"/>
                  <a:gd name="connsiteX18" fmla="*/ 57889 w 412425"/>
                  <a:gd name="connsiteY18" fmla="*/ 266768 h 351340"/>
                  <a:gd name="connsiteX19" fmla="*/ 58649 w 412425"/>
                  <a:gd name="connsiteY19" fmla="*/ 277017 h 351340"/>
                  <a:gd name="connsiteX20" fmla="*/ 68810 w 412425"/>
                  <a:gd name="connsiteY20" fmla="*/ 294099 h 351340"/>
                  <a:gd name="connsiteX21" fmla="*/ 72893 w 412425"/>
                  <a:gd name="connsiteY21" fmla="*/ 297231 h 351340"/>
                  <a:gd name="connsiteX22" fmla="*/ 91886 w 412425"/>
                  <a:gd name="connsiteY22" fmla="*/ 301881 h 351340"/>
                  <a:gd name="connsiteX23" fmla="*/ 111734 w 412425"/>
                  <a:gd name="connsiteY23" fmla="*/ 296756 h 351340"/>
                  <a:gd name="connsiteX24" fmla="*/ 164629 w 412425"/>
                  <a:gd name="connsiteY24" fmla="*/ 269235 h 351340"/>
                  <a:gd name="connsiteX25" fmla="*/ 177354 w 412425"/>
                  <a:gd name="connsiteY25" fmla="*/ 260504 h 351340"/>
                  <a:gd name="connsiteX26" fmla="*/ 256839 w 412425"/>
                  <a:gd name="connsiteY26" fmla="*/ 198154 h 351340"/>
                  <a:gd name="connsiteX27" fmla="*/ 312582 w 412425"/>
                  <a:gd name="connsiteY27" fmla="*/ 152697 h 351340"/>
                  <a:gd name="connsiteX28" fmla="*/ 350568 w 412425"/>
                  <a:gd name="connsiteY28" fmla="*/ 125934 h 351340"/>
                  <a:gd name="connsiteX29" fmla="*/ 376018 w 412425"/>
                  <a:gd name="connsiteY29" fmla="*/ 111794 h 351340"/>
                  <a:gd name="connsiteX30" fmla="*/ 398810 w 412425"/>
                  <a:gd name="connsiteY30" fmla="*/ 104961 h 351340"/>
                  <a:gd name="connsiteX31" fmla="*/ 407166 w 412425"/>
                  <a:gd name="connsiteY31" fmla="*/ 106195 h 351340"/>
                  <a:gd name="connsiteX32" fmla="*/ 411535 w 412425"/>
                  <a:gd name="connsiteY32" fmla="*/ 111035 h 351340"/>
                  <a:gd name="connsiteX33" fmla="*/ 411535 w 412425"/>
                  <a:gd name="connsiteY33" fmla="*/ 122898 h 351340"/>
                  <a:gd name="connsiteX34" fmla="*/ 407831 w 412425"/>
                  <a:gd name="connsiteY34" fmla="*/ 132388 h 351340"/>
                  <a:gd name="connsiteX35" fmla="*/ 398335 w 412425"/>
                  <a:gd name="connsiteY35" fmla="*/ 150704 h 351340"/>
                  <a:gd name="connsiteX36" fmla="*/ 375828 w 412425"/>
                  <a:gd name="connsiteY36" fmla="*/ 178320 h 351340"/>
                  <a:gd name="connsiteX37" fmla="*/ 350663 w 412425"/>
                  <a:gd name="connsiteY37" fmla="*/ 198913 h 351340"/>
                  <a:gd name="connsiteX38" fmla="*/ 293020 w 412425"/>
                  <a:gd name="connsiteY38" fmla="*/ 254905 h 351340"/>
                  <a:gd name="connsiteX39" fmla="*/ 281719 w 412425"/>
                  <a:gd name="connsiteY39" fmla="*/ 264775 h 351340"/>
                  <a:gd name="connsiteX40" fmla="*/ 246772 w 412425"/>
                  <a:gd name="connsiteY40" fmla="*/ 289449 h 351340"/>
                  <a:gd name="connsiteX41" fmla="*/ 229394 w 412425"/>
                  <a:gd name="connsiteY41" fmla="*/ 303210 h 351340"/>
                  <a:gd name="connsiteX42" fmla="*/ 210401 w 412425"/>
                  <a:gd name="connsiteY42" fmla="*/ 314788 h 351340"/>
                  <a:gd name="connsiteX43" fmla="*/ 180013 w 412425"/>
                  <a:gd name="connsiteY43" fmla="*/ 330446 h 351340"/>
                  <a:gd name="connsiteX44" fmla="*/ 161590 w 412425"/>
                  <a:gd name="connsiteY44" fmla="*/ 339367 h 351340"/>
                  <a:gd name="connsiteX45" fmla="*/ 128732 w 412425"/>
                  <a:gd name="connsiteY45" fmla="*/ 348857 h 351340"/>
                  <a:gd name="connsiteX46" fmla="*/ 40321 w 412425"/>
                  <a:gd name="connsiteY46" fmla="*/ 327504 h 351340"/>
                  <a:gd name="connsiteX47" fmla="*/ 7843 w 412425"/>
                  <a:gd name="connsiteY47" fmla="*/ 282047 h 351340"/>
                  <a:gd name="connsiteX48" fmla="*/ 246 w 412425"/>
                  <a:gd name="connsiteY48" fmla="*/ 239816 h 351340"/>
                  <a:gd name="connsiteX49" fmla="*/ 102807 w 412425"/>
                  <a:gd name="connsiteY49" fmla="*/ 176042 h 351340"/>
                  <a:gd name="connsiteX50" fmla="*/ 112303 w 412425"/>
                  <a:gd name="connsiteY50" fmla="*/ 173859 h 351340"/>
                  <a:gd name="connsiteX51" fmla="*/ 143641 w 412425"/>
                  <a:gd name="connsiteY51" fmla="*/ 156398 h 351340"/>
                  <a:gd name="connsiteX52" fmla="*/ 221132 w 412425"/>
                  <a:gd name="connsiteY52" fmla="*/ 86740 h 351340"/>
                  <a:gd name="connsiteX53" fmla="*/ 237656 w 412425"/>
                  <a:gd name="connsiteY53" fmla="*/ 64818 h 351340"/>
                  <a:gd name="connsiteX54" fmla="*/ 240790 w 412425"/>
                  <a:gd name="connsiteY54" fmla="*/ 58744 h 351340"/>
                  <a:gd name="connsiteX55" fmla="*/ 240790 w 412425"/>
                  <a:gd name="connsiteY55" fmla="*/ 55708 h 351340"/>
                  <a:gd name="connsiteX56" fmla="*/ 237846 w 412425"/>
                  <a:gd name="connsiteY56" fmla="*/ 54569 h 351340"/>
                  <a:gd name="connsiteX57" fmla="*/ 225121 w 412425"/>
                  <a:gd name="connsiteY57" fmla="*/ 59409 h 351340"/>
                  <a:gd name="connsiteX58" fmla="*/ 192453 w 412425"/>
                  <a:gd name="connsiteY58" fmla="*/ 81331 h 351340"/>
                  <a:gd name="connsiteX59" fmla="*/ 126453 w 412425"/>
                  <a:gd name="connsiteY59" fmla="*/ 141119 h 351340"/>
                  <a:gd name="connsiteX60" fmla="*/ 104042 w 412425"/>
                  <a:gd name="connsiteY60" fmla="*/ 167027 h 351340"/>
                  <a:gd name="connsiteX61" fmla="*/ 101098 w 412425"/>
                  <a:gd name="connsiteY61" fmla="*/ 173005 h 351340"/>
                  <a:gd name="connsiteX62" fmla="*/ 103092 w 412425"/>
                  <a:gd name="connsiteY62" fmla="*/ 176042 h 351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412425" h="351340">
                    <a:moveTo>
                      <a:pt x="151" y="240100"/>
                    </a:moveTo>
                    <a:cubicBezTo>
                      <a:pt x="28" y="228277"/>
                      <a:pt x="1366" y="216482"/>
                      <a:pt x="4139" y="204987"/>
                    </a:cubicBezTo>
                    <a:cubicBezTo>
                      <a:pt x="6523" y="195557"/>
                      <a:pt x="10094" y="186468"/>
                      <a:pt x="14775" y="177940"/>
                    </a:cubicBezTo>
                    <a:cubicBezTo>
                      <a:pt x="37757" y="137744"/>
                      <a:pt x="66236" y="100948"/>
                      <a:pt x="99388" y="68614"/>
                    </a:cubicBezTo>
                    <a:cubicBezTo>
                      <a:pt x="112275" y="55665"/>
                      <a:pt x="126292" y="43882"/>
                      <a:pt x="141267" y="33406"/>
                    </a:cubicBezTo>
                    <a:cubicBezTo>
                      <a:pt x="154714" y="23715"/>
                      <a:pt x="169291" y="15686"/>
                      <a:pt x="184666" y="9491"/>
                    </a:cubicBezTo>
                    <a:cubicBezTo>
                      <a:pt x="198910" y="3549"/>
                      <a:pt x="214152" y="330"/>
                      <a:pt x="229584" y="1"/>
                    </a:cubicBezTo>
                    <a:cubicBezTo>
                      <a:pt x="253382" y="-94"/>
                      <a:pt x="276012" y="10327"/>
                      <a:pt x="291405" y="28471"/>
                    </a:cubicBezTo>
                    <a:cubicBezTo>
                      <a:pt x="300171" y="38484"/>
                      <a:pt x="305033" y="51323"/>
                      <a:pt x="305080" y="64628"/>
                    </a:cubicBezTo>
                    <a:cubicBezTo>
                      <a:pt x="305593" y="72680"/>
                      <a:pt x="303456" y="80677"/>
                      <a:pt x="299003" y="87405"/>
                    </a:cubicBezTo>
                    <a:cubicBezTo>
                      <a:pt x="292868" y="97643"/>
                      <a:pt x="286106" y="107499"/>
                      <a:pt x="278775" y="116919"/>
                    </a:cubicBezTo>
                    <a:cubicBezTo>
                      <a:pt x="273362" y="122803"/>
                      <a:pt x="269279" y="130015"/>
                      <a:pt x="264341" y="135899"/>
                    </a:cubicBezTo>
                    <a:cubicBezTo>
                      <a:pt x="239147" y="165583"/>
                      <a:pt x="208568" y="190247"/>
                      <a:pt x="174220" y="208593"/>
                    </a:cubicBezTo>
                    <a:cubicBezTo>
                      <a:pt x="161713" y="215428"/>
                      <a:pt x="148323" y="220505"/>
                      <a:pt x="134430" y="223683"/>
                    </a:cubicBezTo>
                    <a:cubicBezTo>
                      <a:pt x="121496" y="226100"/>
                      <a:pt x="108172" y="225351"/>
                      <a:pt x="95590" y="221500"/>
                    </a:cubicBezTo>
                    <a:cubicBezTo>
                      <a:pt x="90082" y="219981"/>
                      <a:pt x="84764" y="218083"/>
                      <a:pt x="79161" y="216755"/>
                    </a:cubicBezTo>
                    <a:cubicBezTo>
                      <a:pt x="76322" y="216077"/>
                      <a:pt x="73359" y="217254"/>
                      <a:pt x="71754" y="219697"/>
                    </a:cubicBezTo>
                    <a:cubicBezTo>
                      <a:pt x="71355" y="220130"/>
                      <a:pt x="71004" y="220608"/>
                      <a:pt x="70709" y="221120"/>
                    </a:cubicBezTo>
                    <a:cubicBezTo>
                      <a:pt x="63065" y="235181"/>
                      <a:pt x="58677" y="250782"/>
                      <a:pt x="57889" y="266768"/>
                    </a:cubicBezTo>
                    <a:cubicBezTo>
                      <a:pt x="57861" y="270199"/>
                      <a:pt x="58117" y="273627"/>
                      <a:pt x="58649" y="277017"/>
                    </a:cubicBezTo>
                    <a:cubicBezTo>
                      <a:pt x="59238" y="283966"/>
                      <a:pt x="62989" y="290259"/>
                      <a:pt x="68810" y="294099"/>
                    </a:cubicBezTo>
                    <a:cubicBezTo>
                      <a:pt x="70234" y="295060"/>
                      <a:pt x="71592" y="296105"/>
                      <a:pt x="72893" y="297231"/>
                    </a:cubicBezTo>
                    <a:cubicBezTo>
                      <a:pt x="78259" y="301436"/>
                      <a:pt x="85182" y="303130"/>
                      <a:pt x="91886" y="301881"/>
                    </a:cubicBezTo>
                    <a:cubicBezTo>
                      <a:pt x="98667" y="300893"/>
                      <a:pt x="105323" y="299175"/>
                      <a:pt x="111734" y="296756"/>
                    </a:cubicBezTo>
                    <a:cubicBezTo>
                      <a:pt x="130366" y="289645"/>
                      <a:pt x="148114" y="280411"/>
                      <a:pt x="164629" y="269235"/>
                    </a:cubicBezTo>
                    <a:cubicBezTo>
                      <a:pt x="168807" y="266198"/>
                      <a:pt x="173175" y="263446"/>
                      <a:pt x="177354" y="260504"/>
                    </a:cubicBezTo>
                    <a:cubicBezTo>
                      <a:pt x="204988" y="241524"/>
                      <a:pt x="230913" y="219697"/>
                      <a:pt x="256839" y="198154"/>
                    </a:cubicBezTo>
                    <a:cubicBezTo>
                      <a:pt x="275262" y="182780"/>
                      <a:pt x="293685" y="167501"/>
                      <a:pt x="312582" y="152697"/>
                    </a:cubicBezTo>
                    <a:cubicBezTo>
                      <a:pt x="324643" y="143206"/>
                      <a:pt x="337368" y="134381"/>
                      <a:pt x="350568" y="125934"/>
                    </a:cubicBezTo>
                    <a:cubicBezTo>
                      <a:pt x="358801" y="120777"/>
                      <a:pt x="367291" y="116057"/>
                      <a:pt x="376018" y="111794"/>
                    </a:cubicBezTo>
                    <a:cubicBezTo>
                      <a:pt x="383160" y="108197"/>
                      <a:pt x="390871" y="105885"/>
                      <a:pt x="398810" y="104961"/>
                    </a:cubicBezTo>
                    <a:cubicBezTo>
                      <a:pt x="401649" y="104865"/>
                      <a:pt x="404479" y="105284"/>
                      <a:pt x="407166" y="106195"/>
                    </a:cubicBezTo>
                    <a:cubicBezTo>
                      <a:pt x="409389" y="106901"/>
                      <a:pt x="411060" y="108752"/>
                      <a:pt x="411535" y="111035"/>
                    </a:cubicBezTo>
                    <a:cubicBezTo>
                      <a:pt x="412722" y="114900"/>
                      <a:pt x="412722" y="119032"/>
                      <a:pt x="411535" y="122898"/>
                    </a:cubicBezTo>
                    <a:cubicBezTo>
                      <a:pt x="410481" y="126128"/>
                      <a:pt x="409246" y="129296"/>
                      <a:pt x="407831" y="132388"/>
                    </a:cubicBezTo>
                    <a:cubicBezTo>
                      <a:pt x="404887" y="138556"/>
                      <a:pt x="401564" y="144535"/>
                      <a:pt x="398335" y="150704"/>
                    </a:cubicBezTo>
                    <a:cubicBezTo>
                      <a:pt x="393112" y="161551"/>
                      <a:pt x="385401" y="171012"/>
                      <a:pt x="375828" y="178320"/>
                    </a:cubicBezTo>
                    <a:cubicBezTo>
                      <a:pt x="367282" y="184963"/>
                      <a:pt x="359115" y="192080"/>
                      <a:pt x="350663" y="198913"/>
                    </a:cubicBezTo>
                    <a:cubicBezTo>
                      <a:pt x="329429" y="215378"/>
                      <a:pt x="310094" y="234158"/>
                      <a:pt x="293020" y="254905"/>
                    </a:cubicBezTo>
                    <a:cubicBezTo>
                      <a:pt x="289734" y="258706"/>
                      <a:pt x="285926" y="262028"/>
                      <a:pt x="281719" y="264775"/>
                    </a:cubicBezTo>
                    <a:lnTo>
                      <a:pt x="246772" y="289449"/>
                    </a:lnTo>
                    <a:cubicBezTo>
                      <a:pt x="240514" y="293413"/>
                      <a:pt x="234683" y="298025"/>
                      <a:pt x="229394" y="303210"/>
                    </a:cubicBezTo>
                    <a:cubicBezTo>
                      <a:pt x="223952" y="308370"/>
                      <a:pt x="217485" y="312317"/>
                      <a:pt x="210401" y="314788"/>
                    </a:cubicBezTo>
                    <a:cubicBezTo>
                      <a:pt x="199889" y="319226"/>
                      <a:pt x="189727" y="324461"/>
                      <a:pt x="180013" y="330446"/>
                    </a:cubicBezTo>
                    <a:cubicBezTo>
                      <a:pt x="174096" y="333855"/>
                      <a:pt x="167933" y="336836"/>
                      <a:pt x="161590" y="339367"/>
                    </a:cubicBezTo>
                    <a:cubicBezTo>
                      <a:pt x="151030" y="343762"/>
                      <a:pt x="140004" y="346946"/>
                      <a:pt x="128732" y="348857"/>
                    </a:cubicBezTo>
                    <a:cubicBezTo>
                      <a:pt x="97546" y="355828"/>
                      <a:pt x="64878" y="347939"/>
                      <a:pt x="40321" y="327504"/>
                    </a:cubicBezTo>
                    <a:cubicBezTo>
                      <a:pt x="25753" y="315405"/>
                      <a:pt x="14566" y="299746"/>
                      <a:pt x="7843" y="282047"/>
                    </a:cubicBezTo>
                    <a:cubicBezTo>
                      <a:pt x="1756" y="268845"/>
                      <a:pt x="-856" y="254309"/>
                      <a:pt x="246" y="239816"/>
                    </a:cubicBezTo>
                    <a:moveTo>
                      <a:pt x="102807" y="176042"/>
                    </a:moveTo>
                    <a:cubicBezTo>
                      <a:pt x="106026" y="175572"/>
                      <a:pt x="109198" y="174842"/>
                      <a:pt x="112303" y="173859"/>
                    </a:cubicBezTo>
                    <a:cubicBezTo>
                      <a:pt x="123395" y="169282"/>
                      <a:pt x="133917" y="163422"/>
                      <a:pt x="143641" y="156398"/>
                    </a:cubicBezTo>
                    <a:cubicBezTo>
                      <a:pt x="172377" y="136622"/>
                      <a:pt x="198426" y="113208"/>
                      <a:pt x="221132" y="86740"/>
                    </a:cubicBezTo>
                    <a:cubicBezTo>
                      <a:pt x="227115" y="79718"/>
                      <a:pt x="232243" y="72220"/>
                      <a:pt x="237656" y="64818"/>
                    </a:cubicBezTo>
                    <a:cubicBezTo>
                      <a:pt x="238938" y="62927"/>
                      <a:pt x="239992" y="60887"/>
                      <a:pt x="240790" y="58744"/>
                    </a:cubicBezTo>
                    <a:cubicBezTo>
                      <a:pt x="241170" y="57768"/>
                      <a:pt x="241170" y="56684"/>
                      <a:pt x="240790" y="55708"/>
                    </a:cubicBezTo>
                    <a:cubicBezTo>
                      <a:pt x="239963" y="55003"/>
                      <a:pt x="238928" y="54602"/>
                      <a:pt x="237846" y="54569"/>
                    </a:cubicBezTo>
                    <a:cubicBezTo>
                      <a:pt x="233278" y="55131"/>
                      <a:pt x="228910" y="56791"/>
                      <a:pt x="225121" y="59409"/>
                    </a:cubicBezTo>
                    <a:cubicBezTo>
                      <a:pt x="213621" y="65761"/>
                      <a:pt x="202690" y="73096"/>
                      <a:pt x="192453" y="81331"/>
                    </a:cubicBezTo>
                    <a:cubicBezTo>
                      <a:pt x="168968" y="99564"/>
                      <a:pt x="146908" y="119550"/>
                      <a:pt x="126453" y="141119"/>
                    </a:cubicBezTo>
                    <a:cubicBezTo>
                      <a:pt x="118666" y="149375"/>
                      <a:pt x="111354" y="158296"/>
                      <a:pt x="104042" y="167027"/>
                    </a:cubicBezTo>
                    <a:cubicBezTo>
                      <a:pt x="102712" y="168831"/>
                      <a:pt x="101715" y="170855"/>
                      <a:pt x="101098" y="173005"/>
                    </a:cubicBezTo>
                    <a:cubicBezTo>
                      <a:pt x="101098" y="173575"/>
                      <a:pt x="102142" y="174619"/>
                      <a:pt x="103092" y="176042"/>
                    </a:cubicBezTo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  <p:sp>
            <p:nvSpPr>
              <p:cNvPr id="24" name="Freeform 23">
                <a:extLst>
                  <a:ext uri="{FF2B5EF4-FFF2-40B4-BE49-F238E27FC236}">
                    <a16:creationId xmlns:a16="http://schemas.microsoft.com/office/drawing/2014/main" id="{2F491616-1EE0-F7BE-40BD-8F8B73787505}"/>
                  </a:ext>
                </a:extLst>
              </p:cNvPr>
              <p:cNvSpPr/>
              <p:nvPr/>
            </p:nvSpPr>
            <p:spPr>
              <a:xfrm>
                <a:off x="5660524" y="-724743"/>
                <a:ext cx="333068" cy="540294"/>
              </a:xfrm>
              <a:custGeom>
                <a:avLst/>
                <a:gdLst>
                  <a:gd name="connsiteX0" fmla="*/ 322278 w 333068"/>
                  <a:gd name="connsiteY0" fmla="*/ 12157 h 540294"/>
                  <a:gd name="connsiteX1" fmla="*/ 330825 w 333068"/>
                  <a:gd name="connsiteY1" fmla="*/ 27436 h 540294"/>
                  <a:gd name="connsiteX2" fmla="*/ 330825 w 333068"/>
                  <a:gd name="connsiteY2" fmla="*/ 43854 h 540294"/>
                  <a:gd name="connsiteX3" fmla="*/ 324462 w 333068"/>
                  <a:gd name="connsiteY3" fmla="*/ 53913 h 540294"/>
                  <a:gd name="connsiteX4" fmla="*/ 308318 w 333068"/>
                  <a:gd name="connsiteY4" fmla="*/ 76120 h 540294"/>
                  <a:gd name="connsiteX5" fmla="*/ 267199 w 333068"/>
                  <a:gd name="connsiteY5" fmla="*/ 139134 h 540294"/>
                  <a:gd name="connsiteX6" fmla="*/ 241464 w 333068"/>
                  <a:gd name="connsiteY6" fmla="*/ 179562 h 540294"/>
                  <a:gd name="connsiteX7" fmla="*/ 228643 w 333068"/>
                  <a:gd name="connsiteY7" fmla="*/ 199776 h 540294"/>
                  <a:gd name="connsiteX8" fmla="*/ 211835 w 333068"/>
                  <a:gd name="connsiteY8" fmla="*/ 227677 h 540294"/>
                  <a:gd name="connsiteX9" fmla="*/ 193792 w 333068"/>
                  <a:gd name="connsiteY9" fmla="*/ 258710 h 540294"/>
                  <a:gd name="connsiteX10" fmla="*/ 186669 w 333068"/>
                  <a:gd name="connsiteY10" fmla="*/ 270382 h 540294"/>
                  <a:gd name="connsiteX11" fmla="*/ 124373 w 333068"/>
                  <a:gd name="connsiteY11" fmla="*/ 384264 h 540294"/>
                  <a:gd name="connsiteX12" fmla="*/ 94460 w 333068"/>
                  <a:gd name="connsiteY12" fmla="*/ 449556 h 540294"/>
                  <a:gd name="connsiteX13" fmla="*/ 65400 w 333068"/>
                  <a:gd name="connsiteY13" fmla="*/ 513424 h 540294"/>
                  <a:gd name="connsiteX14" fmla="*/ 46407 w 333068"/>
                  <a:gd name="connsiteY14" fmla="*/ 534018 h 540294"/>
                  <a:gd name="connsiteX15" fmla="*/ 33872 w 333068"/>
                  <a:gd name="connsiteY15" fmla="*/ 539332 h 540294"/>
                  <a:gd name="connsiteX16" fmla="*/ 14880 w 333068"/>
                  <a:gd name="connsiteY16" fmla="*/ 532025 h 540294"/>
                  <a:gd name="connsiteX17" fmla="*/ 8992 w 333068"/>
                  <a:gd name="connsiteY17" fmla="*/ 519688 h 540294"/>
                  <a:gd name="connsiteX18" fmla="*/ 6333 w 333068"/>
                  <a:gd name="connsiteY18" fmla="*/ 515417 h 540294"/>
                  <a:gd name="connsiteX19" fmla="*/ 1205 w 333068"/>
                  <a:gd name="connsiteY19" fmla="*/ 497765 h 540294"/>
                  <a:gd name="connsiteX20" fmla="*/ 13645 w 333068"/>
                  <a:gd name="connsiteY20" fmla="*/ 453352 h 540294"/>
                  <a:gd name="connsiteX21" fmla="*/ 39190 w 333068"/>
                  <a:gd name="connsiteY21" fmla="*/ 387965 h 540294"/>
                  <a:gd name="connsiteX22" fmla="*/ 94649 w 333068"/>
                  <a:gd name="connsiteY22" fmla="*/ 274084 h 540294"/>
                  <a:gd name="connsiteX23" fmla="*/ 113642 w 333068"/>
                  <a:gd name="connsiteY23" fmla="*/ 243336 h 540294"/>
                  <a:gd name="connsiteX24" fmla="*/ 118105 w 333068"/>
                  <a:gd name="connsiteY24" fmla="*/ 236028 h 540294"/>
                  <a:gd name="connsiteX25" fmla="*/ 137858 w 333068"/>
                  <a:gd name="connsiteY25" fmla="*/ 202243 h 540294"/>
                  <a:gd name="connsiteX26" fmla="*/ 158370 w 333068"/>
                  <a:gd name="connsiteY26" fmla="*/ 166656 h 540294"/>
                  <a:gd name="connsiteX27" fmla="*/ 178882 w 333068"/>
                  <a:gd name="connsiteY27" fmla="*/ 132966 h 540294"/>
                  <a:gd name="connsiteX28" fmla="*/ 261691 w 333068"/>
                  <a:gd name="connsiteY28" fmla="*/ 15478 h 540294"/>
                  <a:gd name="connsiteX29" fmla="*/ 270713 w 333068"/>
                  <a:gd name="connsiteY29" fmla="*/ 5134 h 540294"/>
                  <a:gd name="connsiteX30" fmla="*/ 284767 w 333068"/>
                  <a:gd name="connsiteY30" fmla="*/ 104 h 540294"/>
                  <a:gd name="connsiteX31" fmla="*/ 291510 w 333068"/>
                  <a:gd name="connsiteY31" fmla="*/ 1148 h 540294"/>
                  <a:gd name="connsiteX32" fmla="*/ 323513 w 333068"/>
                  <a:gd name="connsiteY32" fmla="*/ 11967 h 540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33068" h="540294">
                    <a:moveTo>
                      <a:pt x="322278" y="12157"/>
                    </a:moveTo>
                    <a:lnTo>
                      <a:pt x="330825" y="27436"/>
                    </a:lnTo>
                    <a:cubicBezTo>
                      <a:pt x="333816" y="32500"/>
                      <a:pt x="333816" y="38790"/>
                      <a:pt x="330825" y="43854"/>
                    </a:cubicBezTo>
                    <a:cubicBezTo>
                      <a:pt x="328887" y="47317"/>
                      <a:pt x="326760" y="50675"/>
                      <a:pt x="324462" y="53913"/>
                    </a:cubicBezTo>
                    <a:cubicBezTo>
                      <a:pt x="319144" y="61410"/>
                      <a:pt x="313826" y="68813"/>
                      <a:pt x="308318" y="76120"/>
                    </a:cubicBezTo>
                    <a:cubicBezTo>
                      <a:pt x="293285" y="96227"/>
                      <a:pt x="279544" y="117275"/>
                      <a:pt x="267199" y="139134"/>
                    </a:cubicBezTo>
                    <a:cubicBezTo>
                      <a:pt x="259317" y="153085"/>
                      <a:pt x="250010" y="166086"/>
                      <a:pt x="241464" y="179562"/>
                    </a:cubicBezTo>
                    <a:cubicBezTo>
                      <a:pt x="237095" y="186300"/>
                      <a:pt x="232727" y="193038"/>
                      <a:pt x="228643" y="199776"/>
                    </a:cubicBezTo>
                    <a:cubicBezTo>
                      <a:pt x="222946" y="209266"/>
                      <a:pt x="217723" y="218756"/>
                      <a:pt x="211835" y="227677"/>
                    </a:cubicBezTo>
                    <a:cubicBezTo>
                      <a:pt x="205187" y="237639"/>
                      <a:pt x="199157" y="248003"/>
                      <a:pt x="193792" y="258710"/>
                    </a:cubicBezTo>
                    <a:cubicBezTo>
                      <a:pt x="191750" y="262793"/>
                      <a:pt x="189366" y="266697"/>
                      <a:pt x="186669" y="270382"/>
                    </a:cubicBezTo>
                    <a:cubicBezTo>
                      <a:pt x="161779" y="305941"/>
                      <a:pt x="140887" y="344132"/>
                      <a:pt x="124373" y="384264"/>
                    </a:cubicBezTo>
                    <a:cubicBezTo>
                      <a:pt x="114877" y="406376"/>
                      <a:pt x="104905" y="428013"/>
                      <a:pt x="94460" y="449556"/>
                    </a:cubicBezTo>
                    <a:cubicBezTo>
                      <a:pt x="84013" y="471098"/>
                      <a:pt x="73472" y="491407"/>
                      <a:pt x="65400" y="513424"/>
                    </a:cubicBezTo>
                    <a:cubicBezTo>
                      <a:pt x="62409" y="522744"/>
                      <a:pt x="55458" y="530276"/>
                      <a:pt x="46407" y="534018"/>
                    </a:cubicBezTo>
                    <a:cubicBezTo>
                      <a:pt x="42229" y="535726"/>
                      <a:pt x="38146" y="537814"/>
                      <a:pt x="33872" y="539332"/>
                    </a:cubicBezTo>
                    <a:cubicBezTo>
                      <a:pt x="26608" y="542027"/>
                      <a:pt x="18460" y="538896"/>
                      <a:pt x="14880" y="532025"/>
                    </a:cubicBezTo>
                    <a:cubicBezTo>
                      <a:pt x="12885" y="527944"/>
                      <a:pt x="10986" y="523768"/>
                      <a:pt x="8992" y="519688"/>
                    </a:cubicBezTo>
                    <a:cubicBezTo>
                      <a:pt x="8232" y="518169"/>
                      <a:pt x="7567" y="516081"/>
                      <a:pt x="6333" y="515417"/>
                    </a:cubicBezTo>
                    <a:cubicBezTo>
                      <a:pt x="-2119" y="511336"/>
                      <a:pt x="-125" y="504693"/>
                      <a:pt x="1205" y="497765"/>
                    </a:cubicBezTo>
                    <a:cubicBezTo>
                      <a:pt x="4405" y="482712"/>
                      <a:pt x="8564" y="467877"/>
                      <a:pt x="13645" y="453352"/>
                    </a:cubicBezTo>
                    <a:cubicBezTo>
                      <a:pt x="21147" y="431145"/>
                      <a:pt x="29884" y="409413"/>
                      <a:pt x="39190" y="387965"/>
                    </a:cubicBezTo>
                    <a:cubicBezTo>
                      <a:pt x="55904" y="349182"/>
                      <a:pt x="74394" y="311221"/>
                      <a:pt x="94649" y="274084"/>
                    </a:cubicBezTo>
                    <a:cubicBezTo>
                      <a:pt x="100262" y="263406"/>
                      <a:pt x="106605" y="253131"/>
                      <a:pt x="113642" y="243336"/>
                    </a:cubicBezTo>
                    <a:cubicBezTo>
                      <a:pt x="115465" y="241119"/>
                      <a:pt x="116966" y="238660"/>
                      <a:pt x="118105" y="236028"/>
                    </a:cubicBezTo>
                    <a:cubicBezTo>
                      <a:pt x="123689" y="224209"/>
                      <a:pt x="130299" y="212905"/>
                      <a:pt x="137858" y="202243"/>
                    </a:cubicBezTo>
                    <a:cubicBezTo>
                      <a:pt x="144410" y="190191"/>
                      <a:pt x="151438" y="178423"/>
                      <a:pt x="158370" y="166656"/>
                    </a:cubicBezTo>
                    <a:cubicBezTo>
                      <a:pt x="165303" y="154888"/>
                      <a:pt x="171855" y="144164"/>
                      <a:pt x="178882" y="132966"/>
                    </a:cubicBezTo>
                    <a:cubicBezTo>
                      <a:pt x="204057" y="92150"/>
                      <a:pt x="231711" y="52914"/>
                      <a:pt x="261691" y="15478"/>
                    </a:cubicBezTo>
                    <a:cubicBezTo>
                      <a:pt x="264521" y="11877"/>
                      <a:pt x="267531" y="8424"/>
                      <a:pt x="270713" y="5134"/>
                    </a:cubicBezTo>
                    <a:cubicBezTo>
                      <a:pt x="274369" y="1382"/>
                      <a:pt x="279554" y="-475"/>
                      <a:pt x="284767" y="104"/>
                    </a:cubicBezTo>
                    <a:cubicBezTo>
                      <a:pt x="287046" y="166"/>
                      <a:pt x="289316" y="516"/>
                      <a:pt x="291510" y="1148"/>
                    </a:cubicBezTo>
                    <a:cubicBezTo>
                      <a:pt x="302240" y="4659"/>
                      <a:pt x="312971" y="8361"/>
                      <a:pt x="323513" y="11967"/>
                    </a:cubicBezTo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  <p:sp>
            <p:nvSpPr>
              <p:cNvPr id="25" name="Freeform 24">
                <a:extLst>
                  <a:ext uri="{FF2B5EF4-FFF2-40B4-BE49-F238E27FC236}">
                    <a16:creationId xmlns:a16="http://schemas.microsoft.com/office/drawing/2014/main" id="{CD3E794B-9F88-A81E-94EC-E71F825C353E}"/>
                  </a:ext>
                </a:extLst>
              </p:cNvPr>
              <p:cNvSpPr/>
              <p:nvPr/>
            </p:nvSpPr>
            <p:spPr>
              <a:xfrm>
                <a:off x="5588240" y="-82064"/>
                <a:ext cx="97217" cy="64492"/>
              </a:xfrm>
              <a:custGeom>
                <a:avLst/>
                <a:gdLst>
                  <a:gd name="connsiteX0" fmla="*/ 25057 w 97217"/>
                  <a:gd name="connsiteY0" fmla="*/ 0 h 64492"/>
                  <a:gd name="connsiteX1" fmla="*/ 35788 w 97217"/>
                  <a:gd name="connsiteY1" fmla="*/ 1613 h 64492"/>
                  <a:gd name="connsiteX2" fmla="*/ 57724 w 97217"/>
                  <a:gd name="connsiteY2" fmla="*/ 3227 h 64492"/>
                  <a:gd name="connsiteX3" fmla="*/ 76717 w 97217"/>
                  <a:gd name="connsiteY3" fmla="*/ 8731 h 64492"/>
                  <a:gd name="connsiteX4" fmla="*/ 94760 w 97217"/>
                  <a:gd name="connsiteY4" fmla="*/ 28850 h 64492"/>
                  <a:gd name="connsiteX5" fmla="*/ 94760 w 97217"/>
                  <a:gd name="connsiteY5" fmla="*/ 44888 h 64492"/>
                  <a:gd name="connsiteX6" fmla="*/ 80041 w 97217"/>
                  <a:gd name="connsiteY6" fmla="*/ 61401 h 64492"/>
                  <a:gd name="connsiteX7" fmla="*/ 70544 w 97217"/>
                  <a:gd name="connsiteY7" fmla="*/ 64438 h 64492"/>
                  <a:gd name="connsiteX8" fmla="*/ 46993 w 97217"/>
                  <a:gd name="connsiteY8" fmla="*/ 60642 h 64492"/>
                  <a:gd name="connsiteX9" fmla="*/ 13186 w 97217"/>
                  <a:gd name="connsiteY9" fmla="*/ 38909 h 64492"/>
                  <a:gd name="connsiteX10" fmla="*/ 1126 w 97217"/>
                  <a:gd name="connsiteY10" fmla="*/ 18316 h 64492"/>
                  <a:gd name="connsiteX11" fmla="*/ 6472 w 97217"/>
                  <a:gd name="connsiteY11" fmla="*/ 3123 h 64492"/>
                  <a:gd name="connsiteX12" fmla="*/ 8913 w 97217"/>
                  <a:gd name="connsiteY12" fmla="*/ 2278 h 64492"/>
                  <a:gd name="connsiteX13" fmla="*/ 17270 w 97217"/>
                  <a:gd name="connsiteY13" fmla="*/ 569 h 64492"/>
                  <a:gd name="connsiteX14" fmla="*/ 25152 w 97217"/>
                  <a:gd name="connsiteY14" fmla="*/ 0 h 64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7217" h="64492">
                    <a:moveTo>
                      <a:pt x="25057" y="0"/>
                    </a:moveTo>
                    <a:cubicBezTo>
                      <a:pt x="28665" y="335"/>
                      <a:pt x="32245" y="873"/>
                      <a:pt x="35788" y="1613"/>
                    </a:cubicBezTo>
                    <a:cubicBezTo>
                      <a:pt x="42910" y="3665"/>
                      <a:pt x="50383" y="4214"/>
                      <a:pt x="57724" y="3227"/>
                    </a:cubicBezTo>
                    <a:cubicBezTo>
                      <a:pt x="64524" y="2611"/>
                      <a:pt x="71304" y="4576"/>
                      <a:pt x="76717" y="8731"/>
                    </a:cubicBezTo>
                    <a:cubicBezTo>
                      <a:pt x="84314" y="13832"/>
                      <a:pt x="90515" y="20747"/>
                      <a:pt x="94760" y="28850"/>
                    </a:cubicBezTo>
                    <a:cubicBezTo>
                      <a:pt x="98036" y="33696"/>
                      <a:pt x="98036" y="40043"/>
                      <a:pt x="94760" y="44888"/>
                    </a:cubicBezTo>
                    <a:cubicBezTo>
                      <a:pt x="90810" y="51175"/>
                      <a:pt x="85834" y="56757"/>
                      <a:pt x="80041" y="61401"/>
                    </a:cubicBezTo>
                    <a:cubicBezTo>
                      <a:pt x="77420" y="63662"/>
                      <a:pt x="73991" y="64759"/>
                      <a:pt x="70544" y="64438"/>
                    </a:cubicBezTo>
                    <a:cubicBezTo>
                      <a:pt x="62662" y="63299"/>
                      <a:pt x="54685" y="62445"/>
                      <a:pt x="46993" y="60642"/>
                    </a:cubicBezTo>
                    <a:cubicBezTo>
                      <a:pt x="33556" y="57503"/>
                      <a:pt x="21619" y="49828"/>
                      <a:pt x="13186" y="38909"/>
                    </a:cubicBezTo>
                    <a:cubicBezTo>
                      <a:pt x="8334" y="32564"/>
                      <a:pt x="4288" y="25648"/>
                      <a:pt x="1126" y="18316"/>
                    </a:cubicBezTo>
                    <a:cubicBezTo>
                      <a:pt x="-1600" y="12645"/>
                      <a:pt x="793" y="5843"/>
                      <a:pt x="6472" y="3123"/>
                    </a:cubicBezTo>
                    <a:cubicBezTo>
                      <a:pt x="7251" y="2749"/>
                      <a:pt x="8068" y="2466"/>
                      <a:pt x="8913" y="2278"/>
                    </a:cubicBezTo>
                    <a:cubicBezTo>
                      <a:pt x="11657" y="1508"/>
                      <a:pt x="14449" y="937"/>
                      <a:pt x="17270" y="569"/>
                    </a:cubicBezTo>
                    <a:cubicBezTo>
                      <a:pt x="19454" y="569"/>
                      <a:pt x="21733" y="569"/>
                      <a:pt x="25152" y="0"/>
                    </a:cubicBezTo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4939531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160200" y="6507857"/>
            <a:ext cx="479555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800" kern="1200" smtClean="0">
                <a:solidFill>
                  <a:schemeClr val="tx1"/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B08A0162-956C-224E-ADBF-0DF0AFBE953D}"/>
              </a:ext>
            </a:extLst>
          </p:cNvPr>
          <p:cNvSpPr>
            <a:spLocks noChangeArrowheads="1"/>
          </p:cNvSpPr>
          <p:nvPr/>
        </p:nvSpPr>
        <p:spPr bwMode="black">
          <a:xfrm>
            <a:off x="7799900" y="6595873"/>
            <a:ext cx="3392613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marL="0" marR="0" lvl="0" indent="0" algn="r" defTabSz="81430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charset="0"/>
                <a:cs typeface="CiscoSansTT Light" panose="020B0503020201020303" pitchFamily="34" charset="0"/>
              </a:rPr>
              <a:t>© 2023  Cisco and/or its affiliates. All rights reserved.   Cisco Public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19F5567-0BEE-A94D-AE98-D5B36FA26AAF}"/>
              </a:ext>
            </a:extLst>
          </p:cNvPr>
          <p:cNvSpPr txBox="1"/>
          <p:nvPr/>
        </p:nvSpPr>
        <p:spPr>
          <a:xfrm>
            <a:off x="5659022" y="6577313"/>
            <a:ext cx="873957" cy="256545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lvl="0" algn="ctr">
              <a:defRPr/>
            </a:pPr>
            <a:r>
              <a:rPr lang="en-US" sz="1067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rPr>
              <a:t>#CiscoLive</a:t>
            </a:r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E58FCF22-B404-B74C-9976-36DCA67D065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6583332" y="6616600"/>
            <a:ext cx="1216569" cy="185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800" dirty="0">
                <a:solidFill>
                  <a:schemeClr val="tx1"/>
                </a:solidFill>
                <a:latin typeface="+mn-lt"/>
                <a:cs typeface="CiscoSans Thin"/>
              </a:defRPr>
            </a:lvl1pPr>
          </a:lstStyle>
          <a:p>
            <a:pPr defTabSz="814305"/>
            <a:r>
              <a:rPr lang="en-GB"/>
              <a:t>Session ID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EB33D21-E31D-D84A-9F9B-D0E0060610B2}"/>
              </a:ext>
            </a:extLst>
          </p:cNvPr>
          <p:cNvGrpSpPr/>
          <p:nvPr/>
        </p:nvGrpSpPr>
        <p:grpSpPr>
          <a:xfrm>
            <a:off x="715224" y="6381263"/>
            <a:ext cx="1341120" cy="365592"/>
            <a:chOff x="536418" y="4785947"/>
            <a:chExt cx="1005840" cy="274194"/>
          </a:xfrm>
        </p:grpSpPr>
        <p:grpSp>
          <p:nvGrpSpPr>
            <p:cNvPr id="12" name="Group 11">
              <a:extLst>
                <a:ext uri="{FF2B5EF4-FFF2-40B4-BE49-F238E27FC236}">
                  <a16:creationId xmlns:a16="http://schemas.microsoft.com/office/drawing/2014/main" id="{EC59DD41-7D94-1D4D-9F71-6795B0FE72A9}"/>
                </a:ext>
              </a:extLst>
            </p:cNvPr>
            <p:cNvGrpSpPr/>
            <p:nvPr/>
          </p:nvGrpSpPr>
          <p:grpSpPr>
            <a:xfrm>
              <a:off x="536418" y="4930673"/>
              <a:ext cx="386220" cy="86649"/>
              <a:chOff x="2826390" y="-407669"/>
              <a:chExt cx="1216132" cy="272841"/>
            </a:xfrm>
            <a:solidFill>
              <a:schemeClr val="bg1"/>
            </a:solidFill>
          </p:grpSpPr>
          <p:sp>
            <p:nvSpPr>
              <p:cNvPr id="19" name="Freeform 18">
                <a:extLst>
                  <a:ext uri="{FF2B5EF4-FFF2-40B4-BE49-F238E27FC236}">
                    <a16:creationId xmlns:a16="http://schemas.microsoft.com/office/drawing/2014/main" id="{41DAF5A3-6C61-5F42-BC38-91D7B2C4E4C3}"/>
                  </a:ext>
                </a:extLst>
              </p:cNvPr>
              <p:cNvSpPr/>
              <p:nvPr/>
            </p:nvSpPr>
            <p:spPr>
              <a:xfrm>
                <a:off x="3112516" y="-397325"/>
                <a:ext cx="68279" cy="250823"/>
              </a:xfrm>
              <a:custGeom>
                <a:avLst/>
                <a:gdLst>
                  <a:gd name="connsiteX0" fmla="*/ 0 w 68279"/>
                  <a:gd name="connsiteY0" fmla="*/ 0 h 250823"/>
                  <a:gd name="connsiteX1" fmla="*/ 68279 w 68279"/>
                  <a:gd name="connsiteY1" fmla="*/ 0 h 250823"/>
                  <a:gd name="connsiteX2" fmla="*/ 68279 w 68279"/>
                  <a:gd name="connsiteY2" fmla="*/ 250824 h 250823"/>
                  <a:gd name="connsiteX3" fmla="*/ 0 w 68279"/>
                  <a:gd name="connsiteY3" fmla="*/ 250824 h 250823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279" h="250823">
                    <a:moveTo>
                      <a:pt x="0" y="0"/>
                    </a:moveTo>
                    <a:lnTo>
                      <a:pt x="68279" y="0"/>
                    </a:lnTo>
                    <a:lnTo>
                      <a:pt x="68279" y="250824"/>
                    </a:lnTo>
                    <a:lnTo>
                      <a:pt x="0" y="250824"/>
                    </a:lnTo>
                    <a:close/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  <p:sp>
            <p:nvSpPr>
              <p:cNvPr id="20" name="Freeform 19">
                <a:extLst>
                  <a:ext uri="{FF2B5EF4-FFF2-40B4-BE49-F238E27FC236}">
                    <a16:creationId xmlns:a16="http://schemas.microsoft.com/office/drawing/2014/main" id="{279187B4-EB09-5A4D-AD03-EDE731A2EEC8}"/>
                  </a:ext>
                </a:extLst>
              </p:cNvPr>
              <p:cNvSpPr/>
              <p:nvPr/>
            </p:nvSpPr>
            <p:spPr>
              <a:xfrm>
                <a:off x="3505952" y="-406341"/>
                <a:ext cx="198569" cy="267051"/>
              </a:xfrm>
              <a:custGeom>
                <a:avLst/>
                <a:gdLst>
                  <a:gd name="connsiteX0" fmla="*/ 198570 w 198569"/>
                  <a:gd name="connsiteY0" fmla="*/ 77819 h 267051"/>
                  <a:gd name="connsiteX1" fmla="*/ 142541 w 198569"/>
                  <a:gd name="connsiteY1" fmla="*/ 64058 h 267051"/>
                  <a:gd name="connsiteX2" fmla="*/ 70653 w 198569"/>
                  <a:gd name="connsiteY2" fmla="*/ 132862 h 267051"/>
                  <a:gd name="connsiteX3" fmla="*/ 142826 w 198569"/>
                  <a:gd name="connsiteY3" fmla="*/ 201665 h 267051"/>
                  <a:gd name="connsiteX4" fmla="*/ 198570 w 198569"/>
                  <a:gd name="connsiteY4" fmla="*/ 188284 h 267051"/>
                  <a:gd name="connsiteX5" fmla="*/ 198570 w 198569"/>
                  <a:gd name="connsiteY5" fmla="*/ 257562 h 267051"/>
                  <a:gd name="connsiteX6" fmla="*/ 137983 w 198569"/>
                  <a:gd name="connsiteY6" fmla="*/ 267052 h 267051"/>
                  <a:gd name="connsiteX7" fmla="*/ 0 w 198569"/>
                  <a:gd name="connsiteY7" fmla="*/ 133526 h 267051"/>
                  <a:gd name="connsiteX8" fmla="*/ 138268 w 198569"/>
                  <a:gd name="connsiteY8" fmla="*/ 0 h 267051"/>
                  <a:gd name="connsiteX9" fmla="*/ 198570 w 198569"/>
                  <a:gd name="connsiteY9" fmla="*/ 9490 h 267051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8569" h="267051">
                    <a:moveTo>
                      <a:pt x="198570" y="77819"/>
                    </a:moveTo>
                    <a:cubicBezTo>
                      <a:pt x="181462" y="68304"/>
                      <a:pt x="162113" y="63552"/>
                      <a:pt x="142541" y="64058"/>
                    </a:cubicBezTo>
                    <a:cubicBezTo>
                      <a:pt x="100472" y="64058"/>
                      <a:pt x="70653" y="93383"/>
                      <a:pt x="70653" y="132862"/>
                    </a:cubicBezTo>
                    <a:cubicBezTo>
                      <a:pt x="70653" y="172340"/>
                      <a:pt x="99142" y="201665"/>
                      <a:pt x="142826" y="201665"/>
                    </a:cubicBezTo>
                    <a:cubicBezTo>
                      <a:pt x="162269" y="202249"/>
                      <a:pt x="181514" y="197630"/>
                      <a:pt x="198570" y="188284"/>
                    </a:cubicBezTo>
                    <a:lnTo>
                      <a:pt x="198570" y="257562"/>
                    </a:lnTo>
                    <a:cubicBezTo>
                      <a:pt x="178846" y="263222"/>
                      <a:pt x="158494" y="266409"/>
                      <a:pt x="137983" y="267052"/>
                    </a:cubicBezTo>
                    <a:cubicBezTo>
                      <a:pt x="64860" y="267052"/>
                      <a:pt x="0" y="216564"/>
                      <a:pt x="0" y="133526"/>
                    </a:cubicBezTo>
                    <a:cubicBezTo>
                      <a:pt x="0" y="56466"/>
                      <a:pt x="59068" y="0"/>
                      <a:pt x="138268" y="0"/>
                    </a:cubicBezTo>
                    <a:cubicBezTo>
                      <a:pt x="158679" y="710"/>
                      <a:pt x="178928" y="3897"/>
                      <a:pt x="198570" y="9490"/>
                    </a:cubicBezTo>
                    <a:close/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  <p:sp>
            <p:nvSpPr>
              <p:cNvPr id="21" name="Freeform 20">
                <a:extLst>
                  <a:ext uri="{FF2B5EF4-FFF2-40B4-BE49-F238E27FC236}">
                    <a16:creationId xmlns:a16="http://schemas.microsoft.com/office/drawing/2014/main" id="{276EE34B-36E1-F542-812B-DD499A3B6AE0}"/>
                  </a:ext>
                </a:extLst>
              </p:cNvPr>
              <p:cNvSpPr/>
              <p:nvPr/>
            </p:nvSpPr>
            <p:spPr>
              <a:xfrm>
                <a:off x="2826390" y="-407005"/>
                <a:ext cx="195055" cy="267716"/>
              </a:xfrm>
              <a:custGeom>
                <a:avLst/>
                <a:gdLst>
                  <a:gd name="connsiteX0" fmla="*/ 195056 w 195055"/>
                  <a:gd name="connsiteY0" fmla="*/ 78483 h 267716"/>
                  <a:gd name="connsiteX1" fmla="*/ 141401 w 195055"/>
                  <a:gd name="connsiteY1" fmla="*/ 64723 h 267716"/>
                  <a:gd name="connsiteX2" fmla="*/ 72552 w 195055"/>
                  <a:gd name="connsiteY2" fmla="*/ 133526 h 267716"/>
                  <a:gd name="connsiteX3" fmla="*/ 141401 w 195055"/>
                  <a:gd name="connsiteY3" fmla="*/ 202329 h 267716"/>
                  <a:gd name="connsiteX4" fmla="*/ 195056 w 195055"/>
                  <a:gd name="connsiteY4" fmla="*/ 188948 h 267716"/>
                  <a:gd name="connsiteX5" fmla="*/ 195056 w 195055"/>
                  <a:gd name="connsiteY5" fmla="*/ 258226 h 267716"/>
                  <a:gd name="connsiteX6" fmla="*/ 136748 w 195055"/>
                  <a:gd name="connsiteY6" fmla="*/ 267716 h 267716"/>
                  <a:gd name="connsiteX7" fmla="*/ 0 w 195055"/>
                  <a:gd name="connsiteY7" fmla="*/ 133526 h 267716"/>
                  <a:gd name="connsiteX8" fmla="*/ 136463 w 195055"/>
                  <a:gd name="connsiteY8" fmla="*/ 0 h 267716"/>
                  <a:gd name="connsiteX9" fmla="*/ 195056 w 195055"/>
                  <a:gd name="connsiteY9" fmla="*/ 9490 h 267716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</a:cxnLst>
                <a:rect l="l" t="t" r="r" b="b"/>
                <a:pathLst>
                  <a:path w="195055" h="267716">
                    <a:moveTo>
                      <a:pt x="195056" y="78483"/>
                    </a:moveTo>
                    <a:cubicBezTo>
                      <a:pt x="178900" y="68759"/>
                      <a:pt x="160247" y="63976"/>
                      <a:pt x="141401" y="64723"/>
                    </a:cubicBezTo>
                    <a:cubicBezTo>
                      <a:pt x="103377" y="64723"/>
                      <a:pt x="72552" y="95526"/>
                      <a:pt x="72552" y="133526"/>
                    </a:cubicBezTo>
                    <a:cubicBezTo>
                      <a:pt x="72552" y="171525"/>
                      <a:pt x="103377" y="202329"/>
                      <a:pt x="141401" y="202329"/>
                    </a:cubicBezTo>
                    <a:cubicBezTo>
                      <a:pt x="160194" y="203039"/>
                      <a:pt x="178801" y="198399"/>
                      <a:pt x="195056" y="188948"/>
                    </a:cubicBezTo>
                    <a:lnTo>
                      <a:pt x="195056" y="258226"/>
                    </a:lnTo>
                    <a:cubicBezTo>
                      <a:pt x="176125" y="263948"/>
                      <a:pt x="156518" y="267140"/>
                      <a:pt x="136748" y="267716"/>
                    </a:cubicBezTo>
                    <a:cubicBezTo>
                      <a:pt x="63626" y="267052"/>
                      <a:pt x="0" y="216564"/>
                      <a:pt x="0" y="133526"/>
                    </a:cubicBezTo>
                    <a:cubicBezTo>
                      <a:pt x="0" y="56087"/>
                      <a:pt x="56978" y="0"/>
                      <a:pt x="136463" y="0"/>
                    </a:cubicBezTo>
                    <a:cubicBezTo>
                      <a:pt x="167042" y="0"/>
                      <a:pt x="195056" y="7402"/>
                      <a:pt x="195056" y="9490"/>
                    </a:cubicBezTo>
                    <a:close/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  <p:sp>
            <p:nvSpPr>
              <p:cNvPr id="22" name="Freeform 21">
                <a:extLst>
                  <a:ext uri="{FF2B5EF4-FFF2-40B4-BE49-F238E27FC236}">
                    <a16:creationId xmlns:a16="http://schemas.microsoft.com/office/drawing/2014/main" id="{82260298-7378-834A-BBC9-5C7FE4C7A25A}"/>
                  </a:ext>
                </a:extLst>
              </p:cNvPr>
              <p:cNvSpPr/>
              <p:nvPr/>
            </p:nvSpPr>
            <p:spPr>
              <a:xfrm>
                <a:off x="3770165" y="-407058"/>
                <a:ext cx="272357" cy="272230"/>
              </a:xfrm>
              <a:custGeom>
                <a:avLst/>
                <a:gdLst>
                  <a:gd name="connsiteX0" fmla="*/ 272333 w 272357"/>
                  <a:gd name="connsiteY0" fmla="*/ 133579 h 272230"/>
                  <a:gd name="connsiteX1" fmla="*/ 138747 w 272357"/>
                  <a:gd name="connsiteY1" fmla="*/ 272206 h 272230"/>
                  <a:gd name="connsiteX2" fmla="*/ 25 w 272357"/>
                  <a:gd name="connsiteY2" fmla="*/ 138703 h 272230"/>
                  <a:gd name="connsiteX3" fmla="*/ 133619 w 272357"/>
                  <a:gd name="connsiteY3" fmla="*/ 77 h 272230"/>
                  <a:gd name="connsiteX4" fmla="*/ 136155 w 272357"/>
                  <a:gd name="connsiteY4" fmla="*/ 53 h 272230"/>
                  <a:gd name="connsiteX5" fmla="*/ 272285 w 272357"/>
                  <a:gd name="connsiteY5" fmla="*/ 128682 h 272230"/>
                  <a:gd name="connsiteX6" fmla="*/ 272333 w 272357"/>
                  <a:gd name="connsiteY6" fmla="*/ 133579 h 272230"/>
                  <a:gd name="connsiteX7" fmla="*/ 136155 w 272357"/>
                  <a:gd name="connsiteY7" fmla="*/ 65630 h 272230"/>
                  <a:gd name="connsiteX8" fmla="*/ 67591 w 272357"/>
                  <a:gd name="connsiteY8" fmla="*/ 132817 h 272230"/>
                  <a:gd name="connsiteX9" fmla="*/ 134825 w 272357"/>
                  <a:gd name="connsiteY9" fmla="*/ 201332 h 272230"/>
                  <a:gd name="connsiteX10" fmla="*/ 203389 w 272357"/>
                  <a:gd name="connsiteY10" fmla="*/ 134145 h 272230"/>
                  <a:gd name="connsiteX11" fmla="*/ 203389 w 272357"/>
                  <a:gd name="connsiteY11" fmla="*/ 133484 h 272230"/>
                  <a:gd name="connsiteX12" fmla="*/ 138358 w 272357"/>
                  <a:gd name="connsiteY12" fmla="*/ 65640 h 272230"/>
                  <a:gd name="connsiteX13" fmla="*/ 136155 w 272357"/>
                  <a:gd name="connsiteY13" fmla="*/ 65630 h 27223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</a:cxnLst>
                <a:rect l="l" t="t" r="r" b="b"/>
                <a:pathLst>
                  <a:path w="272357" h="272230">
                    <a:moveTo>
                      <a:pt x="272333" y="133579"/>
                    </a:moveTo>
                    <a:cubicBezTo>
                      <a:pt x="273748" y="208725"/>
                      <a:pt x="213940" y="270790"/>
                      <a:pt x="138747" y="272206"/>
                    </a:cubicBezTo>
                    <a:cubicBezTo>
                      <a:pt x="63545" y="273621"/>
                      <a:pt x="1441" y="213850"/>
                      <a:pt x="25" y="138703"/>
                    </a:cubicBezTo>
                    <a:cubicBezTo>
                      <a:pt x="-1391" y="63557"/>
                      <a:pt x="58417" y="1493"/>
                      <a:pt x="133619" y="77"/>
                    </a:cubicBezTo>
                    <a:cubicBezTo>
                      <a:pt x="134464" y="61"/>
                      <a:pt x="135309" y="53"/>
                      <a:pt x="136155" y="53"/>
                    </a:cubicBezTo>
                    <a:cubicBezTo>
                      <a:pt x="209286" y="-1994"/>
                      <a:pt x="270234" y="55595"/>
                      <a:pt x="272285" y="128682"/>
                    </a:cubicBezTo>
                    <a:cubicBezTo>
                      <a:pt x="272333" y="130313"/>
                      <a:pt x="272352" y="131946"/>
                      <a:pt x="272333" y="133579"/>
                    </a:cubicBezTo>
                    <a:moveTo>
                      <a:pt x="136155" y="65630"/>
                    </a:moveTo>
                    <a:cubicBezTo>
                      <a:pt x="98653" y="65262"/>
                      <a:pt x="67961" y="95343"/>
                      <a:pt x="67591" y="132817"/>
                    </a:cubicBezTo>
                    <a:cubicBezTo>
                      <a:pt x="67230" y="170289"/>
                      <a:pt x="97324" y="200965"/>
                      <a:pt x="134825" y="201332"/>
                    </a:cubicBezTo>
                    <a:cubicBezTo>
                      <a:pt x="172326" y="201699"/>
                      <a:pt x="203019" y="171618"/>
                      <a:pt x="203389" y="134145"/>
                    </a:cubicBezTo>
                    <a:cubicBezTo>
                      <a:pt x="203389" y="133924"/>
                      <a:pt x="203389" y="133704"/>
                      <a:pt x="203389" y="133484"/>
                    </a:cubicBezTo>
                    <a:cubicBezTo>
                      <a:pt x="204177" y="96804"/>
                      <a:pt x="175061" y="66429"/>
                      <a:pt x="138358" y="65640"/>
                    </a:cubicBezTo>
                    <a:cubicBezTo>
                      <a:pt x="137626" y="65625"/>
                      <a:pt x="136886" y="65621"/>
                      <a:pt x="136155" y="65630"/>
                    </a:cubicBezTo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  <p:sp>
            <p:nvSpPr>
              <p:cNvPr id="23" name="Freeform 22">
                <a:extLst>
                  <a:ext uri="{FF2B5EF4-FFF2-40B4-BE49-F238E27FC236}">
                    <a16:creationId xmlns:a16="http://schemas.microsoft.com/office/drawing/2014/main" id="{D56289EB-BD9F-AF46-B8C4-BAAB2E75C45D}"/>
                  </a:ext>
                </a:extLst>
              </p:cNvPr>
              <p:cNvSpPr/>
              <p:nvPr/>
            </p:nvSpPr>
            <p:spPr>
              <a:xfrm>
                <a:off x="3260565" y="-407669"/>
                <a:ext cx="181666" cy="267810"/>
              </a:xfrm>
              <a:custGeom>
                <a:avLst/>
                <a:gdLst>
                  <a:gd name="connsiteX0" fmla="*/ 159350 w 181666"/>
                  <a:gd name="connsiteY0" fmla="*/ 63868 h 267810"/>
                  <a:gd name="connsiteX1" fmla="*/ 110633 w 181666"/>
                  <a:gd name="connsiteY1" fmla="*/ 55992 h 267810"/>
                  <a:gd name="connsiteX2" fmla="*/ 71508 w 181666"/>
                  <a:gd name="connsiteY2" fmla="*/ 77155 h 267810"/>
                  <a:gd name="connsiteX3" fmla="*/ 101896 w 181666"/>
                  <a:gd name="connsiteY3" fmla="*/ 101639 h 267810"/>
                  <a:gd name="connsiteX4" fmla="*/ 120034 w 181666"/>
                  <a:gd name="connsiteY4" fmla="*/ 107428 h 267810"/>
                  <a:gd name="connsiteX5" fmla="*/ 181666 w 181666"/>
                  <a:gd name="connsiteY5" fmla="*/ 181166 h 267810"/>
                  <a:gd name="connsiteX6" fmla="*/ 72552 w 181666"/>
                  <a:gd name="connsiteY6" fmla="*/ 267811 h 267810"/>
                  <a:gd name="connsiteX7" fmla="*/ 0 w 181666"/>
                  <a:gd name="connsiteY7" fmla="*/ 260693 h 267810"/>
                  <a:gd name="connsiteX8" fmla="*/ 0 w 181666"/>
                  <a:gd name="connsiteY8" fmla="*/ 201380 h 267810"/>
                  <a:gd name="connsiteX9" fmla="*/ 63816 w 181666"/>
                  <a:gd name="connsiteY9" fmla="*/ 210870 h 267810"/>
                  <a:gd name="connsiteX10" fmla="*/ 112342 w 181666"/>
                  <a:gd name="connsiteY10" fmla="*/ 186765 h 267810"/>
                  <a:gd name="connsiteX11" fmla="*/ 83853 w 181666"/>
                  <a:gd name="connsiteY11" fmla="*/ 161047 h 267810"/>
                  <a:gd name="connsiteX12" fmla="*/ 70273 w 181666"/>
                  <a:gd name="connsiteY12" fmla="*/ 156587 h 267810"/>
                  <a:gd name="connsiteX13" fmla="*/ 3799 w 181666"/>
                  <a:gd name="connsiteY13" fmla="*/ 80666 h 267810"/>
                  <a:gd name="connsiteX14" fmla="*/ 97718 w 181666"/>
                  <a:gd name="connsiteY14" fmla="*/ 0 h 267810"/>
                  <a:gd name="connsiteX15" fmla="*/ 159350 w 181666"/>
                  <a:gd name="connsiteY15" fmla="*/ 9300 h 26781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</a:cxnLst>
                <a:rect l="l" t="t" r="r" b="b"/>
                <a:pathLst>
                  <a:path w="181666" h="267810">
                    <a:moveTo>
                      <a:pt x="159350" y="63868"/>
                    </a:moveTo>
                    <a:cubicBezTo>
                      <a:pt x="143531" y="59099"/>
                      <a:pt x="127149" y="56450"/>
                      <a:pt x="110633" y="55992"/>
                    </a:cubicBezTo>
                    <a:cubicBezTo>
                      <a:pt x="84613" y="55992"/>
                      <a:pt x="71508" y="64723"/>
                      <a:pt x="71508" y="77155"/>
                    </a:cubicBezTo>
                    <a:cubicBezTo>
                      <a:pt x="71508" y="92813"/>
                      <a:pt x="91165" y="98318"/>
                      <a:pt x="101896" y="101639"/>
                    </a:cubicBezTo>
                    <a:lnTo>
                      <a:pt x="120034" y="107428"/>
                    </a:lnTo>
                    <a:cubicBezTo>
                      <a:pt x="162293" y="120809"/>
                      <a:pt x="181666" y="149754"/>
                      <a:pt x="181666" y="181166"/>
                    </a:cubicBezTo>
                    <a:cubicBezTo>
                      <a:pt x="181666" y="245984"/>
                      <a:pt x="122314" y="267811"/>
                      <a:pt x="72552" y="267811"/>
                    </a:cubicBezTo>
                    <a:cubicBezTo>
                      <a:pt x="48241" y="266988"/>
                      <a:pt x="24007" y="264611"/>
                      <a:pt x="0" y="260693"/>
                    </a:cubicBezTo>
                    <a:lnTo>
                      <a:pt x="0" y="201380"/>
                    </a:lnTo>
                    <a:cubicBezTo>
                      <a:pt x="20921" y="206563"/>
                      <a:pt x="42290" y="209741"/>
                      <a:pt x="63816" y="210870"/>
                    </a:cubicBezTo>
                    <a:cubicBezTo>
                      <a:pt x="96198" y="210870"/>
                      <a:pt x="112342" y="201380"/>
                      <a:pt x="112342" y="186765"/>
                    </a:cubicBezTo>
                    <a:cubicBezTo>
                      <a:pt x="112342" y="173669"/>
                      <a:pt x="100092" y="166172"/>
                      <a:pt x="83853" y="161047"/>
                    </a:cubicBezTo>
                    <a:lnTo>
                      <a:pt x="70273" y="156587"/>
                    </a:lnTo>
                    <a:cubicBezTo>
                      <a:pt x="34092" y="145104"/>
                      <a:pt x="3799" y="123846"/>
                      <a:pt x="3799" y="80666"/>
                    </a:cubicBezTo>
                    <a:cubicBezTo>
                      <a:pt x="3799" y="32361"/>
                      <a:pt x="37796" y="0"/>
                      <a:pt x="97718" y="0"/>
                    </a:cubicBezTo>
                    <a:cubicBezTo>
                      <a:pt x="118590" y="278"/>
                      <a:pt x="139326" y="3407"/>
                      <a:pt x="159350" y="9300"/>
                    </a:cubicBezTo>
                    <a:close/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</p:grpSp>
        <p:grpSp>
          <p:nvGrpSpPr>
            <p:cNvPr id="13" name="Group 12">
              <a:extLst>
                <a:ext uri="{FF2B5EF4-FFF2-40B4-BE49-F238E27FC236}">
                  <a16:creationId xmlns:a16="http://schemas.microsoft.com/office/drawing/2014/main" id="{0A2CD127-00B8-F248-BAB2-AC7002EBCC17}"/>
                </a:ext>
              </a:extLst>
            </p:cNvPr>
            <p:cNvGrpSpPr/>
            <p:nvPr/>
          </p:nvGrpSpPr>
          <p:grpSpPr>
            <a:xfrm>
              <a:off x="968312" y="4785947"/>
              <a:ext cx="573946" cy="274194"/>
              <a:chOff x="4186345" y="-863385"/>
              <a:chExt cx="1807247" cy="863385"/>
            </a:xfrm>
            <a:solidFill>
              <a:schemeClr val="accent1"/>
            </a:solidFill>
          </p:grpSpPr>
          <p:sp>
            <p:nvSpPr>
              <p:cNvPr id="14" name="Freeform 13">
                <a:extLst>
                  <a:ext uri="{FF2B5EF4-FFF2-40B4-BE49-F238E27FC236}">
                    <a16:creationId xmlns:a16="http://schemas.microsoft.com/office/drawing/2014/main" id="{85DDE2FB-3F3A-3D4A-9153-C46D08E342EE}"/>
                  </a:ext>
                </a:extLst>
              </p:cNvPr>
              <p:cNvSpPr/>
              <p:nvPr/>
            </p:nvSpPr>
            <p:spPr>
              <a:xfrm>
                <a:off x="4186345" y="-863385"/>
                <a:ext cx="1196080" cy="863385"/>
              </a:xfrm>
              <a:custGeom>
                <a:avLst/>
                <a:gdLst>
                  <a:gd name="connsiteX0" fmla="*/ 748245 w 1196080"/>
                  <a:gd name="connsiteY0" fmla="*/ 709196 h 863385"/>
                  <a:gd name="connsiteX1" fmla="*/ 745016 w 1196080"/>
                  <a:gd name="connsiteY1" fmla="*/ 709196 h 863385"/>
                  <a:gd name="connsiteX2" fmla="*/ 735520 w 1196080"/>
                  <a:gd name="connsiteY2" fmla="*/ 716883 h 863385"/>
                  <a:gd name="connsiteX3" fmla="*/ 698389 w 1196080"/>
                  <a:gd name="connsiteY3" fmla="*/ 747156 h 863385"/>
                  <a:gd name="connsiteX4" fmla="*/ 669900 w 1196080"/>
                  <a:gd name="connsiteY4" fmla="*/ 765567 h 863385"/>
                  <a:gd name="connsiteX5" fmla="*/ 620708 w 1196080"/>
                  <a:gd name="connsiteY5" fmla="*/ 781321 h 863385"/>
                  <a:gd name="connsiteX6" fmla="*/ 538754 w 1196080"/>
                  <a:gd name="connsiteY6" fmla="*/ 735673 h 863385"/>
                  <a:gd name="connsiteX7" fmla="*/ 530872 w 1196080"/>
                  <a:gd name="connsiteY7" fmla="*/ 690975 h 863385"/>
                  <a:gd name="connsiteX8" fmla="*/ 544642 w 1196080"/>
                  <a:gd name="connsiteY8" fmla="*/ 639823 h 863385"/>
                  <a:gd name="connsiteX9" fmla="*/ 550910 w 1196080"/>
                  <a:gd name="connsiteY9" fmla="*/ 623880 h 863385"/>
                  <a:gd name="connsiteX10" fmla="*/ 549865 w 1196080"/>
                  <a:gd name="connsiteY10" fmla="*/ 620938 h 863385"/>
                  <a:gd name="connsiteX11" fmla="*/ 548251 w 1196080"/>
                  <a:gd name="connsiteY11" fmla="*/ 620938 h 863385"/>
                  <a:gd name="connsiteX12" fmla="*/ 534006 w 1196080"/>
                  <a:gd name="connsiteY12" fmla="*/ 630428 h 863385"/>
                  <a:gd name="connsiteX13" fmla="*/ 516628 w 1196080"/>
                  <a:gd name="connsiteY13" fmla="*/ 643904 h 863385"/>
                  <a:gd name="connsiteX14" fmla="*/ 498680 w 1196080"/>
                  <a:gd name="connsiteY14" fmla="*/ 656905 h 863385"/>
                  <a:gd name="connsiteX15" fmla="*/ 412167 w 1196080"/>
                  <a:gd name="connsiteY15" fmla="*/ 712423 h 863385"/>
                  <a:gd name="connsiteX16" fmla="*/ 407704 w 1196080"/>
                  <a:gd name="connsiteY16" fmla="*/ 715080 h 863385"/>
                  <a:gd name="connsiteX17" fmla="*/ 332967 w 1196080"/>
                  <a:gd name="connsiteY17" fmla="*/ 760158 h 863385"/>
                  <a:gd name="connsiteX18" fmla="*/ 281592 w 1196080"/>
                  <a:gd name="connsiteY18" fmla="*/ 794227 h 863385"/>
                  <a:gd name="connsiteX19" fmla="*/ 261080 w 1196080"/>
                  <a:gd name="connsiteY19" fmla="*/ 806659 h 863385"/>
                  <a:gd name="connsiteX20" fmla="*/ 211224 w 1196080"/>
                  <a:gd name="connsiteY20" fmla="*/ 833042 h 863385"/>
                  <a:gd name="connsiteX21" fmla="*/ 206855 w 1196080"/>
                  <a:gd name="connsiteY21" fmla="*/ 835794 h 863385"/>
                  <a:gd name="connsiteX22" fmla="*/ 145888 w 1196080"/>
                  <a:gd name="connsiteY22" fmla="*/ 858096 h 863385"/>
                  <a:gd name="connsiteX23" fmla="*/ 119109 w 1196080"/>
                  <a:gd name="connsiteY23" fmla="*/ 863315 h 863385"/>
                  <a:gd name="connsiteX24" fmla="*/ 98596 w 1196080"/>
                  <a:gd name="connsiteY24" fmla="*/ 862082 h 863385"/>
                  <a:gd name="connsiteX25" fmla="*/ 70962 w 1196080"/>
                  <a:gd name="connsiteY25" fmla="*/ 853541 h 863385"/>
                  <a:gd name="connsiteX26" fmla="*/ 12844 w 1196080"/>
                  <a:gd name="connsiteY26" fmla="*/ 799162 h 863385"/>
                  <a:gd name="connsiteX27" fmla="*/ 2778 w 1196080"/>
                  <a:gd name="connsiteY27" fmla="*/ 773824 h 863385"/>
                  <a:gd name="connsiteX28" fmla="*/ 2778 w 1196080"/>
                  <a:gd name="connsiteY28" fmla="*/ 724665 h 863385"/>
                  <a:gd name="connsiteX29" fmla="*/ 15313 w 1196080"/>
                  <a:gd name="connsiteY29" fmla="*/ 685566 h 863385"/>
                  <a:gd name="connsiteX30" fmla="*/ 51494 w 1196080"/>
                  <a:gd name="connsiteY30" fmla="*/ 606038 h 863385"/>
                  <a:gd name="connsiteX31" fmla="*/ 53773 w 1196080"/>
                  <a:gd name="connsiteY31" fmla="*/ 601388 h 863385"/>
                  <a:gd name="connsiteX32" fmla="*/ 83497 w 1196080"/>
                  <a:gd name="connsiteY32" fmla="*/ 543499 h 863385"/>
                  <a:gd name="connsiteX33" fmla="*/ 119014 w 1196080"/>
                  <a:gd name="connsiteY33" fmla="*/ 480959 h 863385"/>
                  <a:gd name="connsiteX34" fmla="*/ 174852 w 1196080"/>
                  <a:gd name="connsiteY34" fmla="*/ 386058 h 863385"/>
                  <a:gd name="connsiteX35" fmla="*/ 188147 w 1196080"/>
                  <a:gd name="connsiteY35" fmla="*/ 362048 h 863385"/>
                  <a:gd name="connsiteX36" fmla="*/ 194985 w 1196080"/>
                  <a:gd name="connsiteY36" fmla="*/ 350185 h 863385"/>
                  <a:gd name="connsiteX37" fmla="*/ 214737 w 1196080"/>
                  <a:gd name="connsiteY37" fmla="*/ 318109 h 863385"/>
                  <a:gd name="connsiteX38" fmla="*/ 243227 w 1196080"/>
                  <a:gd name="connsiteY38" fmla="*/ 270658 h 863385"/>
                  <a:gd name="connsiteX39" fmla="*/ 265448 w 1196080"/>
                  <a:gd name="connsiteY39" fmla="*/ 232033 h 863385"/>
                  <a:gd name="connsiteX40" fmla="*/ 278268 w 1196080"/>
                  <a:gd name="connsiteY40" fmla="*/ 211819 h 863385"/>
                  <a:gd name="connsiteX41" fmla="*/ 349396 w 1196080"/>
                  <a:gd name="connsiteY41" fmla="*/ 75921 h 863385"/>
                  <a:gd name="connsiteX42" fmla="*/ 367724 w 1196080"/>
                  <a:gd name="connsiteY42" fmla="*/ 13476 h 863385"/>
                  <a:gd name="connsiteX43" fmla="*/ 369054 w 1196080"/>
                  <a:gd name="connsiteY43" fmla="*/ 6738 h 863385"/>
                  <a:gd name="connsiteX44" fmla="*/ 377885 w 1196080"/>
                  <a:gd name="connsiteY44" fmla="*/ 0 h 863385"/>
                  <a:gd name="connsiteX45" fmla="*/ 420049 w 1196080"/>
                  <a:gd name="connsiteY45" fmla="*/ 19834 h 863385"/>
                  <a:gd name="connsiteX46" fmla="*/ 428311 w 1196080"/>
                  <a:gd name="connsiteY46" fmla="*/ 41946 h 863385"/>
                  <a:gd name="connsiteX47" fmla="*/ 428311 w 1196080"/>
                  <a:gd name="connsiteY47" fmla="*/ 52196 h 863385"/>
                  <a:gd name="connsiteX48" fmla="*/ 429546 w 1196080"/>
                  <a:gd name="connsiteY48" fmla="*/ 57036 h 863385"/>
                  <a:gd name="connsiteX49" fmla="*/ 432015 w 1196080"/>
                  <a:gd name="connsiteY49" fmla="*/ 74972 h 863385"/>
                  <a:gd name="connsiteX50" fmla="*/ 422993 w 1196080"/>
                  <a:gd name="connsiteY50" fmla="*/ 97084 h 863385"/>
                  <a:gd name="connsiteX51" fmla="*/ 419480 w 1196080"/>
                  <a:gd name="connsiteY51" fmla="*/ 106574 h 863385"/>
                  <a:gd name="connsiteX52" fmla="*/ 414921 w 1196080"/>
                  <a:gd name="connsiteY52" fmla="*/ 115115 h 863385"/>
                  <a:gd name="connsiteX53" fmla="*/ 409508 w 1196080"/>
                  <a:gd name="connsiteY53" fmla="*/ 123561 h 863385"/>
                  <a:gd name="connsiteX54" fmla="*/ 394504 w 1196080"/>
                  <a:gd name="connsiteY54" fmla="*/ 161522 h 863385"/>
                  <a:gd name="connsiteX55" fmla="*/ 355759 w 1196080"/>
                  <a:gd name="connsiteY55" fmla="*/ 234026 h 863385"/>
                  <a:gd name="connsiteX56" fmla="*/ 347782 w 1196080"/>
                  <a:gd name="connsiteY56" fmla="*/ 249210 h 863385"/>
                  <a:gd name="connsiteX57" fmla="*/ 338285 w 1196080"/>
                  <a:gd name="connsiteY57" fmla="*/ 263256 h 863385"/>
                  <a:gd name="connsiteX58" fmla="*/ 325845 w 1196080"/>
                  <a:gd name="connsiteY58" fmla="*/ 285747 h 863385"/>
                  <a:gd name="connsiteX59" fmla="*/ 273805 w 1196080"/>
                  <a:gd name="connsiteY59" fmla="*/ 372392 h 863385"/>
                  <a:gd name="connsiteX60" fmla="*/ 241327 w 1196080"/>
                  <a:gd name="connsiteY60" fmla="*/ 426865 h 863385"/>
                  <a:gd name="connsiteX61" fmla="*/ 212838 w 1196080"/>
                  <a:gd name="connsiteY61" fmla="*/ 475834 h 863385"/>
                  <a:gd name="connsiteX62" fmla="*/ 203816 w 1196080"/>
                  <a:gd name="connsiteY62" fmla="*/ 490354 h 863385"/>
                  <a:gd name="connsiteX63" fmla="*/ 171624 w 1196080"/>
                  <a:gd name="connsiteY63" fmla="*/ 546725 h 863385"/>
                  <a:gd name="connsiteX64" fmla="*/ 169914 w 1196080"/>
                  <a:gd name="connsiteY64" fmla="*/ 549762 h 863385"/>
                  <a:gd name="connsiteX65" fmla="*/ 145603 w 1196080"/>
                  <a:gd name="connsiteY65" fmla="*/ 593037 h 863385"/>
                  <a:gd name="connsiteX66" fmla="*/ 101730 w 1196080"/>
                  <a:gd name="connsiteY66" fmla="*/ 676455 h 863385"/>
                  <a:gd name="connsiteX67" fmla="*/ 96412 w 1196080"/>
                  <a:gd name="connsiteY67" fmla="*/ 687179 h 863385"/>
                  <a:gd name="connsiteX68" fmla="*/ 63650 w 1196080"/>
                  <a:gd name="connsiteY68" fmla="*/ 777145 h 863385"/>
                  <a:gd name="connsiteX69" fmla="*/ 63650 w 1196080"/>
                  <a:gd name="connsiteY69" fmla="*/ 783883 h 863385"/>
                  <a:gd name="connsiteX70" fmla="*/ 73621 w 1196080"/>
                  <a:gd name="connsiteY70" fmla="*/ 791855 h 863385"/>
                  <a:gd name="connsiteX71" fmla="*/ 99071 w 1196080"/>
                  <a:gd name="connsiteY71" fmla="*/ 789482 h 863385"/>
                  <a:gd name="connsiteX72" fmla="*/ 144749 w 1196080"/>
                  <a:gd name="connsiteY72" fmla="*/ 775057 h 863385"/>
                  <a:gd name="connsiteX73" fmla="*/ 206950 w 1196080"/>
                  <a:gd name="connsiteY73" fmla="*/ 746207 h 863385"/>
                  <a:gd name="connsiteX74" fmla="*/ 277983 w 1196080"/>
                  <a:gd name="connsiteY74" fmla="*/ 704830 h 863385"/>
                  <a:gd name="connsiteX75" fmla="*/ 311790 w 1196080"/>
                  <a:gd name="connsiteY75" fmla="*/ 684617 h 863385"/>
                  <a:gd name="connsiteX76" fmla="*/ 340944 w 1196080"/>
                  <a:gd name="connsiteY76" fmla="*/ 666680 h 863385"/>
                  <a:gd name="connsiteX77" fmla="*/ 366490 w 1196080"/>
                  <a:gd name="connsiteY77" fmla="*/ 652825 h 863385"/>
                  <a:gd name="connsiteX78" fmla="*/ 381589 w 1196080"/>
                  <a:gd name="connsiteY78" fmla="*/ 644853 h 863385"/>
                  <a:gd name="connsiteX79" fmla="*/ 403336 w 1196080"/>
                  <a:gd name="connsiteY79" fmla="*/ 631187 h 863385"/>
                  <a:gd name="connsiteX80" fmla="*/ 458700 w 1196080"/>
                  <a:gd name="connsiteY80" fmla="*/ 597877 h 863385"/>
                  <a:gd name="connsiteX81" fmla="*/ 470380 w 1196080"/>
                  <a:gd name="connsiteY81" fmla="*/ 590759 h 863385"/>
                  <a:gd name="connsiteX82" fmla="*/ 579494 w 1196080"/>
                  <a:gd name="connsiteY82" fmla="*/ 529928 h 863385"/>
                  <a:gd name="connsiteX83" fmla="*/ 637612 w 1196080"/>
                  <a:gd name="connsiteY83" fmla="*/ 475834 h 863385"/>
                  <a:gd name="connsiteX84" fmla="*/ 650717 w 1196080"/>
                  <a:gd name="connsiteY84" fmla="*/ 469381 h 863385"/>
                  <a:gd name="connsiteX85" fmla="*/ 679206 w 1196080"/>
                  <a:gd name="connsiteY85" fmla="*/ 479535 h 863385"/>
                  <a:gd name="connsiteX86" fmla="*/ 699528 w 1196080"/>
                  <a:gd name="connsiteY86" fmla="*/ 508765 h 863385"/>
                  <a:gd name="connsiteX87" fmla="*/ 699054 w 1196080"/>
                  <a:gd name="connsiteY87" fmla="*/ 518255 h 863385"/>
                  <a:gd name="connsiteX88" fmla="*/ 695540 w 1196080"/>
                  <a:gd name="connsiteY88" fmla="*/ 524139 h 863385"/>
                  <a:gd name="connsiteX89" fmla="*/ 671039 w 1196080"/>
                  <a:gd name="connsiteY89" fmla="*/ 564851 h 863385"/>
                  <a:gd name="connsiteX90" fmla="*/ 666196 w 1196080"/>
                  <a:gd name="connsiteY90" fmla="*/ 573867 h 863385"/>
                  <a:gd name="connsiteX91" fmla="*/ 658029 w 1196080"/>
                  <a:gd name="connsiteY91" fmla="*/ 586868 h 863385"/>
                  <a:gd name="connsiteX92" fmla="*/ 643500 w 1196080"/>
                  <a:gd name="connsiteY92" fmla="*/ 608031 h 863385"/>
                  <a:gd name="connsiteX93" fmla="*/ 602380 w 1196080"/>
                  <a:gd name="connsiteY93" fmla="*/ 692778 h 863385"/>
                  <a:gd name="connsiteX94" fmla="*/ 594593 w 1196080"/>
                  <a:gd name="connsiteY94" fmla="*/ 717168 h 863385"/>
                  <a:gd name="connsiteX95" fmla="*/ 594593 w 1196080"/>
                  <a:gd name="connsiteY95" fmla="*/ 727322 h 863385"/>
                  <a:gd name="connsiteX96" fmla="*/ 596967 w 1196080"/>
                  <a:gd name="connsiteY96" fmla="*/ 729220 h 863385"/>
                  <a:gd name="connsiteX97" fmla="*/ 704182 w 1196080"/>
                  <a:gd name="connsiteY97" fmla="*/ 653299 h 863385"/>
                  <a:gd name="connsiteX98" fmla="*/ 804938 w 1196080"/>
                  <a:gd name="connsiteY98" fmla="*/ 536476 h 863385"/>
                  <a:gd name="connsiteX99" fmla="*/ 833428 w 1196080"/>
                  <a:gd name="connsiteY99" fmla="*/ 456949 h 863385"/>
                  <a:gd name="connsiteX100" fmla="*/ 853655 w 1196080"/>
                  <a:gd name="connsiteY100" fmla="*/ 409498 h 863385"/>
                  <a:gd name="connsiteX101" fmla="*/ 874927 w 1196080"/>
                  <a:gd name="connsiteY101" fmla="*/ 359011 h 863385"/>
                  <a:gd name="connsiteX102" fmla="*/ 884993 w 1196080"/>
                  <a:gd name="connsiteY102" fmla="*/ 351514 h 863385"/>
                  <a:gd name="connsiteX103" fmla="*/ 930196 w 1196080"/>
                  <a:gd name="connsiteY103" fmla="*/ 373246 h 863385"/>
                  <a:gd name="connsiteX104" fmla="*/ 933140 w 1196080"/>
                  <a:gd name="connsiteY104" fmla="*/ 377517 h 863385"/>
                  <a:gd name="connsiteX105" fmla="*/ 933140 w 1196080"/>
                  <a:gd name="connsiteY105" fmla="*/ 390233 h 863385"/>
                  <a:gd name="connsiteX106" fmla="*/ 912343 w 1196080"/>
                  <a:gd name="connsiteY106" fmla="*/ 435311 h 863385"/>
                  <a:gd name="connsiteX107" fmla="*/ 900282 w 1196080"/>
                  <a:gd name="connsiteY107" fmla="*/ 465585 h 863385"/>
                  <a:gd name="connsiteX108" fmla="*/ 849002 w 1196080"/>
                  <a:gd name="connsiteY108" fmla="*/ 605374 h 863385"/>
                  <a:gd name="connsiteX109" fmla="*/ 844443 w 1196080"/>
                  <a:gd name="connsiteY109" fmla="*/ 621887 h 863385"/>
                  <a:gd name="connsiteX110" fmla="*/ 844443 w 1196080"/>
                  <a:gd name="connsiteY110" fmla="*/ 626822 h 863385"/>
                  <a:gd name="connsiteX111" fmla="*/ 848527 w 1196080"/>
                  <a:gd name="connsiteY111" fmla="*/ 628815 h 863385"/>
                  <a:gd name="connsiteX112" fmla="*/ 852515 w 1196080"/>
                  <a:gd name="connsiteY112" fmla="*/ 625778 h 863385"/>
                  <a:gd name="connsiteX113" fmla="*/ 871508 w 1196080"/>
                  <a:gd name="connsiteY113" fmla="*/ 599395 h 863385"/>
                  <a:gd name="connsiteX114" fmla="*/ 928486 w 1196080"/>
                  <a:gd name="connsiteY114" fmla="*/ 522525 h 863385"/>
                  <a:gd name="connsiteX115" fmla="*/ 1042918 w 1196080"/>
                  <a:gd name="connsiteY115" fmla="*/ 397256 h 863385"/>
                  <a:gd name="connsiteX116" fmla="*/ 1080904 w 1196080"/>
                  <a:gd name="connsiteY116" fmla="*/ 362332 h 863385"/>
                  <a:gd name="connsiteX117" fmla="*/ 1109393 w 1196080"/>
                  <a:gd name="connsiteY117" fmla="*/ 340410 h 863385"/>
                  <a:gd name="connsiteX118" fmla="*/ 1132944 w 1196080"/>
                  <a:gd name="connsiteY118" fmla="*/ 330920 h 863385"/>
                  <a:gd name="connsiteX119" fmla="*/ 1139497 w 1196080"/>
                  <a:gd name="connsiteY119" fmla="*/ 329307 h 863385"/>
                  <a:gd name="connsiteX120" fmla="*/ 1169885 w 1196080"/>
                  <a:gd name="connsiteY120" fmla="*/ 330351 h 863385"/>
                  <a:gd name="connsiteX121" fmla="*/ 1174443 w 1196080"/>
                  <a:gd name="connsiteY121" fmla="*/ 332628 h 863385"/>
                  <a:gd name="connsiteX122" fmla="*/ 1186124 w 1196080"/>
                  <a:gd name="connsiteY122" fmla="*/ 339461 h 863385"/>
                  <a:gd name="connsiteX123" fmla="*/ 1195620 w 1196080"/>
                  <a:gd name="connsiteY123" fmla="*/ 350849 h 863385"/>
                  <a:gd name="connsiteX124" fmla="*/ 1194480 w 1196080"/>
                  <a:gd name="connsiteY124" fmla="*/ 357208 h 863385"/>
                  <a:gd name="connsiteX125" fmla="*/ 1187833 w 1196080"/>
                  <a:gd name="connsiteY125" fmla="*/ 362522 h 863385"/>
                  <a:gd name="connsiteX126" fmla="*/ 1169885 w 1196080"/>
                  <a:gd name="connsiteY126" fmla="*/ 372582 h 863385"/>
                  <a:gd name="connsiteX127" fmla="*/ 1137122 w 1196080"/>
                  <a:gd name="connsiteY127" fmla="*/ 394314 h 863385"/>
                  <a:gd name="connsiteX128" fmla="*/ 1100181 w 1196080"/>
                  <a:gd name="connsiteY128" fmla="*/ 427529 h 863385"/>
                  <a:gd name="connsiteX129" fmla="*/ 1046906 w 1196080"/>
                  <a:gd name="connsiteY129" fmla="*/ 483331 h 863385"/>
                  <a:gd name="connsiteX130" fmla="*/ 992682 w 1196080"/>
                  <a:gd name="connsiteY130" fmla="*/ 545207 h 863385"/>
                  <a:gd name="connsiteX131" fmla="*/ 985560 w 1196080"/>
                  <a:gd name="connsiteY131" fmla="*/ 554697 h 863385"/>
                  <a:gd name="connsiteX132" fmla="*/ 957735 w 1196080"/>
                  <a:gd name="connsiteY132" fmla="*/ 591613 h 863385"/>
                  <a:gd name="connsiteX133" fmla="*/ 938743 w 1196080"/>
                  <a:gd name="connsiteY133" fmla="*/ 615718 h 863385"/>
                  <a:gd name="connsiteX134" fmla="*/ 936178 w 1196080"/>
                  <a:gd name="connsiteY134" fmla="*/ 620084 h 863385"/>
                  <a:gd name="connsiteX135" fmla="*/ 928866 w 1196080"/>
                  <a:gd name="connsiteY135" fmla="*/ 631567 h 863385"/>
                  <a:gd name="connsiteX136" fmla="*/ 879485 w 1196080"/>
                  <a:gd name="connsiteY136" fmla="*/ 699421 h 863385"/>
                  <a:gd name="connsiteX137" fmla="*/ 815194 w 1196080"/>
                  <a:gd name="connsiteY137" fmla="*/ 820325 h 863385"/>
                  <a:gd name="connsiteX138" fmla="*/ 800190 w 1196080"/>
                  <a:gd name="connsiteY138" fmla="*/ 847182 h 863385"/>
                  <a:gd name="connsiteX139" fmla="*/ 791169 w 1196080"/>
                  <a:gd name="connsiteY139" fmla="*/ 857526 h 863385"/>
                  <a:gd name="connsiteX140" fmla="*/ 773790 w 1196080"/>
                  <a:gd name="connsiteY140" fmla="*/ 862082 h 863385"/>
                  <a:gd name="connsiteX141" fmla="*/ 756222 w 1196080"/>
                  <a:gd name="connsiteY141" fmla="*/ 851927 h 863385"/>
                  <a:gd name="connsiteX142" fmla="*/ 734095 w 1196080"/>
                  <a:gd name="connsiteY142" fmla="*/ 830574 h 863385"/>
                  <a:gd name="connsiteX143" fmla="*/ 731056 w 1196080"/>
                  <a:gd name="connsiteY143" fmla="*/ 824691 h 863385"/>
                  <a:gd name="connsiteX144" fmla="*/ 731056 w 1196080"/>
                  <a:gd name="connsiteY144" fmla="*/ 800870 h 863385"/>
                  <a:gd name="connsiteX145" fmla="*/ 746061 w 1196080"/>
                  <a:gd name="connsiteY145" fmla="*/ 721723 h 863385"/>
                  <a:gd name="connsiteX146" fmla="*/ 747010 w 1196080"/>
                  <a:gd name="connsiteY146" fmla="*/ 708247 h 863385"/>
                  <a:gd name="connsiteX147" fmla="*/ 748245 w 1196080"/>
                  <a:gd name="connsiteY147" fmla="*/ 708247 h 863385"/>
                  <a:gd name="connsiteX148" fmla="*/ 748245 w 1196080"/>
                  <a:gd name="connsiteY148" fmla="*/ 707298 h 863385"/>
                  <a:gd name="connsiteX149" fmla="*/ 747390 w 1196080"/>
                  <a:gd name="connsiteY149" fmla="*/ 708816 h 863385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  <a:cxn ang="0">
                    <a:pos x="connsiteX63" y="connsiteY63"/>
                  </a:cxn>
                  <a:cxn ang="0">
                    <a:pos x="connsiteX64" y="connsiteY64"/>
                  </a:cxn>
                  <a:cxn ang="0">
                    <a:pos x="connsiteX65" y="connsiteY65"/>
                  </a:cxn>
                  <a:cxn ang="0">
                    <a:pos x="connsiteX66" y="connsiteY66"/>
                  </a:cxn>
                  <a:cxn ang="0">
                    <a:pos x="connsiteX67" y="connsiteY67"/>
                  </a:cxn>
                  <a:cxn ang="0">
                    <a:pos x="connsiteX68" y="connsiteY68"/>
                  </a:cxn>
                  <a:cxn ang="0">
                    <a:pos x="connsiteX69" y="connsiteY69"/>
                  </a:cxn>
                  <a:cxn ang="0">
                    <a:pos x="connsiteX70" y="connsiteY70"/>
                  </a:cxn>
                  <a:cxn ang="0">
                    <a:pos x="connsiteX71" y="connsiteY71"/>
                  </a:cxn>
                  <a:cxn ang="0">
                    <a:pos x="connsiteX72" y="connsiteY72"/>
                  </a:cxn>
                  <a:cxn ang="0">
                    <a:pos x="connsiteX73" y="connsiteY73"/>
                  </a:cxn>
                  <a:cxn ang="0">
                    <a:pos x="connsiteX74" y="connsiteY74"/>
                  </a:cxn>
                  <a:cxn ang="0">
                    <a:pos x="connsiteX75" y="connsiteY75"/>
                  </a:cxn>
                  <a:cxn ang="0">
                    <a:pos x="connsiteX76" y="connsiteY76"/>
                  </a:cxn>
                  <a:cxn ang="0">
                    <a:pos x="connsiteX77" y="connsiteY77"/>
                  </a:cxn>
                  <a:cxn ang="0">
                    <a:pos x="connsiteX78" y="connsiteY78"/>
                  </a:cxn>
                  <a:cxn ang="0">
                    <a:pos x="connsiteX79" y="connsiteY79"/>
                  </a:cxn>
                  <a:cxn ang="0">
                    <a:pos x="connsiteX80" y="connsiteY80"/>
                  </a:cxn>
                  <a:cxn ang="0">
                    <a:pos x="connsiteX81" y="connsiteY81"/>
                  </a:cxn>
                  <a:cxn ang="0">
                    <a:pos x="connsiteX82" y="connsiteY82"/>
                  </a:cxn>
                  <a:cxn ang="0">
                    <a:pos x="connsiteX83" y="connsiteY83"/>
                  </a:cxn>
                  <a:cxn ang="0">
                    <a:pos x="connsiteX84" y="connsiteY84"/>
                  </a:cxn>
                  <a:cxn ang="0">
                    <a:pos x="connsiteX85" y="connsiteY85"/>
                  </a:cxn>
                  <a:cxn ang="0">
                    <a:pos x="connsiteX86" y="connsiteY86"/>
                  </a:cxn>
                  <a:cxn ang="0">
                    <a:pos x="connsiteX87" y="connsiteY87"/>
                  </a:cxn>
                  <a:cxn ang="0">
                    <a:pos x="connsiteX88" y="connsiteY88"/>
                  </a:cxn>
                  <a:cxn ang="0">
                    <a:pos x="connsiteX89" y="connsiteY89"/>
                  </a:cxn>
                  <a:cxn ang="0">
                    <a:pos x="connsiteX90" y="connsiteY90"/>
                  </a:cxn>
                  <a:cxn ang="0">
                    <a:pos x="connsiteX91" y="connsiteY91"/>
                  </a:cxn>
                  <a:cxn ang="0">
                    <a:pos x="connsiteX92" y="connsiteY92"/>
                  </a:cxn>
                  <a:cxn ang="0">
                    <a:pos x="connsiteX93" y="connsiteY93"/>
                  </a:cxn>
                  <a:cxn ang="0">
                    <a:pos x="connsiteX94" y="connsiteY94"/>
                  </a:cxn>
                  <a:cxn ang="0">
                    <a:pos x="connsiteX95" y="connsiteY95"/>
                  </a:cxn>
                  <a:cxn ang="0">
                    <a:pos x="connsiteX96" y="connsiteY96"/>
                  </a:cxn>
                  <a:cxn ang="0">
                    <a:pos x="connsiteX97" y="connsiteY97"/>
                  </a:cxn>
                  <a:cxn ang="0">
                    <a:pos x="connsiteX98" y="connsiteY98"/>
                  </a:cxn>
                  <a:cxn ang="0">
                    <a:pos x="connsiteX99" y="connsiteY99"/>
                  </a:cxn>
                  <a:cxn ang="0">
                    <a:pos x="connsiteX100" y="connsiteY100"/>
                  </a:cxn>
                  <a:cxn ang="0">
                    <a:pos x="connsiteX101" y="connsiteY101"/>
                  </a:cxn>
                  <a:cxn ang="0">
                    <a:pos x="connsiteX102" y="connsiteY102"/>
                  </a:cxn>
                  <a:cxn ang="0">
                    <a:pos x="connsiteX103" y="connsiteY103"/>
                  </a:cxn>
                  <a:cxn ang="0">
                    <a:pos x="connsiteX104" y="connsiteY104"/>
                  </a:cxn>
                  <a:cxn ang="0">
                    <a:pos x="connsiteX105" y="connsiteY105"/>
                  </a:cxn>
                  <a:cxn ang="0">
                    <a:pos x="connsiteX106" y="connsiteY106"/>
                  </a:cxn>
                  <a:cxn ang="0">
                    <a:pos x="connsiteX107" y="connsiteY107"/>
                  </a:cxn>
                  <a:cxn ang="0">
                    <a:pos x="connsiteX108" y="connsiteY108"/>
                  </a:cxn>
                  <a:cxn ang="0">
                    <a:pos x="connsiteX109" y="connsiteY109"/>
                  </a:cxn>
                  <a:cxn ang="0">
                    <a:pos x="connsiteX110" y="connsiteY110"/>
                  </a:cxn>
                  <a:cxn ang="0">
                    <a:pos x="connsiteX111" y="connsiteY111"/>
                  </a:cxn>
                  <a:cxn ang="0">
                    <a:pos x="connsiteX112" y="connsiteY112"/>
                  </a:cxn>
                  <a:cxn ang="0">
                    <a:pos x="connsiteX113" y="connsiteY113"/>
                  </a:cxn>
                  <a:cxn ang="0">
                    <a:pos x="connsiteX114" y="connsiteY114"/>
                  </a:cxn>
                  <a:cxn ang="0">
                    <a:pos x="connsiteX115" y="connsiteY115"/>
                  </a:cxn>
                  <a:cxn ang="0">
                    <a:pos x="connsiteX116" y="connsiteY116"/>
                  </a:cxn>
                  <a:cxn ang="0">
                    <a:pos x="connsiteX117" y="connsiteY117"/>
                  </a:cxn>
                  <a:cxn ang="0">
                    <a:pos x="connsiteX118" y="connsiteY118"/>
                  </a:cxn>
                  <a:cxn ang="0">
                    <a:pos x="connsiteX119" y="connsiteY119"/>
                  </a:cxn>
                  <a:cxn ang="0">
                    <a:pos x="connsiteX120" y="connsiteY120"/>
                  </a:cxn>
                  <a:cxn ang="0">
                    <a:pos x="connsiteX121" y="connsiteY121"/>
                  </a:cxn>
                  <a:cxn ang="0">
                    <a:pos x="connsiteX122" y="connsiteY122"/>
                  </a:cxn>
                  <a:cxn ang="0">
                    <a:pos x="connsiteX123" y="connsiteY123"/>
                  </a:cxn>
                  <a:cxn ang="0">
                    <a:pos x="connsiteX124" y="connsiteY124"/>
                  </a:cxn>
                  <a:cxn ang="0">
                    <a:pos x="connsiteX125" y="connsiteY125"/>
                  </a:cxn>
                  <a:cxn ang="0">
                    <a:pos x="connsiteX126" y="connsiteY126"/>
                  </a:cxn>
                  <a:cxn ang="0">
                    <a:pos x="connsiteX127" y="connsiteY127"/>
                  </a:cxn>
                  <a:cxn ang="0">
                    <a:pos x="connsiteX128" y="connsiteY128"/>
                  </a:cxn>
                  <a:cxn ang="0">
                    <a:pos x="connsiteX129" y="connsiteY129"/>
                  </a:cxn>
                  <a:cxn ang="0">
                    <a:pos x="connsiteX130" y="connsiteY130"/>
                  </a:cxn>
                  <a:cxn ang="0">
                    <a:pos x="connsiteX131" y="connsiteY131"/>
                  </a:cxn>
                  <a:cxn ang="0">
                    <a:pos x="connsiteX132" y="connsiteY132"/>
                  </a:cxn>
                  <a:cxn ang="0">
                    <a:pos x="connsiteX133" y="connsiteY133"/>
                  </a:cxn>
                  <a:cxn ang="0">
                    <a:pos x="connsiteX134" y="connsiteY134"/>
                  </a:cxn>
                  <a:cxn ang="0">
                    <a:pos x="connsiteX135" y="connsiteY135"/>
                  </a:cxn>
                  <a:cxn ang="0">
                    <a:pos x="connsiteX136" y="connsiteY136"/>
                  </a:cxn>
                  <a:cxn ang="0">
                    <a:pos x="connsiteX137" y="connsiteY137"/>
                  </a:cxn>
                  <a:cxn ang="0">
                    <a:pos x="connsiteX138" y="connsiteY138"/>
                  </a:cxn>
                  <a:cxn ang="0">
                    <a:pos x="connsiteX139" y="connsiteY139"/>
                  </a:cxn>
                  <a:cxn ang="0">
                    <a:pos x="connsiteX140" y="connsiteY140"/>
                  </a:cxn>
                  <a:cxn ang="0">
                    <a:pos x="connsiteX141" y="connsiteY141"/>
                  </a:cxn>
                  <a:cxn ang="0">
                    <a:pos x="connsiteX142" y="connsiteY142"/>
                  </a:cxn>
                  <a:cxn ang="0">
                    <a:pos x="connsiteX143" y="connsiteY143"/>
                  </a:cxn>
                  <a:cxn ang="0">
                    <a:pos x="connsiteX144" y="connsiteY144"/>
                  </a:cxn>
                  <a:cxn ang="0">
                    <a:pos x="connsiteX145" y="connsiteY145"/>
                  </a:cxn>
                  <a:cxn ang="0">
                    <a:pos x="connsiteX146" y="connsiteY146"/>
                  </a:cxn>
                  <a:cxn ang="0">
                    <a:pos x="connsiteX147" y="connsiteY147"/>
                  </a:cxn>
                  <a:cxn ang="0">
                    <a:pos x="connsiteX148" y="connsiteY148"/>
                  </a:cxn>
                  <a:cxn ang="0">
                    <a:pos x="connsiteX149" y="connsiteY149"/>
                  </a:cxn>
                </a:cxnLst>
                <a:rect l="l" t="t" r="r" b="b"/>
                <a:pathLst>
                  <a:path w="1196080" h="863385">
                    <a:moveTo>
                      <a:pt x="748245" y="709196"/>
                    </a:moveTo>
                    <a:cubicBezTo>
                      <a:pt x="747200" y="709196"/>
                      <a:pt x="745776" y="709196"/>
                      <a:pt x="745016" y="709196"/>
                    </a:cubicBezTo>
                    <a:cubicBezTo>
                      <a:pt x="741882" y="711569"/>
                      <a:pt x="738843" y="714226"/>
                      <a:pt x="735520" y="716883"/>
                    </a:cubicBezTo>
                    <a:cubicBezTo>
                      <a:pt x="723554" y="727512"/>
                      <a:pt x="711304" y="737761"/>
                      <a:pt x="698389" y="747156"/>
                    </a:cubicBezTo>
                    <a:cubicBezTo>
                      <a:pt x="689329" y="753937"/>
                      <a:pt x="679804" y="760089"/>
                      <a:pt x="669900" y="765567"/>
                    </a:cubicBezTo>
                    <a:cubicBezTo>
                      <a:pt x="655190" y="775074"/>
                      <a:pt x="638210" y="780510"/>
                      <a:pt x="620708" y="781321"/>
                    </a:cubicBezTo>
                    <a:cubicBezTo>
                      <a:pt x="586730" y="783789"/>
                      <a:pt x="554528" y="765853"/>
                      <a:pt x="538754" y="735673"/>
                    </a:cubicBezTo>
                    <a:cubicBezTo>
                      <a:pt x="531091" y="722112"/>
                      <a:pt x="528308" y="706337"/>
                      <a:pt x="530872" y="690975"/>
                    </a:cubicBezTo>
                    <a:cubicBezTo>
                      <a:pt x="533398" y="673435"/>
                      <a:pt x="538023" y="656262"/>
                      <a:pt x="544642" y="639823"/>
                    </a:cubicBezTo>
                    <a:cubicBezTo>
                      <a:pt x="546731" y="634509"/>
                      <a:pt x="548915" y="629194"/>
                      <a:pt x="550910" y="623880"/>
                    </a:cubicBezTo>
                    <a:cubicBezTo>
                      <a:pt x="550910" y="623121"/>
                      <a:pt x="550340" y="621887"/>
                      <a:pt x="549865" y="620938"/>
                    </a:cubicBezTo>
                    <a:cubicBezTo>
                      <a:pt x="549390" y="619989"/>
                      <a:pt x="548726" y="620938"/>
                      <a:pt x="548251" y="620938"/>
                    </a:cubicBezTo>
                    <a:cubicBezTo>
                      <a:pt x="543104" y="623454"/>
                      <a:pt x="538308" y="626645"/>
                      <a:pt x="534006" y="630428"/>
                    </a:cubicBezTo>
                    <a:cubicBezTo>
                      <a:pt x="528555" y="635348"/>
                      <a:pt x="522753" y="639853"/>
                      <a:pt x="516628" y="643904"/>
                    </a:cubicBezTo>
                    <a:cubicBezTo>
                      <a:pt x="510873" y="648543"/>
                      <a:pt x="504881" y="652883"/>
                      <a:pt x="498680" y="656905"/>
                    </a:cubicBezTo>
                    <a:cubicBezTo>
                      <a:pt x="470190" y="675886"/>
                      <a:pt x="441701" y="694866"/>
                      <a:pt x="412167" y="712423"/>
                    </a:cubicBezTo>
                    <a:cubicBezTo>
                      <a:pt x="410648" y="713277"/>
                      <a:pt x="409128" y="714131"/>
                      <a:pt x="407704" y="715080"/>
                    </a:cubicBezTo>
                    <a:cubicBezTo>
                      <a:pt x="383583" y="731403"/>
                      <a:pt x="358133" y="745543"/>
                      <a:pt x="332967" y="760158"/>
                    </a:cubicBezTo>
                    <a:cubicBezTo>
                      <a:pt x="315143" y="770418"/>
                      <a:pt x="297983" y="781796"/>
                      <a:pt x="281592" y="794227"/>
                    </a:cubicBezTo>
                    <a:cubicBezTo>
                      <a:pt x="275305" y="799214"/>
                      <a:pt x="268411" y="803391"/>
                      <a:pt x="261080" y="806659"/>
                    </a:cubicBezTo>
                    <a:cubicBezTo>
                      <a:pt x="243796" y="814251"/>
                      <a:pt x="227842" y="824216"/>
                      <a:pt x="211224" y="833042"/>
                    </a:cubicBezTo>
                    <a:cubicBezTo>
                      <a:pt x="209828" y="834048"/>
                      <a:pt x="208365" y="834967"/>
                      <a:pt x="206855" y="835794"/>
                    </a:cubicBezTo>
                    <a:cubicBezTo>
                      <a:pt x="187084" y="844643"/>
                      <a:pt x="166704" y="852095"/>
                      <a:pt x="145888" y="858096"/>
                    </a:cubicBezTo>
                    <a:cubicBezTo>
                      <a:pt x="137104" y="860491"/>
                      <a:pt x="128149" y="862235"/>
                      <a:pt x="119109" y="863315"/>
                    </a:cubicBezTo>
                    <a:cubicBezTo>
                      <a:pt x="112243" y="863564"/>
                      <a:pt x="105377" y="863151"/>
                      <a:pt x="98596" y="862082"/>
                    </a:cubicBezTo>
                    <a:cubicBezTo>
                      <a:pt x="88919" y="861029"/>
                      <a:pt x="79537" y="858130"/>
                      <a:pt x="70962" y="853541"/>
                    </a:cubicBezTo>
                    <a:cubicBezTo>
                      <a:pt x="47097" y="840899"/>
                      <a:pt x="27031" y="822128"/>
                      <a:pt x="12844" y="799162"/>
                    </a:cubicBezTo>
                    <a:cubicBezTo>
                      <a:pt x="7896" y="791437"/>
                      <a:pt x="4478" y="782835"/>
                      <a:pt x="2778" y="773824"/>
                    </a:cubicBezTo>
                    <a:cubicBezTo>
                      <a:pt x="-926" y="757647"/>
                      <a:pt x="-926" y="740842"/>
                      <a:pt x="2778" y="724665"/>
                    </a:cubicBezTo>
                    <a:cubicBezTo>
                      <a:pt x="5893" y="711314"/>
                      <a:pt x="10080" y="698239"/>
                      <a:pt x="15313" y="685566"/>
                    </a:cubicBezTo>
                    <a:cubicBezTo>
                      <a:pt x="27278" y="658993"/>
                      <a:pt x="39434" y="632516"/>
                      <a:pt x="51494" y="606038"/>
                    </a:cubicBezTo>
                    <a:cubicBezTo>
                      <a:pt x="52159" y="604443"/>
                      <a:pt x="52919" y="602891"/>
                      <a:pt x="53773" y="601388"/>
                    </a:cubicBezTo>
                    <a:cubicBezTo>
                      <a:pt x="64789" y="582408"/>
                      <a:pt x="73431" y="562764"/>
                      <a:pt x="83497" y="543499"/>
                    </a:cubicBezTo>
                    <a:cubicBezTo>
                      <a:pt x="94608" y="522241"/>
                      <a:pt x="106953" y="501647"/>
                      <a:pt x="119014" y="480959"/>
                    </a:cubicBezTo>
                    <a:cubicBezTo>
                      <a:pt x="137532" y="449452"/>
                      <a:pt x="156334" y="418039"/>
                      <a:pt x="174852" y="386058"/>
                    </a:cubicBezTo>
                    <a:cubicBezTo>
                      <a:pt x="179411" y="378181"/>
                      <a:pt x="183684" y="370114"/>
                      <a:pt x="188147" y="362048"/>
                    </a:cubicBezTo>
                    <a:cubicBezTo>
                      <a:pt x="190189" y="357959"/>
                      <a:pt x="192468" y="353997"/>
                      <a:pt x="194985" y="350185"/>
                    </a:cubicBezTo>
                    <a:cubicBezTo>
                      <a:pt x="202297" y="339936"/>
                      <a:pt x="208280" y="328927"/>
                      <a:pt x="214737" y="318109"/>
                    </a:cubicBezTo>
                    <a:cubicBezTo>
                      <a:pt x="224234" y="302355"/>
                      <a:pt x="233730" y="286886"/>
                      <a:pt x="243227" y="270658"/>
                    </a:cubicBezTo>
                    <a:cubicBezTo>
                      <a:pt x="250824" y="257941"/>
                      <a:pt x="257946" y="244845"/>
                      <a:pt x="265448" y="232033"/>
                    </a:cubicBezTo>
                    <a:cubicBezTo>
                      <a:pt x="269560" y="225200"/>
                      <a:pt x="273833" y="218462"/>
                      <a:pt x="278268" y="211819"/>
                    </a:cubicBezTo>
                    <a:cubicBezTo>
                      <a:pt x="307080" y="169373"/>
                      <a:pt x="330935" y="123778"/>
                      <a:pt x="349396" y="75921"/>
                    </a:cubicBezTo>
                    <a:cubicBezTo>
                      <a:pt x="357107" y="55611"/>
                      <a:pt x="363242" y="34733"/>
                      <a:pt x="367724" y="13476"/>
                    </a:cubicBezTo>
                    <a:cubicBezTo>
                      <a:pt x="367724" y="11293"/>
                      <a:pt x="368484" y="9016"/>
                      <a:pt x="369054" y="6738"/>
                    </a:cubicBezTo>
                    <a:cubicBezTo>
                      <a:pt x="370241" y="2826"/>
                      <a:pt x="373792" y="111"/>
                      <a:pt x="377885" y="0"/>
                    </a:cubicBezTo>
                    <a:cubicBezTo>
                      <a:pt x="394067" y="535"/>
                      <a:pt x="409318" y="7709"/>
                      <a:pt x="420049" y="19834"/>
                    </a:cubicBezTo>
                    <a:cubicBezTo>
                      <a:pt x="425244" y="26051"/>
                      <a:pt x="428159" y="33851"/>
                      <a:pt x="428311" y="41946"/>
                    </a:cubicBezTo>
                    <a:cubicBezTo>
                      <a:pt x="428311" y="45363"/>
                      <a:pt x="428311" y="48779"/>
                      <a:pt x="428311" y="52196"/>
                    </a:cubicBezTo>
                    <a:cubicBezTo>
                      <a:pt x="428283" y="53890"/>
                      <a:pt x="428710" y="55561"/>
                      <a:pt x="429546" y="57036"/>
                    </a:cubicBezTo>
                    <a:cubicBezTo>
                      <a:pt x="433126" y="62302"/>
                      <a:pt x="434038" y="68935"/>
                      <a:pt x="432015" y="74972"/>
                    </a:cubicBezTo>
                    <a:cubicBezTo>
                      <a:pt x="430210" y="82777"/>
                      <a:pt x="427162" y="90243"/>
                      <a:pt x="422993" y="97084"/>
                    </a:cubicBezTo>
                    <a:cubicBezTo>
                      <a:pt x="420942" y="99850"/>
                      <a:pt x="419727" y="103141"/>
                      <a:pt x="419480" y="106574"/>
                    </a:cubicBezTo>
                    <a:cubicBezTo>
                      <a:pt x="419641" y="110040"/>
                      <a:pt x="417884" y="113315"/>
                      <a:pt x="414921" y="115115"/>
                    </a:cubicBezTo>
                    <a:cubicBezTo>
                      <a:pt x="412091" y="117122"/>
                      <a:pt x="410145" y="120151"/>
                      <a:pt x="409508" y="123561"/>
                    </a:cubicBezTo>
                    <a:cubicBezTo>
                      <a:pt x="405852" y="136704"/>
                      <a:pt x="400819" y="149427"/>
                      <a:pt x="394504" y="161522"/>
                    </a:cubicBezTo>
                    <a:cubicBezTo>
                      <a:pt x="382634" y="186196"/>
                      <a:pt x="369908" y="210586"/>
                      <a:pt x="355759" y="234026"/>
                    </a:cubicBezTo>
                    <a:cubicBezTo>
                      <a:pt x="352815" y="238866"/>
                      <a:pt x="350726" y="244275"/>
                      <a:pt x="347782" y="249210"/>
                    </a:cubicBezTo>
                    <a:cubicBezTo>
                      <a:pt x="344838" y="254145"/>
                      <a:pt x="341134" y="258700"/>
                      <a:pt x="338285" y="263256"/>
                    </a:cubicBezTo>
                    <a:cubicBezTo>
                      <a:pt x="333917" y="270563"/>
                      <a:pt x="329929" y="278250"/>
                      <a:pt x="325845" y="285747"/>
                    </a:cubicBezTo>
                    <a:cubicBezTo>
                      <a:pt x="309416" y="315167"/>
                      <a:pt x="291943" y="344016"/>
                      <a:pt x="273805" y="372392"/>
                    </a:cubicBezTo>
                    <a:cubicBezTo>
                      <a:pt x="262409" y="390233"/>
                      <a:pt x="252153" y="408739"/>
                      <a:pt x="241327" y="426865"/>
                    </a:cubicBezTo>
                    <a:cubicBezTo>
                      <a:pt x="231005" y="442691"/>
                      <a:pt x="221489" y="459036"/>
                      <a:pt x="212838" y="475834"/>
                    </a:cubicBezTo>
                    <a:cubicBezTo>
                      <a:pt x="210217" y="480903"/>
                      <a:pt x="207197" y="485758"/>
                      <a:pt x="203816" y="490354"/>
                    </a:cubicBezTo>
                    <a:cubicBezTo>
                      <a:pt x="191613" y="508263"/>
                      <a:pt x="180845" y="527113"/>
                      <a:pt x="171624" y="546725"/>
                    </a:cubicBezTo>
                    <a:cubicBezTo>
                      <a:pt x="171111" y="547768"/>
                      <a:pt x="170541" y="548783"/>
                      <a:pt x="169914" y="549762"/>
                    </a:cubicBezTo>
                    <a:cubicBezTo>
                      <a:pt x="160997" y="563717"/>
                      <a:pt x="152887" y="578165"/>
                      <a:pt x="145603" y="593037"/>
                    </a:cubicBezTo>
                    <a:cubicBezTo>
                      <a:pt x="130219" y="620369"/>
                      <a:pt x="116165" y="648554"/>
                      <a:pt x="101730" y="676455"/>
                    </a:cubicBezTo>
                    <a:cubicBezTo>
                      <a:pt x="99831" y="679966"/>
                      <a:pt x="98311" y="683668"/>
                      <a:pt x="96412" y="687179"/>
                    </a:cubicBezTo>
                    <a:cubicBezTo>
                      <a:pt x="82054" y="715804"/>
                      <a:pt x="71057" y="745994"/>
                      <a:pt x="63650" y="777145"/>
                    </a:cubicBezTo>
                    <a:cubicBezTo>
                      <a:pt x="63175" y="779366"/>
                      <a:pt x="63175" y="781662"/>
                      <a:pt x="63650" y="783883"/>
                    </a:cubicBezTo>
                    <a:cubicBezTo>
                      <a:pt x="64799" y="788479"/>
                      <a:pt x="68882" y="791741"/>
                      <a:pt x="73621" y="791855"/>
                    </a:cubicBezTo>
                    <a:cubicBezTo>
                      <a:pt x="82168" y="792158"/>
                      <a:pt x="90724" y="791361"/>
                      <a:pt x="99071" y="789482"/>
                    </a:cubicBezTo>
                    <a:cubicBezTo>
                      <a:pt x="114664" y="785913"/>
                      <a:pt x="129934" y="781088"/>
                      <a:pt x="144749" y="775057"/>
                    </a:cubicBezTo>
                    <a:cubicBezTo>
                      <a:pt x="166021" y="766647"/>
                      <a:pt x="186789" y="757015"/>
                      <a:pt x="206950" y="746207"/>
                    </a:cubicBezTo>
                    <a:cubicBezTo>
                      <a:pt x="231166" y="733301"/>
                      <a:pt x="254432" y="719066"/>
                      <a:pt x="277983" y="704830"/>
                    </a:cubicBezTo>
                    <a:cubicBezTo>
                      <a:pt x="289189" y="697903"/>
                      <a:pt x="300585" y="691355"/>
                      <a:pt x="311790" y="684617"/>
                    </a:cubicBezTo>
                    <a:cubicBezTo>
                      <a:pt x="321287" y="678733"/>
                      <a:pt x="331353" y="672849"/>
                      <a:pt x="340944" y="666680"/>
                    </a:cubicBezTo>
                    <a:cubicBezTo>
                      <a:pt x="349007" y="661270"/>
                      <a:pt x="357554" y="656631"/>
                      <a:pt x="366490" y="652825"/>
                    </a:cubicBezTo>
                    <a:cubicBezTo>
                      <a:pt x="371713" y="650546"/>
                      <a:pt x="376765" y="647881"/>
                      <a:pt x="381589" y="644853"/>
                    </a:cubicBezTo>
                    <a:cubicBezTo>
                      <a:pt x="388996" y="640488"/>
                      <a:pt x="396024" y="635363"/>
                      <a:pt x="403336" y="631187"/>
                    </a:cubicBezTo>
                    <a:cubicBezTo>
                      <a:pt x="421122" y="619014"/>
                      <a:pt x="439612" y="607892"/>
                      <a:pt x="458700" y="597877"/>
                    </a:cubicBezTo>
                    <a:cubicBezTo>
                      <a:pt x="462755" y="595778"/>
                      <a:pt x="466658" y="593400"/>
                      <a:pt x="470380" y="590759"/>
                    </a:cubicBezTo>
                    <a:cubicBezTo>
                      <a:pt x="505327" y="567888"/>
                      <a:pt x="544452" y="552799"/>
                      <a:pt x="579494" y="529928"/>
                    </a:cubicBezTo>
                    <a:cubicBezTo>
                      <a:pt x="625361" y="500508"/>
                      <a:pt x="633433" y="482477"/>
                      <a:pt x="637612" y="475834"/>
                    </a:cubicBezTo>
                    <a:cubicBezTo>
                      <a:pt x="640432" y="471405"/>
                      <a:pt x="645484" y="468916"/>
                      <a:pt x="650717" y="469381"/>
                    </a:cubicBezTo>
                    <a:cubicBezTo>
                      <a:pt x="661134" y="469190"/>
                      <a:pt x="671258" y="472800"/>
                      <a:pt x="679206" y="479535"/>
                    </a:cubicBezTo>
                    <a:cubicBezTo>
                      <a:pt x="688180" y="487551"/>
                      <a:pt x="695141" y="497564"/>
                      <a:pt x="699528" y="508765"/>
                    </a:cubicBezTo>
                    <a:cubicBezTo>
                      <a:pt x="700753" y="511848"/>
                      <a:pt x="700573" y="515308"/>
                      <a:pt x="699054" y="518255"/>
                    </a:cubicBezTo>
                    <a:cubicBezTo>
                      <a:pt x="698066" y="520321"/>
                      <a:pt x="696888" y="522290"/>
                      <a:pt x="695540" y="524139"/>
                    </a:cubicBezTo>
                    <a:cubicBezTo>
                      <a:pt x="690982" y="530782"/>
                      <a:pt x="675597" y="558303"/>
                      <a:pt x="671039" y="564851"/>
                    </a:cubicBezTo>
                    <a:cubicBezTo>
                      <a:pt x="669140" y="567604"/>
                      <a:pt x="668000" y="570925"/>
                      <a:pt x="666196" y="573867"/>
                    </a:cubicBezTo>
                    <a:cubicBezTo>
                      <a:pt x="663632" y="578327"/>
                      <a:pt x="660878" y="582693"/>
                      <a:pt x="658029" y="586868"/>
                    </a:cubicBezTo>
                    <a:cubicBezTo>
                      <a:pt x="653281" y="593986"/>
                      <a:pt x="647868" y="600724"/>
                      <a:pt x="643500" y="608031"/>
                    </a:cubicBezTo>
                    <a:cubicBezTo>
                      <a:pt x="627356" y="635032"/>
                      <a:pt x="613595" y="663388"/>
                      <a:pt x="602380" y="692778"/>
                    </a:cubicBezTo>
                    <a:cubicBezTo>
                      <a:pt x="599341" y="700750"/>
                      <a:pt x="597062" y="709006"/>
                      <a:pt x="594593" y="717168"/>
                    </a:cubicBezTo>
                    <a:cubicBezTo>
                      <a:pt x="593406" y="720448"/>
                      <a:pt x="593406" y="724041"/>
                      <a:pt x="594593" y="727322"/>
                    </a:cubicBezTo>
                    <a:cubicBezTo>
                      <a:pt x="594593" y="728176"/>
                      <a:pt x="596018" y="729315"/>
                      <a:pt x="596967" y="729220"/>
                    </a:cubicBezTo>
                    <a:cubicBezTo>
                      <a:pt x="617764" y="727702"/>
                      <a:pt x="686708" y="668768"/>
                      <a:pt x="704182" y="653299"/>
                    </a:cubicBezTo>
                    <a:cubicBezTo>
                      <a:pt x="728113" y="632041"/>
                      <a:pt x="779203" y="603761"/>
                      <a:pt x="804938" y="536476"/>
                    </a:cubicBezTo>
                    <a:cubicBezTo>
                      <a:pt x="811681" y="518824"/>
                      <a:pt x="819278" y="496712"/>
                      <a:pt x="833428" y="456949"/>
                    </a:cubicBezTo>
                    <a:cubicBezTo>
                      <a:pt x="839258" y="440758"/>
                      <a:pt x="846010" y="424915"/>
                      <a:pt x="853655" y="409498"/>
                    </a:cubicBezTo>
                    <a:cubicBezTo>
                      <a:pt x="861936" y="393193"/>
                      <a:pt x="869039" y="376322"/>
                      <a:pt x="874927" y="359011"/>
                    </a:cubicBezTo>
                    <a:cubicBezTo>
                      <a:pt x="875914" y="354336"/>
                      <a:pt x="880226" y="351124"/>
                      <a:pt x="884993" y="351514"/>
                    </a:cubicBezTo>
                    <a:cubicBezTo>
                      <a:pt x="902210" y="353006"/>
                      <a:pt x="918287" y="360735"/>
                      <a:pt x="930196" y="373246"/>
                    </a:cubicBezTo>
                    <a:cubicBezTo>
                      <a:pt x="931307" y="374577"/>
                      <a:pt x="932294" y="376007"/>
                      <a:pt x="933140" y="377517"/>
                    </a:cubicBezTo>
                    <a:cubicBezTo>
                      <a:pt x="935808" y="381335"/>
                      <a:pt x="935808" y="386415"/>
                      <a:pt x="933140" y="390233"/>
                    </a:cubicBezTo>
                    <a:cubicBezTo>
                      <a:pt x="924849" y="404597"/>
                      <a:pt x="917888" y="419685"/>
                      <a:pt x="912343" y="435311"/>
                    </a:cubicBezTo>
                    <a:cubicBezTo>
                      <a:pt x="908354" y="445466"/>
                      <a:pt x="904651" y="455620"/>
                      <a:pt x="900282" y="465585"/>
                    </a:cubicBezTo>
                    <a:cubicBezTo>
                      <a:pt x="880216" y="511038"/>
                      <a:pt x="863085" y="557730"/>
                      <a:pt x="849002" y="605374"/>
                    </a:cubicBezTo>
                    <a:cubicBezTo>
                      <a:pt x="847387" y="610878"/>
                      <a:pt x="845773" y="616383"/>
                      <a:pt x="844443" y="621887"/>
                    </a:cubicBezTo>
                    <a:cubicBezTo>
                      <a:pt x="844120" y="623515"/>
                      <a:pt x="844120" y="625193"/>
                      <a:pt x="844443" y="626822"/>
                    </a:cubicBezTo>
                    <a:cubicBezTo>
                      <a:pt x="844443" y="628150"/>
                      <a:pt x="847577" y="629574"/>
                      <a:pt x="848527" y="628815"/>
                    </a:cubicBezTo>
                    <a:cubicBezTo>
                      <a:pt x="849989" y="627989"/>
                      <a:pt x="851328" y="626967"/>
                      <a:pt x="852515" y="625778"/>
                    </a:cubicBezTo>
                    <a:cubicBezTo>
                      <a:pt x="858973" y="617047"/>
                      <a:pt x="865715" y="608506"/>
                      <a:pt x="871508" y="599395"/>
                    </a:cubicBezTo>
                    <a:cubicBezTo>
                      <a:pt x="888830" y="572574"/>
                      <a:pt x="907860" y="546898"/>
                      <a:pt x="928486" y="522525"/>
                    </a:cubicBezTo>
                    <a:cubicBezTo>
                      <a:pt x="964763" y="479061"/>
                      <a:pt x="1002558" y="437114"/>
                      <a:pt x="1042918" y="397256"/>
                    </a:cubicBezTo>
                    <a:cubicBezTo>
                      <a:pt x="1055073" y="385204"/>
                      <a:pt x="1067704" y="373626"/>
                      <a:pt x="1080904" y="362332"/>
                    </a:cubicBezTo>
                    <a:cubicBezTo>
                      <a:pt x="1090400" y="354456"/>
                      <a:pt x="1099896" y="347433"/>
                      <a:pt x="1109393" y="340410"/>
                    </a:cubicBezTo>
                    <a:cubicBezTo>
                      <a:pt x="1116221" y="335143"/>
                      <a:pt x="1124369" y="331860"/>
                      <a:pt x="1132944" y="330920"/>
                    </a:cubicBezTo>
                    <a:cubicBezTo>
                      <a:pt x="1135185" y="330664"/>
                      <a:pt x="1137388" y="330121"/>
                      <a:pt x="1139497" y="329307"/>
                    </a:cubicBezTo>
                    <a:cubicBezTo>
                      <a:pt x="1149506" y="326613"/>
                      <a:pt x="1160085" y="326976"/>
                      <a:pt x="1169885" y="330351"/>
                    </a:cubicBezTo>
                    <a:cubicBezTo>
                      <a:pt x="1171575" y="330718"/>
                      <a:pt x="1173142" y="331501"/>
                      <a:pt x="1174443" y="332628"/>
                    </a:cubicBezTo>
                    <a:cubicBezTo>
                      <a:pt x="1177824" y="335689"/>
                      <a:pt x="1181803" y="338016"/>
                      <a:pt x="1186124" y="339461"/>
                    </a:cubicBezTo>
                    <a:cubicBezTo>
                      <a:pt x="1190881" y="341580"/>
                      <a:pt x="1194395" y="345787"/>
                      <a:pt x="1195620" y="350849"/>
                    </a:cubicBezTo>
                    <a:cubicBezTo>
                      <a:pt x="1196522" y="353009"/>
                      <a:pt x="1196076" y="355494"/>
                      <a:pt x="1194480" y="357208"/>
                    </a:cubicBezTo>
                    <a:cubicBezTo>
                      <a:pt x="1192486" y="359240"/>
                      <a:pt x="1190255" y="361024"/>
                      <a:pt x="1187833" y="362522"/>
                    </a:cubicBezTo>
                    <a:cubicBezTo>
                      <a:pt x="1181945" y="366034"/>
                      <a:pt x="1175963" y="369355"/>
                      <a:pt x="1169885" y="372582"/>
                    </a:cubicBezTo>
                    <a:cubicBezTo>
                      <a:pt x="1158290" y="378757"/>
                      <a:pt x="1147321" y="386034"/>
                      <a:pt x="1137122" y="394314"/>
                    </a:cubicBezTo>
                    <a:cubicBezTo>
                      <a:pt x="1124141" y="404626"/>
                      <a:pt x="1111805" y="415718"/>
                      <a:pt x="1100181" y="427529"/>
                    </a:cubicBezTo>
                    <a:cubicBezTo>
                      <a:pt x="1082233" y="445940"/>
                      <a:pt x="1064380" y="464446"/>
                      <a:pt x="1046906" y="483331"/>
                    </a:cubicBezTo>
                    <a:cubicBezTo>
                      <a:pt x="1029433" y="502217"/>
                      <a:pt x="1009871" y="523759"/>
                      <a:pt x="992682" y="545207"/>
                    </a:cubicBezTo>
                    <a:cubicBezTo>
                      <a:pt x="990109" y="548219"/>
                      <a:pt x="987734" y="551389"/>
                      <a:pt x="985560" y="554697"/>
                    </a:cubicBezTo>
                    <a:cubicBezTo>
                      <a:pt x="977269" y="567715"/>
                      <a:pt x="967963" y="580058"/>
                      <a:pt x="957735" y="591613"/>
                    </a:cubicBezTo>
                    <a:cubicBezTo>
                      <a:pt x="951088" y="599490"/>
                      <a:pt x="944820" y="607652"/>
                      <a:pt x="938743" y="615718"/>
                    </a:cubicBezTo>
                    <a:cubicBezTo>
                      <a:pt x="937641" y="617014"/>
                      <a:pt x="936777" y="618490"/>
                      <a:pt x="936178" y="620084"/>
                    </a:cubicBezTo>
                    <a:cubicBezTo>
                      <a:pt x="934640" y="624413"/>
                      <a:pt x="932143" y="628339"/>
                      <a:pt x="928866" y="631567"/>
                    </a:cubicBezTo>
                    <a:cubicBezTo>
                      <a:pt x="910785" y="652961"/>
                      <a:pt x="894280" y="675639"/>
                      <a:pt x="879485" y="699421"/>
                    </a:cubicBezTo>
                    <a:cubicBezTo>
                      <a:pt x="854842" y="737934"/>
                      <a:pt x="833342" y="778366"/>
                      <a:pt x="815194" y="820325"/>
                    </a:cubicBezTo>
                    <a:cubicBezTo>
                      <a:pt x="811272" y="829837"/>
                      <a:pt x="806230" y="838852"/>
                      <a:pt x="800190" y="847182"/>
                    </a:cubicBezTo>
                    <a:cubicBezTo>
                      <a:pt x="797417" y="850826"/>
                      <a:pt x="794397" y="854282"/>
                      <a:pt x="791169" y="857526"/>
                    </a:cubicBezTo>
                    <a:cubicBezTo>
                      <a:pt x="786629" y="862077"/>
                      <a:pt x="779982" y="863819"/>
                      <a:pt x="773790" y="862082"/>
                    </a:cubicBezTo>
                    <a:cubicBezTo>
                      <a:pt x="767029" y="860580"/>
                      <a:pt x="760894" y="857035"/>
                      <a:pt x="756222" y="851927"/>
                    </a:cubicBezTo>
                    <a:cubicBezTo>
                      <a:pt x="749365" y="844288"/>
                      <a:pt x="741977" y="837152"/>
                      <a:pt x="734095" y="830574"/>
                    </a:cubicBezTo>
                    <a:cubicBezTo>
                      <a:pt x="732500" y="828972"/>
                      <a:pt x="731436" y="826917"/>
                      <a:pt x="731056" y="824691"/>
                    </a:cubicBezTo>
                    <a:cubicBezTo>
                      <a:pt x="729537" y="816823"/>
                      <a:pt x="729537" y="808738"/>
                      <a:pt x="731056" y="800870"/>
                    </a:cubicBezTo>
                    <a:cubicBezTo>
                      <a:pt x="735330" y="774298"/>
                      <a:pt x="739793" y="747821"/>
                      <a:pt x="746061" y="721723"/>
                    </a:cubicBezTo>
                    <a:cubicBezTo>
                      <a:pt x="747751" y="717434"/>
                      <a:pt x="748083" y="712730"/>
                      <a:pt x="747010" y="708247"/>
                    </a:cubicBezTo>
                    <a:cubicBezTo>
                      <a:pt x="747419" y="708337"/>
                      <a:pt x="747837" y="708337"/>
                      <a:pt x="748245" y="708247"/>
                    </a:cubicBezTo>
                    <a:cubicBezTo>
                      <a:pt x="748245" y="708247"/>
                      <a:pt x="748245" y="707298"/>
                      <a:pt x="748245" y="707298"/>
                    </a:cubicBezTo>
                    <a:cubicBezTo>
                      <a:pt x="748245" y="707298"/>
                      <a:pt x="746820" y="707298"/>
                      <a:pt x="747390" y="708816"/>
                    </a:cubicBezTo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  <p:sp>
            <p:nvSpPr>
              <p:cNvPr id="15" name="Freeform 14">
                <a:extLst>
                  <a:ext uri="{FF2B5EF4-FFF2-40B4-BE49-F238E27FC236}">
                    <a16:creationId xmlns:a16="http://schemas.microsoft.com/office/drawing/2014/main" id="{CA2FADF5-CEC3-2343-878D-162C103F968A}"/>
                  </a:ext>
                </a:extLst>
              </p:cNvPr>
              <p:cNvSpPr/>
              <p:nvPr/>
            </p:nvSpPr>
            <p:spPr>
              <a:xfrm>
                <a:off x="4921141" y="-580737"/>
                <a:ext cx="66058" cy="65097"/>
              </a:xfrm>
              <a:custGeom>
                <a:avLst/>
                <a:gdLst>
                  <a:gd name="connsiteX0" fmla="*/ 3952 w 66058"/>
                  <a:gd name="connsiteY0" fmla="*/ 4713 h 65097"/>
                  <a:gd name="connsiteX1" fmla="*/ 55993 w 66058"/>
                  <a:gd name="connsiteY1" fmla="*/ 11831 h 65097"/>
                  <a:gd name="connsiteX2" fmla="*/ 66059 w 66058"/>
                  <a:gd name="connsiteY2" fmla="*/ 31665 h 65097"/>
                  <a:gd name="connsiteX3" fmla="*/ 64255 w 66058"/>
                  <a:gd name="connsiteY3" fmla="*/ 49127 h 65097"/>
                  <a:gd name="connsiteX4" fmla="*/ 63020 w 66058"/>
                  <a:gd name="connsiteY4" fmla="*/ 58048 h 65097"/>
                  <a:gd name="connsiteX5" fmla="*/ 14303 w 66058"/>
                  <a:gd name="connsiteY5" fmla="*/ 54252 h 65097"/>
                  <a:gd name="connsiteX6" fmla="*/ 2718 w 66058"/>
                  <a:gd name="connsiteY6" fmla="*/ 34227 h 65097"/>
                  <a:gd name="connsiteX7" fmla="*/ 3952 w 66058"/>
                  <a:gd name="connsiteY7" fmla="*/ 4713 h 65097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</a:cxnLst>
                <a:rect l="l" t="t" r="r" b="b"/>
                <a:pathLst>
                  <a:path w="66058" h="65097">
                    <a:moveTo>
                      <a:pt x="3952" y="4713"/>
                    </a:moveTo>
                    <a:cubicBezTo>
                      <a:pt x="24654" y="-127"/>
                      <a:pt x="39849" y="-5346"/>
                      <a:pt x="55993" y="11831"/>
                    </a:cubicBezTo>
                    <a:cubicBezTo>
                      <a:pt x="61833" y="16859"/>
                      <a:pt x="65451" y="23987"/>
                      <a:pt x="66059" y="31665"/>
                    </a:cubicBezTo>
                    <a:cubicBezTo>
                      <a:pt x="66059" y="37264"/>
                      <a:pt x="64349" y="43243"/>
                      <a:pt x="64255" y="49127"/>
                    </a:cubicBezTo>
                    <a:cubicBezTo>
                      <a:pt x="64255" y="52828"/>
                      <a:pt x="65204" y="54726"/>
                      <a:pt x="63020" y="58048"/>
                    </a:cubicBezTo>
                    <a:cubicBezTo>
                      <a:pt x="53524" y="72567"/>
                      <a:pt x="25034" y="61274"/>
                      <a:pt x="14303" y="54252"/>
                    </a:cubicBezTo>
                    <a:cubicBezTo>
                      <a:pt x="6611" y="49222"/>
                      <a:pt x="5662" y="42294"/>
                      <a:pt x="2718" y="34227"/>
                    </a:cubicBezTo>
                    <a:cubicBezTo>
                      <a:pt x="-1299" y="24698"/>
                      <a:pt x="-843" y="13874"/>
                      <a:pt x="3952" y="4713"/>
                    </a:cubicBezTo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  <p:sp>
            <p:nvSpPr>
              <p:cNvPr id="16" name="Freeform 15">
                <a:extLst>
                  <a:ext uri="{FF2B5EF4-FFF2-40B4-BE49-F238E27FC236}">
                    <a16:creationId xmlns:a16="http://schemas.microsoft.com/office/drawing/2014/main" id="{8E57FA3E-1A98-2348-B850-0153C1F01ACB}"/>
                  </a:ext>
                </a:extLst>
              </p:cNvPr>
              <p:cNvSpPr/>
              <p:nvPr/>
            </p:nvSpPr>
            <p:spPr>
              <a:xfrm>
                <a:off x="5175172" y="-425891"/>
                <a:ext cx="412425" cy="351340"/>
              </a:xfrm>
              <a:custGeom>
                <a:avLst/>
                <a:gdLst>
                  <a:gd name="connsiteX0" fmla="*/ 151 w 412425"/>
                  <a:gd name="connsiteY0" fmla="*/ 240100 h 351340"/>
                  <a:gd name="connsiteX1" fmla="*/ 4139 w 412425"/>
                  <a:gd name="connsiteY1" fmla="*/ 204987 h 351340"/>
                  <a:gd name="connsiteX2" fmla="*/ 14775 w 412425"/>
                  <a:gd name="connsiteY2" fmla="*/ 177940 h 351340"/>
                  <a:gd name="connsiteX3" fmla="*/ 99388 w 412425"/>
                  <a:gd name="connsiteY3" fmla="*/ 68614 h 351340"/>
                  <a:gd name="connsiteX4" fmla="*/ 141267 w 412425"/>
                  <a:gd name="connsiteY4" fmla="*/ 33406 h 351340"/>
                  <a:gd name="connsiteX5" fmla="*/ 184666 w 412425"/>
                  <a:gd name="connsiteY5" fmla="*/ 9491 h 351340"/>
                  <a:gd name="connsiteX6" fmla="*/ 229584 w 412425"/>
                  <a:gd name="connsiteY6" fmla="*/ 1 h 351340"/>
                  <a:gd name="connsiteX7" fmla="*/ 291405 w 412425"/>
                  <a:gd name="connsiteY7" fmla="*/ 28471 h 351340"/>
                  <a:gd name="connsiteX8" fmla="*/ 305080 w 412425"/>
                  <a:gd name="connsiteY8" fmla="*/ 64628 h 351340"/>
                  <a:gd name="connsiteX9" fmla="*/ 299003 w 412425"/>
                  <a:gd name="connsiteY9" fmla="*/ 87405 h 351340"/>
                  <a:gd name="connsiteX10" fmla="*/ 278775 w 412425"/>
                  <a:gd name="connsiteY10" fmla="*/ 116919 h 351340"/>
                  <a:gd name="connsiteX11" fmla="*/ 264341 w 412425"/>
                  <a:gd name="connsiteY11" fmla="*/ 135899 h 351340"/>
                  <a:gd name="connsiteX12" fmla="*/ 174220 w 412425"/>
                  <a:gd name="connsiteY12" fmla="*/ 208593 h 351340"/>
                  <a:gd name="connsiteX13" fmla="*/ 134430 w 412425"/>
                  <a:gd name="connsiteY13" fmla="*/ 223683 h 351340"/>
                  <a:gd name="connsiteX14" fmla="*/ 95590 w 412425"/>
                  <a:gd name="connsiteY14" fmla="*/ 221500 h 351340"/>
                  <a:gd name="connsiteX15" fmla="*/ 79161 w 412425"/>
                  <a:gd name="connsiteY15" fmla="*/ 216755 h 351340"/>
                  <a:gd name="connsiteX16" fmla="*/ 71754 w 412425"/>
                  <a:gd name="connsiteY16" fmla="*/ 219697 h 351340"/>
                  <a:gd name="connsiteX17" fmla="*/ 70709 w 412425"/>
                  <a:gd name="connsiteY17" fmla="*/ 221120 h 351340"/>
                  <a:gd name="connsiteX18" fmla="*/ 57889 w 412425"/>
                  <a:gd name="connsiteY18" fmla="*/ 266768 h 351340"/>
                  <a:gd name="connsiteX19" fmla="*/ 58649 w 412425"/>
                  <a:gd name="connsiteY19" fmla="*/ 277017 h 351340"/>
                  <a:gd name="connsiteX20" fmla="*/ 68810 w 412425"/>
                  <a:gd name="connsiteY20" fmla="*/ 294099 h 351340"/>
                  <a:gd name="connsiteX21" fmla="*/ 72893 w 412425"/>
                  <a:gd name="connsiteY21" fmla="*/ 297231 h 351340"/>
                  <a:gd name="connsiteX22" fmla="*/ 91886 w 412425"/>
                  <a:gd name="connsiteY22" fmla="*/ 301881 h 351340"/>
                  <a:gd name="connsiteX23" fmla="*/ 111734 w 412425"/>
                  <a:gd name="connsiteY23" fmla="*/ 296756 h 351340"/>
                  <a:gd name="connsiteX24" fmla="*/ 164629 w 412425"/>
                  <a:gd name="connsiteY24" fmla="*/ 269235 h 351340"/>
                  <a:gd name="connsiteX25" fmla="*/ 177354 w 412425"/>
                  <a:gd name="connsiteY25" fmla="*/ 260504 h 351340"/>
                  <a:gd name="connsiteX26" fmla="*/ 256839 w 412425"/>
                  <a:gd name="connsiteY26" fmla="*/ 198154 h 351340"/>
                  <a:gd name="connsiteX27" fmla="*/ 312582 w 412425"/>
                  <a:gd name="connsiteY27" fmla="*/ 152697 h 351340"/>
                  <a:gd name="connsiteX28" fmla="*/ 350568 w 412425"/>
                  <a:gd name="connsiteY28" fmla="*/ 125934 h 351340"/>
                  <a:gd name="connsiteX29" fmla="*/ 376018 w 412425"/>
                  <a:gd name="connsiteY29" fmla="*/ 111794 h 351340"/>
                  <a:gd name="connsiteX30" fmla="*/ 398810 w 412425"/>
                  <a:gd name="connsiteY30" fmla="*/ 104961 h 351340"/>
                  <a:gd name="connsiteX31" fmla="*/ 407166 w 412425"/>
                  <a:gd name="connsiteY31" fmla="*/ 106195 h 351340"/>
                  <a:gd name="connsiteX32" fmla="*/ 411535 w 412425"/>
                  <a:gd name="connsiteY32" fmla="*/ 111035 h 351340"/>
                  <a:gd name="connsiteX33" fmla="*/ 411535 w 412425"/>
                  <a:gd name="connsiteY33" fmla="*/ 122898 h 351340"/>
                  <a:gd name="connsiteX34" fmla="*/ 407831 w 412425"/>
                  <a:gd name="connsiteY34" fmla="*/ 132388 h 351340"/>
                  <a:gd name="connsiteX35" fmla="*/ 398335 w 412425"/>
                  <a:gd name="connsiteY35" fmla="*/ 150704 h 351340"/>
                  <a:gd name="connsiteX36" fmla="*/ 375828 w 412425"/>
                  <a:gd name="connsiteY36" fmla="*/ 178320 h 351340"/>
                  <a:gd name="connsiteX37" fmla="*/ 350663 w 412425"/>
                  <a:gd name="connsiteY37" fmla="*/ 198913 h 351340"/>
                  <a:gd name="connsiteX38" fmla="*/ 293020 w 412425"/>
                  <a:gd name="connsiteY38" fmla="*/ 254905 h 351340"/>
                  <a:gd name="connsiteX39" fmla="*/ 281719 w 412425"/>
                  <a:gd name="connsiteY39" fmla="*/ 264775 h 351340"/>
                  <a:gd name="connsiteX40" fmla="*/ 246772 w 412425"/>
                  <a:gd name="connsiteY40" fmla="*/ 289449 h 351340"/>
                  <a:gd name="connsiteX41" fmla="*/ 229394 w 412425"/>
                  <a:gd name="connsiteY41" fmla="*/ 303210 h 351340"/>
                  <a:gd name="connsiteX42" fmla="*/ 210401 w 412425"/>
                  <a:gd name="connsiteY42" fmla="*/ 314788 h 351340"/>
                  <a:gd name="connsiteX43" fmla="*/ 180013 w 412425"/>
                  <a:gd name="connsiteY43" fmla="*/ 330446 h 351340"/>
                  <a:gd name="connsiteX44" fmla="*/ 161590 w 412425"/>
                  <a:gd name="connsiteY44" fmla="*/ 339367 h 351340"/>
                  <a:gd name="connsiteX45" fmla="*/ 128732 w 412425"/>
                  <a:gd name="connsiteY45" fmla="*/ 348857 h 351340"/>
                  <a:gd name="connsiteX46" fmla="*/ 40321 w 412425"/>
                  <a:gd name="connsiteY46" fmla="*/ 327504 h 351340"/>
                  <a:gd name="connsiteX47" fmla="*/ 7843 w 412425"/>
                  <a:gd name="connsiteY47" fmla="*/ 282047 h 351340"/>
                  <a:gd name="connsiteX48" fmla="*/ 246 w 412425"/>
                  <a:gd name="connsiteY48" fmla="*/ 239816 h 351340"/>
                  <a:gd name="connsiteX49" fmla="*/ 102807 w 412425"/>
                  <a:gd name="connsiteY49" fmla="*/ 176042 h 351340"/>
                  <a:gd name="connsiteX50" fmla="*/ 112303 w 412425"/>
                  <a:gd name="connsiteY50" fmla="*/ 173859 h 351340"/>
                  <a:gd name="connsiteX51" fmla="*/ 143641 w 412425"/>
                  <a:gd name="connsiteY51" fmla="*/ 156398 h 351340"/>
                  <a:gd name="connsiteX52" fmla="*/ 221132 w 412425"/>
                  <a:gd name="connsiteY52" fmla="*/ 86740 h 351340"/>
                  <a:gd name="connsiteX53" fmla="*/ 237656 w 412425"/>
                  <a:gd name="connsiteY53" fmla="*/ 64818 h 351340"/>
                  <a:gd name="connsiteX54" fmla="*/ 240790 w 412425"/>
                  <a:gd name="connsiteY54" fmla="*/ 58744 h 351340"/>
                  <a:gd name="connsiteX55" fmla="*/ 240790 w 412425"/>
                  <a:gd name="connsiteY55" fmla="*/ 55708 h 351340"/>
                  <a:gd name="connsiteX56" fmla="*/ 237846 w 412425"/>
                  <a:gd name="connsiteY56" fmla="*/ 54569 h 351340"/>
                  <a:gd name="connsiteX57" fmla="*/ 225121 w 412425"/>
                  <a:gd name="connsiteY57" fmla="*/ 59409 h 351340"/>
                  <a:gd name="connsiteX58" fmla="*/ 192453 w 412425"/>
                  <a:gd name="connsiteY58" fmla="*/ 81331 h 351340"/>
                  <a:gd name="connsiteX59" fmla="*/ 126453 w 412425"/>
                  <a:gd name="connsiteY59" fmla="*/ 141119 h 351340"/>
                  <a:gd name="connsiteX60" fmla="*/ 104042 w 412425"/>
                  <a:gd name="connsiteY60" fmla="*/ 167027 h 351340"/>
                  <a:gd name="connsiteX61" fmla="*/ 101098 w 412425"/>
                  <a:gd name="connsiteY61" fmla="*/ 173005 h 351340"/>
                  <a:gd name="connsiteX62" fmla="*/ 103092 w 412425"/>
                  <a:gd name="connsiteY62" fmla="*/ 176042 h 35134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  <a:cxn ang="0">
                    <a:pos x="connsiteX33" y="connsiteY33"/>
                  </a:cxn>
                  <a:cxn ang="0">
                    <a:pos x="connsiteX34" y="connsiteY34"/>
                  </a:cxn>
                  <a:cxn ang="0">
                    <a:pos x="connsiteX35" y="connsiteY35"/>
                  </a:cxn>
                  <a:cxn ang="0">
                    <a:pos x="connsiteX36" y="connsiteY36"/>
                  </a:cxn>
                  <a:cxn ang="0">
                    <a:pos x="connsiteX37" y="connsiteY37"/>
                  </a:cxn>
                  <a:cxn ang="0">
                    <a:pos x="connsiteX38" y="connsiteY38"/>
                  </a:cxn>
                  <a:cxn ang="0">
                    <a:pos x="connsiteX39" y="connsiteY39"/>
                  </a:cxn>
                  <a:cxn ang="0">
                    <a:pos x="connsiteX40" y="connsiteY40"/>
                  </a:cxn>
                  <a:cxn ang="0">
                    <a:pos x="connsiteX41" y="connsiteY41"/>
                  </a:cxn>
                  <a:cxn ang="0">
                    <a:pos x="connsiteX42" y="connsiteY42"/>
                  </a:cxn>
                  <a:cxn ang="0">
                    <a:pos x="connsiteX43" y="connsiteY43"/>
                  </a:cxn>
                  <a:cxn ang="0">
                    <a:pos x="connsiteX44" y="connsiteY44"/>
                  </a:cxn>
                  <a:cxn ang="0">
                    <a:pos x="connsiteX45" y="connsiteY45"/>
                  </a:cxn>
                  <a:cxn ang="0">
                    <a:pos x="connsiteX46" y="connsiteY46"/>
                  </a:cxn>
                  <a:cxn ang="0">
                    <a:pos x="connsiteX47" y="connsiteY47"/>
                  </a:cxn>
                  <a:cxn ang="0">
                    <a:pos x="connsiteX48" y="connsiteY48"/>
                  </a:cxn>
                  <a:cxn ang="0">
                    <a:pos x="connsiteX49" y="connsiteY49"/>
                  </a:cxn>
                  <a:cxn ang="0">
                    <a:pos x="connsiteX50" y="connsiteY50"/>
                  </a:cxn>
                  <a:cxn ang="0">
                    <a:pos x="connsiteX51" y="connsiteY51"/>
                  </a:cxn>
                  <a:cxn ang="0">
                    <a:pos x="connsiteX52" y="connsiteY52"/>
                  </a:cxn>
                  <a:cxn ang="0">
                    <a:pos x="connsiteX53" y="connsiteY53"/>
                  </a:cxn>
                  <a:cxn ang="0">
                    <a:pos x="connsiteX54" y="connsiteY54"/>
                  </a:cxn>
                  <a:cxn ang="0">
                    <a:pos x="connsiteX55" y="connsiteY55"/>
                  </a:cxn>
                  <a:cxn ang="0">
                    <a:pos x="connsiteX56" y="connsiteY56"/>
                  </a:cxn>
                  <a:cxn ang="0">
                    <a:pos x="connsiteX57" y="connsiteY57"/>
                  </a:cxn>
                  <a:cxn ang="0">
                    <a:pos x="connsiteX58" y="connsiteY58"/>
                  </a:cxn>
                  <a:cxn ang="0">
                    <a:pos x="connsiteX59" y="connsiteY59"/>
                  </a:cxn>
                  <a:cxn ang="0">
                    <a:pos x="connsiteX60" y="connsiteY60"/>
                  </a:cxn>
                  <a:cxn ang="0">
                    <a:pos x="connsiteX61" y="connsiteY61"/>
                  </a:cxn>
                  <a:cxn ang="0">
                    <a:pos x="connsiteX62" y="connsiteY62"/>
                  </a:cxn>
                </a:cxnLst>
                <a:rect l="l" t="t" r="r" b="b"/>
                <a:pathLst>
                  <a:path w="412425" h="351340">
                    <a:moveTo>
                      <a:pt x="151" y="240100"/>
                    </a:moveTo>
                    <a:cubicBezTo>
                      <a:pt x="28" y="228277"/>
                      <a:pt x="1366" y="216482"/>
                      <a:pt x="4139" y="204987"/>
                    </a:cubicBezTo>
                    <a:cubicBezTo>
                      <a:pt x="6523" y="195557"/>
                      <a:pt x="10094" y="186468"/>
                      <a:pt x="14775" y="177940"/>
                    </a:cubicBezTo>
                    <a:cubicBezTo>
                      <a:pt x="37757" y="137744"/>
                      <a:pt x="66236" y="100948"/>
                      <a:pt x="99388" y="68614"/>
                    </a:cubicBezTo>
                    <a:cubicBezTo>
                      <a:pt x="112275" y="55665"/>
                      <a:pt x="126292" y="43882"/>
                      <a:pt x="141267" y="33406"/>
                    </a:cubicBezTo>
                    <a:cubicBezTo>
                      <a:pt x="154714" y="23715"/>
                      <a:pt x="169291" y="15686"/>
                      <a:pt x="184666" y="9491"/>
                    </a:cubicBezTo>
                    <a:cubicBezTo>
                      <a:pt x="198910" y="3549"/>
                      <a:pt x="214152" y="330"/>
                      <a:pt x="229584" y="1"/>
                    </a:cubicBezTo>
                    <a:cubicBezTo>
                      <a:pt x="253382" y="-94"/>
                      <a:pt x="276012" y="10327"/>
                      <a:pt x="291405" y="28471"/>
                    </a:cubicBezTo>
                    <a:cubicBezTo>
                      <a:pt x="300171" y="38484"/>
                      <a:pt x="305033" y="51323"/>
                      <a:pt x="305080" y="64628"/>
                    </a:cubicBezTo>
                    <a:cubicBezTo>
                      <a:pt x="305593" y="72680"/>
                      <a:pt x="303456" y="80677"/>
                      <a:pt x="299003" y="87405"/>
                    </a:cubicBezTo>
                    <a:cubicBezTo>
                      <a:pt x="292868" y="97643"/>
                      <a:pt x="286106" y="107499"/>
                      <a:pt x="278775" y="116919"/>
                    </a:cubicBezTo>
                    <a:cubicBezTo>
                      <a:pt x="273362" y="122803"/>
                      <a:pt x="269279" y="130015"/>
                      <a:pt x="264341" y="135899"/>
                    </a:cubicBezTo>
                    <a:cubicBezTo>
                      <a:pt x="239147" y="165583"/>
                      <a:pt x="208568" y="190247"/>
                      <a:pt x="174220" y="208593"/>
                    </a:cubicBezTo>
                    <a:cubicBezTo>
                      <a:pt x="161713" y="215428"/>
                      <a:pt x="148323" y="220505"/>
                      <a:pt x="134430" y="223683"/>
                    </a:cubicBezTo>
                    <a:cubicBezTo>
                      <a:pt x="121496" y="226100"/>
                      <a:pt x="108172" y="225351"/>
                      <a:pt x="95590" y="221500"/>
                    </a:cubicBezTo>
                    <a:cubicBezTo>
                      <a:pt x="90082" y="219981"/>
                      <a:pt x="84764" y="218083"/>
                      <a:pt x="79161" y="216755"/>
                    </a:cubicBezTo>
                    <a:cubicBezTo>
                      <a:pt x="76322" y="216077"/>
                      <a:pt x="73359" y="217254"/>
                      <a:pt x="71754" y="219697"/>
                    </a:cubicBezTo>
                    <a:cubicBezTo>
                      <a:pt x="71355" y="220130"/>
                      <a:pt x="71004" y="220608"/>
                      <a:pt x="70709" y="221120"/>
                    </a:cubicBezTo>
                    <a:cubicBezTo>
                      <a:pt x="63065" y="235181"/>
                      <a:pt x="58677" y="250782"/>
                      <a:pt x="57889" y="266768"/>
                    </a:cubicBezTo>
                    <a:cubicBezTo>
                      <a:pt x="57861" y="270199"/>
                      <a:pt x="58117" y="273627"/>
                      <a:pt x="58649" y="277017"/>
                    </a:cubicBezTo>
                    <a:cubicBezTo>
                      <a:pt x="59238" y="283966"/>
                      <a:pt x="62989" y="290259"/>
                      <a:pt x="68810" y="294099"/>
                    </a:cubicBezTo>
                    <a:cubicBezTo>
                      <a:pt x="70234" y="295060"/>
                      <a:pt x="71592" y="296105"/>
                      <a:pt x="72893" y="297231"/>
                    </a:cubicBezTo>
                    <a:cubicBezTo>
                      <a:pt x="78259" y="301436"/>
                      <a:pt x="85182" y="303130"/>
                      <a:pt x="91886" y="301881"/>
                    </a:cubicBezTo>
                    <a:cubicBezTo>
                      <a:pt x="98667" y="300893"/>
                      <a:pt x="105323" y="299175"/>
                      <a:pt x="111734" y="296756"/>
                    </a:cubicBezTo>
                    <a:cubicBezTo>
                      <a:pt x="130366" y="289645"/>
                      <a:pt x="148114" y="280411"/>
                      <a:pt x="164629" y="269235"/>
                    </a:cubicBezTo>
                    <a:cubicBezTo>
                      <a:pt x="168807" y="266198"/>
                      <a:pt x="173175" y="263446"/>
                      <a:pt x="177354" y="260504"/>
                    </a:cubicBezTo>
                    <a:cubicBezTo>
                      <a:pt x="204988" y="241524"/>
                      <a:pt x="230913" y="219697"/>
                      <a:pt x="256839" y="198154"/>
                    </a:cubicBezTo>
                    <a:cubicBezTo>
                      <a:pt x="275262" y="182780"/>
                      <a:pt x="293685" y="167501"/>
                      <a:pt x="312582" y="152697"/>
                    </a:cubicBezTo>
                    <a:cubicBezTo>
                      <a:pt x="324643" y="143206"/>
                      <a:pt x="337368" y="134381"/>
                      <a:pt x="350568" y="125934"/>
                    </a:cubicBezTo>
                    <a:cubicBezTo>
                      <a:pt x="358801" y="120777"/>
                      <a:pt x="367291" y="116057"/>
                      <a:pt x="376018" y="111794"/>
                    </a:cubicBezTo>
                    <a:cubicBezTo>
                      <a:pt x="383160" y="108197"/>
                      <a:pt x="390871" y="105885"/>
                      <a:pt x="398810" y="104961"/>
                    </a:cubicBezTo>
                    <a:cubicBezTo>
                      <a:pt x="401649" y="104865"/>
                      <a:pt x="404479" y="105284"/>
                      <a:pt x="407166" y="106195"/>
                    </a:cubicBezTo>
                    <a:cubicBezTo>
                      <a:pt x="409389" y="106901"/>
                      <a:pt x="411060" y="108752"/>
                      <a:pt x="411535" y="111035"/>
                    </a:cubicBezTo>
                    <a:cubicBezTo>
                      <a:pt x="412722" y="114900"/>
                      <a:pt x="412722" y="119032"/>
                      <a:pt x="411535" y="122898"/>
                    </a:cubicBezTo>
                    <a:cubicBezTo>
                      <a:pt x="410481" y="126128"/>
                      <a:pt x="409246" y="129296"/>
                      <a:pt x="407831" y="132388"/>
                    </a:cubicBezTo>
                    <a:cubicBezTo>
                      <a:pt x="404887" y="138556"/>
                      <a:pt x="401564" y="144535"/>
                      <a:pt x="398335" y="150704"/>
                    </a:cubicBezTo>
                    <a:cubicBezTo>
                      <a:pt x="393112" y="161551"/>
                      <a:pt x="385401" y="171012"/>
                      <a:pt x="375828" y="178320"/>
                    </a:cubicBezTo>
                    <a:cubicBezTo>
                      <a:pt x="367282" y="184963"/>
                      <a:pt x="359115" y="192080"/>
                      <a:pt x="350663" y="198913"/>
                    </a:cubicBezTo>
                    <a:cubicBezTo>
                      <a:pt x="329429" y="215378"/>
                      <a:pt x="310094" y="234158"/>
                      <a:pt x="293020" y="254905"/>
                    </a:cubicBezTo>
                    <a:cubicBezTo>
                      <a:pt x="289734" y="258706"/>
                      <a:pt x="285926" y="262028"/>
                      <a:pt x="281719" y="264775"/>
                    </a:cubicBezTo>
                    <a:lnTo>
                      <a:pt x="246772" y="289449"/>
                    </a:lnTo>
                    <a:cubicBezTo>
                      <a:pt x="240514" y="293413"/>
                      <a:pt x="234683" y="298025"/>
                      <a:pt x="229394" y="303210"/>
                    </a:cubicBezTo>
                    <a:cubicBezTo>
                      <a:pt x="223952" y="308370"/>
                      <a:pt x="217485" y="312317"/>
                      <a:pt x="210401" y="314788"/>
                    </a:cubicBezTo>
                    <a:cubicBezTo>
                      <a:pt x="199889" y="319226"/>
                      <a:pt x="189727" y="324461"/>
                      <a:pt x="180013" y="330446"/>
                    </a:cubicBezTo>
                    <a:cubicBezTo>
                      <a:pt x="174096" y="333855"/>
                      <a:pt x="167933" y="336836"/>
                      <a:pt x="161590" y="339367"/>
                    </a:cubicBezTo>
                    <a:cubicBezTo>
                      <a:pt x="151030" y="343762"/>
                      <a:pt x="140004" y="346946"/>
                      <a:pt x="128732" y="348857"/>
                    </a:cubicBezTo>
                    <a:cubicBezTo>
                      <a:pt x="97546" y="355828"/>
                      <a:pt x="64878" y="347939"/>
                      <a:pt x="40321" y="327504"/>
                    </a:cubicBezTo>
                    <a:cubicBezTo>
                      <a:pt x="25753" y="315405"/>
                      <a:pt x="14566" y="299746"/>
                      <a:pt x="7843" y="282047"/>
                    </a:cubicBezTo>
                    <a:cubicBezTo>
                      <a:pt x="1756" y="268845"/>
                      <a:pt x="-856" y="254309"/>
                      <a:pt x="246" y="239816"/>
                    </a:cubicBezTo>
                    <a:moveTo>
                      <a:pt x="102807" y="176042"/>
                    </a:moveTo>
                    <a:cubicBezTo>
                      <a:pt x="106026" y="175572"/>
                      <a:pt x="109198" y="174842"/>
                      <a:pt x="112303" y="173859"/>
                    </a:cubicBezTo>
                    <a:cubicBezTo>
                      <a:pt x="123395" y="169282"/>
                      <a:pt x="133917" y="163422"/>
                      <a:pt x="143641" y="156398"/>
                    </a:cubicBezTo>
                    <a:cubicBezTo>
                      <a:pt x="172377" y="136622"/>
                      <a:pt x="198426" y="113208"/>
                      <a:pt x="221132" y="86740"/>
                    </a:cubicBezTo>
                    <a:cubicBezTo>
                      <a:pt x="227115" y="79718"/>
                      <a:pt x="232243" y="72220"/>
                      <a:pt x="237656" y="64818"/>
                    </a:cubicBezTo>
                    <a:cubicBezTo>
                      <a:pt x="238938" y="62927"/>
                      <a:pt x="239992" y="60887"/>
                      <a:pt x="240790" y="58744"/>
                    </a:cubicBezTo>
                    <a:cubicBezTo>
                      <a:pt x="241170" y="57768"/>
                      <a:pt x="241170" y="56684"/>
                      <a:pt x="240790" y="55708"/>
                    </a:cubicBezTo>
                    <a:cubicBezTo>
                      <a:pt x="239963" y="55003"/>
                      <a:pt x="238928" y="54602"/>
                      <a:pt x="237846" y="54569"/>
                    </a:cubicBezTo>
                    <a:cubicBezTo>
                      <a:pt x="233278" y="55131"/>
                      <a:pt x="228910" y="56791"/>
                      <a:pt x="225121" y="59409"/>
                    </a:cubicBezTo>
                    <a:cubicBezTo>
                      <a:pt x="213621" y="65761"/>
                      <a:pt x="202690" y="73096"/>
                      <a:pt x="192453" y="81331"/>
                    </a:cubicBezTo>
                    <a:cubicBezTo>
                      <a:pt x="168968" y="99564"/>
                      <a:pt x="146908" y="119550"/>
                      <a:pt x="126453" y="141119"/>
                    </a:cubicBezTo>
                    <a:cubicBezTo>
                      <a:pt x="118666" y="149375"/>
                      <a:pt x="111354" y="158296"/>
                      <a:pt x="104042" y="167027"/>
                    </a:cubicBezTo>
                    <a:cubicBezTo>
                      <a:pt x="102712" y="168831"/>
                      <a:pt x="101715" y="170855"/>
                      <a:pt x="101098" y="173005"/>
                    </a:cubicBezTo>
                    <a:cubicBezTo>
                      <a:pt x="101098" y="173575"/>
                      <a:pt x="102142" y="174619"/>
                      <a:pt x="103092" y="176042"/>
                    </a:cubicBezTo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  <p:sp>
            <p:nvSpPr>
              <p:cNvPr id="17" name="Freeform 16">
                <a:extLst>
                  <a:ext uri="{FF2B5EF4-FFF2-40B4-BE49-F238E27FC236}">
                    <a16:creationId xmlns:a16="http://schemas.microsoft.com/office/drawing/2014/main" id="{E6648A87-2BAF-A549-8211-A1C6CCB06F8D}"/>
                  </a:ext>
                </a:extLst>
              </p:cNvPr>
              <p:cNvSpPr/>
              <p:nvPr/>
            </p:nvSpPr>
            <p:spPr>
              <a:xfrm>
                <a:off x="5660524" y="-724743"/>
                <a:ext cx="333068" cy="540294"/>
              </a:xfrm>
              <a:custGeom>
                <a:avLst/>
                <a:gdLst>
                  <a:gd name="connsiteX0" fmla="*/ 322278 w 333068"/>
                  <a:gd name="connsiteY0" fmla="*/ 12157 h 540294"/>
                  <a:gd name="connsiteX1" fmla="*/ 330825 w 333068"/>
                  <a:gd name="connsiteY1" fmla="*/ 27436 h 540294"/>
                  <a:gd name="connsiteX2" fmla="*/ 330825 w 333068"/>
                  <a:gd name="connsiteY2" fmla="*/ 43854 h 540294"/>
                  <a:gd name="connsiteX3" fmla="*/ 324462 w 333068"/>
                  <a:gd name="connsiteY3" fmla="*/ 53913 h 540294"/>
                  <a:gd name="connsiteX4" fmla="*/ 308318 w 333068"/>
                  <a:gd name="connsiteY4" fmla="*/ 76120 h 540294"/>
                  <a:gd name="connsiteX5" fmla="*/ 267199 w 333068"/>
                  <a:gd name="connsiteY5" fmla="*/ 139134 h 540294"/>
                  <a:gd name="connsiteX6" fmla="*/ 241464 w 333068"/>
                  <a:gd name="connsiteY6" fmla="*/ 179562 h 540294"/>
                  <a:gd name="connsiteX7" fmla="*/ 228643 w 333068"/>
                  <a:gd name="connsiteY7" fmla="*/ 199776 h 540294"/>
                  <a:gd name="connsiteX8" fmla="*/ 211835 w 333068"/>
                  <a:gd name="connsiteY8" fmla="*/ 227677 h 540294"/>
                  <a:gd name="connsiteX9" fmla="*/ 193792 w 333068"/>
                  <a:gd name="connsiteY9" fmla="*/ 258710 h 540294"/>
                  <a:gd name="connsiteX10" fmla="*/ 186669 w 333068"/>
                  <a:gd name="connsiteY10" fmla="*/ 270382 h 540294"/>
                  <a:gd name="connsiteX11" fmla="*/ 124373 w 333068"/>
                  <a:gd name="connsiteY11" fmla="*/ 384264 h 540294"/>
                  <a:gd name="connsiteX12" fmla="*/ 94460 w 333068"/>
                  <a:gd name="connsiteY12" fmla="*/ 449556 h 540294"/>
                  <a:gd name="connsiteX13" fmla="*/ 65400 w 333068"/>
                  <a:gd name="connsiteY13" fmla="*/ 513424 h 540294"/>
                  <a:gd name="connsiteX14" fmla="*/ 46407 w 333068"/>
                  <a:gd name="connsiteY14" fmla="*/ 534018 h 540294"/>
                  <a:gd name="connsiteX15" fmla="*/ 33872 w 333068"/>
                  <a:gd name="connsiteY15" fmla="*/ 539332 h 540294"/>
                  <a:gd name="connsiteX16" fmla="*/ 14880 w 333068"/>
                  <a:gd name="connsiteY16" fmla="*/ 532025 h 540294"/>
                  <a:gd name="connsiteX17" fmla="*/ 8992 w 333068"/>
                  <a:gd name="connsiteY17" fmla="*/ 519688 h 540294"/>
                  <a:gd name="connsiteX18" fmla="*/ 6333 w 333068"/>
                  <a:gd name="connsiteY18" fmla="*/ 515417 h 540294"/>
                  <a:gd name="connsiteX19" fmla="*/ 1205 w 333068"/>
                  <a:gd name="connsiteY19" fmla="*/ 497765 h 540294"/>
                  <a:gd name="connsiteX20" fmla="*/ 13645 w 333068"/>
                  <a:gd name="connsiteY20" fmla="*/ 453352 h 540294"/>
                  <a:gd name="connsiteX21" fmla="*/ 39190 w 333068"/>
                  <a:gd name="connsiteY21" fmla="*/ 387965 h 540294"/>
                  <a:gd name="connsiteX22" fmla="*/ 94649 w 333068"/>
                  <a:gd name="connsiteY22" fmla="*/ 274084 h 540294"/>
                  <a:gd name="connsiteX23" fmla="*/ 113642 w 333068"/>
                  <a:gd name="connsiteY23" fmla="*/ 243336 h 540294"/>
                  <a:gd name="connsiteX24" fmla="*/ 118105 w 333068"/>
                  <a:gd name="connsiteY24" fmla="*/ 236028 h 540294"/>
                  <a:gd name="connsiteX25" fmla="*/ 137858 w 333068"/>
                  <a:gd name="connsiteY25" fmla="*/ 202243 h 540294"/>
                  <a:gd name="connsiteX26" fmla="*/ 158370 w 333068"/>
                  <a:gd name="connsiteY26" fmla="*/ 166656 h 540294"/>
                  <a:gd name="connsiteX27" fmla="*/ 178882 w 333068"/>
                  <a:gd name="connsiteY27" fmla="*/ 132966 h 540294"/>
                  <a:gd name="connsiteX28" fmla="*/ 261691 w 333068"/>
                  <a:gd name="connsiteY28" fmla="*/ 15478 h 540294"/>
                  <a:gd name="connsiteX29" fmla="*/ 270713 w 333068"/>
                  <a:gd name="connsiteY29" fmla="*/ 5134 h 540294"/>
                  <a:gd name="connsiteX30" fmla="*/ 284767 w 333068"/>
                  <a:gd name="connsiteY30" fmla="*/ 104 h 540294"/>
                  <a:gd name="connsiteX31" fmla="*/ 291510 w 333068"/>
                  <a:gd name="connsiteY31" fmla="*/ 1148 h 540294"/>
                  <a:gd name="connsiteX32" fmla="*/ 323513 w 333068"/>
                  <a:gd name="connsiteY32" fmla="*/ 11967 h 540294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  <a:cxn ang="0">
                    <a:pos x="connsiteX15" y="connsiteY15"/>
                  </a:cxn>
                  <a:cxn ang="0">
                    <a:pos x="connsiteX16" y="connsiteY16"/>
                  </a:cxn>
                  <a:cxn ang="0">
                    <a:pos x="connsiteX17" y="connsiteY17"/>
                  </a:cxn>
                  <a:cxn ang="0">
                    <a:pos x="connsiteX18" y="connsiteY18"/>
                  </a:cxn>
                  <a:cxn ang="0">
                    <a:pos x="connsiteX19" y="connsiteY19"/>
                  </a:cxn>
                  <a:cxn ang="0">
                    <a:pos x="connsiteX20" y="connsiteY20"/>
                  </a:cxn>
                  <a:cxn ang="0">
                    <a:pos x="connsiteX21" y="connsiteY21"/>
                  </a:cxn>
                  <a:cxn ang="0">
                    <a:pos x="connsiteX22" y="connsiteY22"/>
                  </a:cxn>
                  <a:cxn ang="0">
                    <a:pos x="connsiteX23" y="connsiteY23"/>
                  </a:cxn>
                  <a:cxn ang="0">
                    <a:pos x="connsiteX24" y="connsiteY24"/>
                  </a:cxn>
                  <a:cxn ang="0">
                    <a:pos x="connsiteX25" y="connsiteY25"/>
                  </a:cxn>
                  <a:cxn ang="0">
                    <a:pos x="connsiteX26" y="connsiteY26"/>
                  </a:cxn>
                  <a:cxn ang="0">
                    <a:pos x="connsiteX27" y="connsiteY27"/>
                  </a:cxn>
                  <a:cxn ang="0">
                    <a:pos x="connsiteX28" y="connsiteY28"/>
                  </a:cxn>
                  <a:cxn ang="0">
                    <a:pos x="connsiteX29" y="connsiteY29"/>
                  </a:cxn>
                  <a:cxn ang="0">
                    <a:pos x="connsiteX30" y="connsiteY30"/>
                  </a:cxn>
                  <a:cxn ang="0">
                    <a:pos x="connsiteX31" y="connsiteY31"/>
                  </a:cxn>
                  <a:cxn ang="0">
                    <a:pos x="connsiteX32" y="connsiteY32"/>
                  </a:cxn>
                </a:cxnLst>
                <a:rect l="l" t="t" r="r" b="b"/>
                <a:pathLst>
                  <a:path w="333068" h="540294">
                    <a:moveTo>
                      <a:pt x="322278" y="12157"/>
                    </a:moveTo>
                    <a:lnTo>
                      <a:pt x="330825" y="27436"/>
                    </a:lnTo>
                    <a:cubicBezTo>
                      <a:pt x="333816" y="32500"/>
                      <a:pt x="333816" y="38790"/>
                      <a:pt x="330825" y="43854"/>
                    </a:cubicBezTo>
                    <a:cubicBezTo>
                      <a:pt x="328887" y="47317"/>
                      <a:pt x="326760" y="50675"/>
                      <a:pt x="324462" y="53913"/>
                    </a:cubicBezTo>
                    <a:cubicBezTo>
                      <a:pt x="319144" y="61410"/>
                      <a:pt x="313826" y="68813"/>
                      <a:pt x="308318" y="76120"/>
                    </a:cubicBezTo>
                    <a:cubicBezTo>
                      <a:pt x="293285" y="96227"/>
                      <a:pt x="279544" y="117275"/>
                      <a:pt x="267199" y="139134"/>
                    </a:cubicBezTo>
                    <a:cubicBezTo>
                      <a:pt x="259317" y="153085"/>
                      <a:pt x="250010" y="166086"/>
                      <a:pt x="241464" y="179562"/>
                    </a:cubicBezTo>
                    <a:cubicBezTo>
                      <a:pt x="237095" y="186300"/>
                      <a:pt x="232727" y="193038"/>
                      <a:pt x="228643" y="199776"/>
                    </a:cubicBezTo>
                    <a:cubicBezTo>
                      <a:pt x="222946" y="209266"/>
                      <a:pt x="217723" y="218756"/>
                      <a:pt x="211835" y="227677"/>
                    </a:cubicBezTo>
                    <a:cubicBezTo>
                      <a:pt x="205187" y="237639"/>
                      <a:pt x="199157" y="248003"/>
                      <a:pt x="193792" y="258710"/>
                    </a:cubicBezTo>
                    <a:cubicBezTo>
                      <a:pt x="191750" y="262793"/>
                      <a:pt x="189366" y="266697"/>
                      <a:pt x="186669" y="270382"/>
                    </a:cubicBezTo>
                    <a:cubicBezTo>
                      <a:pt x="161779" y="305941"/>
                      <a:pt x="140887" y="344132"/>
                      <a:pt x="124373" y="384264"/>
                    </a:cubicBezTo>
                    <a:cubicBezTo>
                      <a:pt x="114877" y="406376"/>
                      <a:pt x="104905" y="428013"/>
                      <a:pt x="94460" y="449556"/>
                    </a:cubicBezTo>
                    <a:cubicBezTo>
                      <a:pt x="84013" y="471098"/>
                      <a:pt x="73472" y="491407"/>
                      <a:pt x="65400" y="513424"/>
                    </a:cubicBezTo>
                    <a:cubicBezTo>
                      <a:pt x="62409" y="522744"/>
                      <a:pt x="55458" y="530276"/>
                      <a:pt x="46407" y="534018"/>
                    </a:cubicBezTo>
                    <a:cubicBezTo>
                      <a:pt x="42229" y="535726"/>
                      <a:pt x="38146" y="537814"/>
                      <a:pt x="33872" y="539332"/>
                    </a:cubicBezTo>
                    <a:cubicBezTo>
                      <a:pt x="26608" y="542027"/>
                      <a:pt x="18460" y="538896"/>
                      <a:pt x="14880" y="532025"/>
                    </a:cubicBezTo>
                    <a:cubicBezTo>
                      <a:pt x="12885" y="527944"/>
                      <a:pt x="10986" y="523768"/>
                      <a:pt x="8992" y="519688"/>
                    </a:cubicBezTo>
                    <a:cubicBezTo>
                      <a:pt x="8232" y="518169"/>
                      <a:pt x="7567" y="516081"/>
                      <a:pt x="6333" y="515417"/>
                    </a:cubicBezTo>
                    <a:cubicBezTo>
                      <a:pt x="-2119" y="511336"/>
                      <a:pt x="-125" y="504693"/>
                      <a:pt x="1205" y="497765"/>
                    </a:cubicBezTo>
                    <a:cubicBezTo>
                      <a:pt x="4405" y="482712"/>
                      <a:pt x="8564" y="467877"/>
                      <a:pt x="13645" y="453352"/>
                    </a:cubicBezTo>
                    <a:cubicBezTo>
                      <a:pt x="21147" y="431145"/>
                      <a:pt x="29884" y="409413"/>
                      <a:pt x="39190" y="387965"/>
                    </a:cubicBezTo>
                    <a:cubicBezTo>
                      <a:pt x="55904" y="349182"/>
                      <a:pt x="74394" y="311221"/>
                      <a:pt x="94649" y="274084"/>
                    </a:cubicBezTo>
                    <a:cubicBezTo>
                      <a:pt x="100262" y="263406"/>
                      <a:pt x="106605" y="253131"/>
                      <a:pt x="113642" y="243336"/>
                    </a:cubicBezTo>
                    <a:cubicBezTo>
                      <a:pt x="115465" y="241119"/>
                      <a:pt x="116966" y="238660"/>
                      <a:pt x="118105" y="236028"/>
                    </a:cubicBezTo>
                    <a:cubicBezTo>
                      <a:pt x="123689" y="224209"/>
                      <a:pt x="130299" y="212905"/>
                      <a:pt x="137858" y="202243"/>
                    </a:cubicBezTo>
                    <a:cubicBezTo>
                      <a:pt x="144410" y="190191"/>
                      <a:pt x="151438" y="178423"/>
                      <a:pt x="158370" y="166656"/>
                    </a:cubicBezTo>
                    <a:cubicBezTo>
                      <a:pt x="165303" y="154888"/>
                      <a:pt x="171855" y="144164"/>
                      <a:pt x="178882" y="132966"/>
                    </a:cubicBezTo>
                    <a:cubicBezTo>
                      <a:pt x="204057" y="92150"/>
                      <a:pt x="231711" y="52914"/>
                      <a:pt x="261691" y="15478"/>
                    </a:cubicBezTo>
                    <a:cubicBezTo>
                      <a:pt x="264521" y="11877"/>
                      <a:pt x="267531" y="8424"/>
                      <a:pt x="270713" y="5134"/>
                    </a:cubicBezTo>
                    <a:cubicBezTo>
                      <a:pt x="274369" y="1382"/>
                      <a:pt x="279554" y="-475"/>
                      <a:pt x="284767" y="104"/>
                    </a:cubicBezTo>
                    <a:cubicBezTo>
                      <a:pt x="287046" y="166"/>
                      <a:pt x="289316" y="516"/>
                      <a:pt x="291510" y="1148"/>
                    </a:cubicBezTo>
                    <a:cubicBezTo>
                      <a:pt x="302240" y="4659"/>
                      <a:pt x="312971" y="8361"/>
                      <a:pt x="323513" y="11967"/>
                    </a:cubicBezTo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  <p:sp>
            <p:nvSpPr>
              <p:cNvPr id="18" name="Freeform 17">
                <a:extLst>
                  <a:ext uri="{FF2B5EF4-FFF2-40B4-BE49-F238E27FC236}">
                    <a16:creationId xmlns:a16="http://schemas.microsoft.com/office/drawing/2014/main" id="{369C4E88-0E92-EA4F-9C08-D093E3DBF736}"/>
                  </a:ext>
                </a:extLst>
              </p:cNvPr>
              <p:cNvSpPr/>
              <p:nvPr/>
            </p:nvSpPr>
            <p:spPr>
              <a:xfrm>
                <a:off x="5588240" y="-82064"/>
                <a:ext cx="97217" cy="64492"/>
              </a:xfrm>
              <a:custGeom>
                <a:avLst/>
                <a:gdLst>
                  <a:gd name="connsiteX0" fmla="*/ 25057 w 97217"/>
                  <a:gd name="connsiteY0" fmla="*/ 0 h 64492"/>
                  <a:gd name="connsiteX1" fmla="*/ 35788 w 97217"/>
                  <a:gd name="connsiteY1" fmla="*/ 1613 h 64492"/>
                  <a:gd name="connsiteX2" fmla="*/ 57724 w 97217"/>
                  <a:gd name="connsiteY2" fmla="*/ 3227 h 64492"/>
                  <a:gd name="connsiteX3" fmla="*/ 76717 w 97217"/>
                  <a:gd name="connsiteY3" fmla="*/ 8731 h 64492"/>
                  <a:gd name="connsiteX4" fmla="*/ 94760 w 97217"/>
                  <a:gd name="connsiteY4" fmla="*/ 28850 h 64492"/>
                  <a:gd name="connsiteX5" fmla="*/ 94760 w 97217"/>
                  <a:gd name="connsiteY5" fmla="*/ 44888 h 64492"/>
                  <a:gd name="connsiteX6" fmla="*/ 80041 w 97217"/>
                  <a:gd name="connsiteY6" fmla="*/ 61401 h 64492"/>
                  <a:gd name="connsiteX7" fmla="*/ 70544 w 97217"/>
                  <a:gd name="connsiteY7" fmla="*/ 64438 h 64492"/>
                  <a:gd name="connsiteX8" fmla="*/ 46993 w 97217"/>
                  <a:gd name="connsiteY8" fmla="*/ 60642 h 64492"/>
                  <a:gd name="connsiteX9" fmla="*/ 13186 w 97217"/>
                  <a:gd name="connsiteY9" fmla="*/ 38909 h 64492"/>
                  <a:gd name="connsiteX10" fmla="*/ 1126 w 97217"/>
                  <a:gd name="connsiteY10" fmla="*/ 18316 h 64492"/>
                  <a:gd name="connsiteX11" fmla="*/ 6472 w 97217"/>
                  <a:gd name="connsiteY11" fmla="*/ 3123 h 64492"/>
                  <a:gd name="connsiteX12" fmla="*/ 8913 w 97217"/>
                  <a:gd name="connsiteY12" fmla="*/ 2278 h 64492"/>
                  <a:gd name="connsiteX13" fmla="*/ 17270 w 97217"/>
                  <a:gd name="connsiteY13" fmla="*/ 569 h 64492"/>
                  <a:gd name="connsiteX14" fmla="*/ 25152 w 97217"/>
                  <a:gd name="connsiteY14" fmla="*/ 0 h 64492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  <a:cxn ang="0">
                    <a:pos x="connsiteX4" y="connsiteY4"/>
                  </a:cxn>
                  <a:cxn ang="0">
                    <a:pos x="connsiteX5" y="connsiteY5"/>
                  </a:cxn>
                  <a:cxn ang="0">
                    <a:pos x="connsiteX6" y="connsiteY6"/>
                  </a:cxn>
                  <a:cxn ang="0">
                    <a:pos x="connsiteX7" y="connsiteY7"/>
                  </a:cxn>
                  <a:cxn ang="0">
                    <a:pos x="connsiteX8" y="connsiteY8"/>
                  </a:cxn>
                  <a:cxn ang="0">
                    <a:pos x="connsiteX9" y="connsiteY9"/>
                  </a:cxn>
                  <a:cxn ang="0">
                    <a:pos x="connsiteX10" y="connsiteY10"/>
                  </a:cxn>
                  <a:cxn ang="0">
                    <a:pos x="connsiteX11" y="connsiteY11"/>
                  </a:cxn>
                  <a:cxn ang="0">
                    <a:pos x="connsiteX12" y="connsiteY12"/>
                  </a:cxn>
                  <a:cxn ang="0">
                    <a:pos x="connsiteX13" y="connsiteY13"/>
                  </a:cxn>
                  <a:cxn ang="0">
                    <a:pos x="connsiteX14" y="connsiteY14"/>
                  </a:cxn>
                </a:cxnLst>
                <a:rect l="l" t="t" r="r" b="b"/>
                <a:pathLst>
                  <a:path w="97217" h="64492">
                    <a:moveTo>
                      <a:pt x="25057" y="0"/>
                    </a:moveTo>
                    <a:cubicBezTo>
                      <a:pt x="28665" y="335"/>
                      <a:pt x="32245" y="873"/>
                      <a:pt x="35788" y="1613"/>
                    </a:cubicBezTo>
                    <a:cubicBezTo>
                      <a:pt x="42910" y="3665"/>
                      <a:pt x="50383" y="4214"/>
                      <a:pt x="57724" y="3227"/>
                    </a:cubicBezTo>
                    <a:cubicBezTo>
                      <a:pt x="64524" y="2611"/>
                      <a:pt x="71304" y="4576"/>
                      <a:pt x="76717" y="8731"/>
                    </a:cubicBezTo>
                    <a:cubicBezTo>
                      <a:pt x="84314" y="13832"/>
                      <a:pt x="90515" y="20747"/>
                      <a:pt x="94760" y="28850"/>
                    </a:cubicBezTo>
                    <a:cubicBezTo>
                      <a:pt x="98036" y="33696"/>
                      <a:pt x="98036" y="40043"/>
                      <a:pt x="94760" y="44888"/>
                    </a:cubicBezTo>
                    <a:cubicBezTo>
                      <a:pt x="90810" y="51175"/>
                      <a:pt x="85834" y="56757"/>
                      <a:pt x="80041" y="61401"/>
                    </a:cubicBezTo>
                    <a:cubicBezTo>
                      <a:pt x="77420" y="63662"/>
                      <a:pt x="73991" y="64759"/>
                      <a:pt x="70544" y="64438"/>
                    </a:cubicBezTo>
                    <a:cubicBezTo>
                      <a:pt x="62662" y="63299"/>
                      <a:pt x="54685" y="62445"/>
                      <a:pt x="46993" y="60642"/>
                    </a:cubicBezTo>
                    <a:cubicBezTo>
                      <a:pt x="33556" y="57503"/>
                      <a:pt x="21619" y="49828"/>
                      <a:pt x="13186" y="38909"/>
                    </a:cubicBezTo>
                    <a:cubicBezTo>
                      <a:pt x="8334" y="32564"/>
                      <a:pt x="4288" y="25648"/>
                      <a:pt x="1126" y="18316"/>
                    </a:cubicBezTo>
                    <a:cubicBezTo>
                      <a:pt x="-1600" y="12645"/>
                      <a:pt x="793" y="5843"/>
                      <a:pt x="6472" y="3123"/>
                    </a:cubicBezTo>
                    <a:cubicBezTo>
                      <a:pt x="7251" y="2749"/>
                      <a:pt x="8068" y="2466"/>
                      <a:pt x="8913" y="2278"/>
                    </a:cubicBezTo>
                    <a:cubicBezTo>
                      <a:pt x="11657" y="1508"/>
                      <a:pt x="14449" y="937"/>
                      <a:pt x="17270" y="569"/>
                    </a:cubicBezTo>
                    <a:cubicBezTo>
                      <a:pt x="19454" y="569"/>
                      <a:pt x="21733" y="569"/>
                      <a:pt x="25152" y="0"/>
                    </a:cubicBezTo>
                  </a:path>
                </a:pathLst>
              </a:custGeom>
              <a:grpFill/>
              <a:ln w="9496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endParaRPr lang="en-US" sz="2432"/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2261399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9693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5" indent="0">
              <a:lnSpc>
                <a:spcPct val="100000"/>
              </a:lnSpc>
              <a:spcBef>
                <a:spcPts val="148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2133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89438" indent="0">
              <a:lnSpc>
                <a:spcPct val="100000"/>
              </a:lnSpc>
              <a:spcBef>
                <a:spcPts val="60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chemeClr val="tx2"/>
                </a:solidFill>
                <a:latin typeface="CiscoSansTT" panose="020B0503020201020303" pitchFamily="34" charset="0"/>
                <a:ea typeface="CiscoSansTT" panose="020B0503020201020303" pitchFamily="34" charset="0"/>
                <a:cs typeface="CiscoSansTT Thin" charset="0"/>
              </a:defRPr>
            </a:lvl2pPr>
            <a:lvl3pPr marL="914332" indent="-146039">
              <a:lnSpc>
                <a:spcPct val="100000"/>
              </a:lnSpc>
              <a:spcAft>
                <a:spcPts val="267"/>
              </a:spcAft>
              <a:buClr>
                <a:schemeClr val="bg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22" indent="-228537">
              <a:lnSpc>
                <a:spcPct val="100000"/>
              </a:lnSpc>
              <a:spcAft>
                <a:spcPts val="267"/>
              </a:spcAft>
              <a:buClr>
                <a:schemeClr val="bg2"/>
              </a:buClr>
              <a:buSzPct val="80000"/>
              <a:buFont typeface="Arial"/>
              <a:buChar char="•"/>
              <a:defRPr sz="1467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159" indent="-224304">
              <a:lnSpc>
                <a:spcPct val="100000"/>
              </a:lnSpc>
              <a:spcAft>
                <a:spcPts val="267"/>
              </a:spcAft>
              <a:buClr>
                <a:schemeClr val="bg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Slide Number Placeholder 1">
            <a:extLst>
              <a:ext uri="{FF2B5EF4-FFF2-40B4-BE49-F238E27FC236}">
                <a16:creationId xmlns:a16="http://schemas.microsoft.com/office/drawing/2014/main" id="{ED35FC21-7FA0-1C42-B35C-578DFDBD32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3690" y="6356352"/>
            <a:ext cx="5091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8FC28B90-9E4B-4646-9D16-5D346AFEF2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9A2A3D16-7311-C343-A5D9-F571B7852D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70521" y="6356352"/>
            <a:ext cx="62019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|   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130996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3DB55142-3282-44B4-8B59-4020D50B81F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11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77F995B-5AF4-45BF-8B28-CA063BFFEDF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80260" y="6214836"/>
            <a:ext cx="1554872" cy="422925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41142" y="4713806"/>
            <a:ext cx="6314695" cy="511087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Speaker’s Nam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41142" y="5264012"/>
            <a:ext cx="6314695" cy="95082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 her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142" y="993220"/>
            <a:ext cx="6312765" cy="196977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6667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ver headline sentence cas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541142" y="3017205"/>
            <a:ext cx="6328221" cy="16966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2667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 err="1"/>
              <a:t>Subheadline</a:t>
            </a:r>
            <a:r>
              <a:rPr lang="en-US"/>
              <a:t> in sentence case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FA08DDBA-7B96-42E2-86EA-0C94483881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E7AC964-20BC-5C44-BB9D-2C010A17A54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 altLang="zh-TW"/>
              <a:t>Month</a:t>
            </a:r>
            <a:r>
              <a:rPr lang="zh-TW" altLang="en-US"/>
              <a:t> </a:t>
            </a:r>
            <a:r>
              <a:rPr lang="en-US" altLang="zh-TW"/>
              <a:t>XX,</a:t>
            </a:r>
            <a:r>
              <a:rPr lang="zh-TW" altLang="en-US"/>
              <a:t> </a:t>
            </a:r>
            <a:r>
              <a:rPr lang="en-US" altLang="zh-TW"/>
              <a:t>Yea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33525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up to 5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3222"/>
            <a:ext cx="4518361" cy="205379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ontents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F3B1879A-B619-984E-82C7-4434B9F2A25C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5782530" y="1011863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1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4BD297AF-7D2D-D94D-B0E8-94538FF52057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6578191" y="2480482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EB822921-0C8E-3C44-A1CD-F57BC9505616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5782530" y="2087129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2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DA9D4E5-FBBF-994F-AA3B-A8FD8ADBD704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6578191" y="3556661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B03C4A2-7938-6849-8D46-277EC2DB2F8E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6578191" y="3135605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5E9B8D30-521D-864E-AAD2-9AB01D6BBF2E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5782530" y="3153930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3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CF377F4-3F0E-754A-84E9-8885433BCA73}"/>
              </a:ext>
            </a:extLst>
          </p:cNvPr>
          <p:cNvSpPr>
            <a:spLocks noGrp="1"/>
          </p:cNvSpPr>
          <p:nvPr>
            <p:ph type="body" sz="half" idx="33" hasCustomPrompt="1"/>
          </p:nvPr>
        </p:nvSpPr>
        <p:spPr>
          <a:xfrm>
            <a:off x="6578191" y="4623462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8B6D2346-F32B-6245-ABF4-0D656814BDAC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6578191" y="4202405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90907DA3-7813-1343-BE3E-5E4707F98652}"/>
              </a:ext>
            </a:extLst>
          </p:cNvPr>
          <p:cNvSpPr>
            <a:spLocks noGrp="1"/>
          </p:cNvSpPr>
          <p:nvPr>
            <p:ph type="body" sz="half" idx="35" hasCustomPrompt="1"/>
          </p:nvPr>
        </p:nvSpPr>
        <p:spPr>
          <a:xfrm>
            <a:off x="5782530" y="4220730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4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357F977-9E83-FB43-A933-EBF86645182F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6578191" y="5664861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43AE9062-3EA5-8441-A358-162479B3E4C4}"/>
              </a:ext>
            </a:extLst>
          </p:cNvPr>
          <p:cNvSpPr>
            <a:spLocks noGrp="1"/>
          </p:cNvSpPr>
          <p:nvPr>
            <p:ph type="body" sz="half" idx="37" hasCustomPrompt="1"/>
          </p:nvPr>
        </p:nvSpPr>
        <p:spPr>
          <a:xfrm>
            <a:off x="6578191" y="5243804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B32ED203-88E4-614B-AB16-C784FB6AAEC2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5782530" y="5262130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5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FB49C323-7C7D-804E-82D9-2045EA5F8DCA}"/>
              </a:ext>
            </a:extLst>
          </p:cNvPr>
          <p:cNvSpPr>
            <a:spLocks noGrp="1"/>
          </p:cNvSpPr>
          <p:nvPr>
            <p:ph type="body" sz="half" idx="39" hasCustomPrompt="1"/>
          </p:nvPr>
        </p:nvSpPr>
        <p:spPr>
          <a:xfrm>
            <a:off x="6578191" y="978559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36E9A218-B974-1D4F-81D6-6E343885F274}"/>
              </a:ext>
            </a:extLst>
          </p:cNvPr>
          <p:cNvSpPr>
            <a:spLocks noGrp="1"/>
          </p:cNvSpPr>
          <p:nvPr>
            <p:ph type="body" sz="half" idx="40" hasCustomPrompt="1"/>
          </p:nvPr>
        </p:nvSpPr>
        <p:spPr>
          <a:xfrm>
            <a:off x="6578191" y="2057083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4E0C9FA-1CEF-D442-805C-B1304D12773B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6578191" y="1401958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EA9F760-54C7-4D39-BFBE-CB5FEB9E61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71820893-9915-4BFA-B034-1C8F63FF81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100000"/>
              </a:lnSpc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FFD397-3600-4EC8-8694-6DE9A09E921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5925087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up to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3223"/>
            <a:ext cx="5390425" cy="13188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4267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F3B1879A-B619-984E-82C7-4434B9F2A25C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558801" y="2478139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1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4BD297AF-7D2D-D94D-B0E8-94538FF52057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1354461" y="3810313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EB822921-0C8E-3C44-A1CD-F57BC9505616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558801" y="3397683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2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DA9D4E5-FBBF-994F-AA3B-A8FD8ADBD704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1354461" y="4734069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B03C4A2-7938-6849-8D46-277EC2DB2F8E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1354461" y="4312232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5E9B8D30-521D-864E-AAD2-9AB01D6BBF2E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558801" y="4317227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3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CF377F4-3F0E-754A-84E9-8885433BCA73}"/>
              </a:ext>
            </a:extLst>
          </p:cNvPr>
          <p:cNvSpPr>
            <a:spLocks noGrp="1"/>
          </p:cNvSpPr>
          <p:nvPr>
            <p:ph type="body" sz="half" idx="33" hasCustomPrompt="1"/>
          </p:nvPr>
        </p:nvSpPr>
        <p:spPr>
          <a:xfrm>
            <a:off x="1342112" y="5657826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8B6D2346-F32B-6245-ABF4-0D656814BDAC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1342112" y="5236769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90907DA3-7813-1343-BE3E-5E4707F98652}"/>
              </a:ext>
            </a:extLst>
          </p:cNvPr>
          <p:cNvSpPr>
            <a:spLocks noGrp="1"/>
          </p:cNvSpPr>
          <p:nvPr>
            <p:ph type="body" sz="half" idx="35" hasCustomPrompt="1"/>
          </p:nvPr>
        </p:nvSpPr>
        <p:spPr>
          <a:xfrm>
            <a:off x="546451" y="5236771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4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FB49C323-7C7D-804E-82D9-2045EA5F8DCA}"/>
              </a:ext>
            </a:extLst>
          </p:cNvPr>
          <p:cNvSpPr>
            <a:spLocks noGrp="1"/>
          </p:cNvSpPr>
          <p:nvPr>
            <p:ph type="body" sz="half" idx="39" hasCustomPrompt="1"/>
          </p:nvPr>
        </p:nvSpPr>
        <p:spPr>
          <a:xfrm>
            <a:off x="1354461" y="2463157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36E9A218-B974-1D4F-81D6-6E343885F274}"/>
              </a:ext>
            </a:extLst>
          </p:cNvPr>
          <p:cNvSpPr>
            <a:spLocks noGrp="1"/>
          </p:cNvSpPr>
          <p:nvPr>
            <p:ph type="body" sz="half" idx="40" hasCustomPrompt="1"/>
          </p:nvPr>
        </p:nvSpPr>
        <p:spPr>
          <a:xfrm>
            <a:off x="1354461" y="3387694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4E0C9FA-1CEF-D442-805C-B1304D12773B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1354461" y="2886557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EA9F760-54C7-4D39-BFBE-CB5FEB9E61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71820893-9915-4BFA-B034-1C8F63FF81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100000"/>
              </a:lnSpc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FFD397-3600-4EC8-8694-6DE9A09E921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3C20764-63DC-41E8-9C7F-E25D307EE557}"/>
              </a:ext>
            </a:extLst>
          </p:cNvPr>
          <p:cNvSpPr>
            <a:spLocks noGrp="1"/>
          </p:cNvSpPr>
          <p:nvPr>
            <p:ph type="body" sz="half" idx="43" hasCustomPrompt="1"/>
          </p:nvPr>
        </p:nvSpPr>
        <p:spPr>
          <a:xfrm>
            <a:off x="6264207" y="2463157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5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54FF577-772A-41CF-B806-B27FEBD63D74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7059868" y="3795330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B55BF2F-380E-4EFB-B046-8182E6C5D20A}"/>
              </a:ext>
            </a:extLst>
          </p:cNvPr>
          <p:cNvSpPr>
            <a:spLocks noGrp="1"/>
          </p:cNvSpPr>
          <p:nvPr>
            <p:ph type="body" sz="half" idx="45" hasCustomPrompt="1"/>
          </p:nvPr>
        </p:nvSpPr>
        <p:spPr>
          <a:xfrm>
            <a:off x="6264207" y="3382701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6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43F57A3-46B0-4550-84B1-CC695920B0EE}"/>
              </a:ext>
            </a:extLst>
          </p:cNvPr>
          <p:cNvSpPr>
            <a:spLocks noGrp="1"/>
          </p:cNvSpPr>
          <p:nvPr>
            <p:ph type="body" sz="half" idx="46" hasCustomPrompt="1"/>
          </p:nvPr>
        </p:nvSpPr>
        <p:spPr>
          <a:xfrm>
            <a:off x="7059868" y="4719086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3789CA6-53C8-4BAE-954E-06003EB6D646}"/>
              </a:ext>
            </a:extLst>
          </p:cNvPr>
          <p:cNvSpPr>
            <a:spLocks noGrp="1"/>
          </p:cNvSpPr>
          <p:nvPr>
            <p:ph type="body" sz="half" idx="47" hasCustomPrompt="1"/>
          </p:nvPr>
        </p:nvSpPr>
        <p:spPr>
          <a:xfrm>
            <a:off x="7059868" y="4297249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6496AA22-DA56-4B97-8E59-16462CD7A335}"/>
              </a:ext>
            </a:extLst>
          </p:cNvPr>
          <p:cNvSpPr>
            <a:spLocks noGrp="1"/>
          </p:cNvSpPr>
          <p:nvPr>
            <p:ph type="body" sz="half" idx="48" hasCustomPrompt="1"/>
          </p:nvPr>
        </p:nvSpPr>
        <p:spPr>
          <a:xfrm>
            <a:off x="6264207" y="4302245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6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4C89E3A-AB27-4036-93FF-BD8A83504130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7047519" y="5642843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0F66D1C-C372-4707-AA8E-384994CA8FB5}"/>
              </a:ext>
            </a:extLst>
          </p:cNvPr>
          <p:cNvSpPr>
            <a:spLocks noGrp="1"/>
          </p:cNvSpPr>
          <p:nvPr>
            <p:ph type="body" sz="half" idx="50" hasCustomPrompt="1"/>
          </p:nvPr>
        </p:nvSpPr>
        <p:spPr>
          <a:xfrm>
            <a:off x="7047519" y="5221786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F21B11E7-AF06-4AAF-A83E-878C585EC666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6251858" y="5221789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8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44A6C6A-3712-4F22-AB73-02EF14791FEB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7059868" y="2448174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98A57429-28BA-4B50-8D4B-BE52589BD153}"/>
              </a:ext>
            </a:extLst>
          </p:cNvPr>
          <p:cNvSpPr>
            <a:spLocks noGrp="1"/>
          </p:cNvSpPr>
          <p:nvPr>
            <p:ph type="body" sz="half" idx="53" hasCustomPrompt="1"/>
          </p:nvPr>
        </p:nvSpPr>
        <p:spPr>
          <a:xfrm>
            <a:off x="7059868" y="3372712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8FE7BF6C-D02D-4BAF-82B1-B39EC24946DD}"/>
              </a:ext>
            </a:extLst>
          </p:cNvPr>
          <p:cNvSpPr>
            <a:spLocks noGrp="1"/>
          </p:cNvSpPr>
          <p:nvPr>
            <p:ph type="body" sz="half" idx="54" hasCustomPrompt="1"/>
          </p:nvPr>
        </p:nvSpPr>
        <p:spPr>
          <a:xfrm>
            <a:off x="7059868" y="2871574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</p:spTree>
    <p:extLst>
      <p:ext uri="{BB962C8B-B14F-4D97-AF65-F5344CB8AC3E}">
        <p14:creationId xmlns:p14="http://schemas.microsoft.com/office/powerpoint/2010/main" val="1129869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unlimite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3223"/>
            <a:ext cx="5390425" cy="13188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4267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EA9F760-54C7-4D39-BFBE-CB5FEB9E61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71820893-9915-4BFA-B034-1C8F63FF81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100000"/>
              </a:lnSpc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FFD397-3600-4EC8-8694-6DE9A09E921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4E693A-514B-4840-BF84-65FC4630DA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558800" y="2494135"/>
            <a:ext cx="11074400" cy="3539164"/>
          </a:xfrm>
        </p:spPr>
        <p:txBody>
          <a:bodyPr numCol="2" spcCol="457200">
            <a:noAutofit/>
          </a:bodyPr>
          <a:lstStyle>
            <a:lvl1pPr marL="0" indent="0">
              <a:lnSpc>
                <a:spcPct val="120000"/>
              </a:lnSpc>
              <a:buSzPct val="100000"/>
              <a:buFont typeface="Arial" panose="020B0604020202020204" pitchFamily="34" charset="0"/>
              <a:buNone/>
              <a:defRPr>
                <a:latin typeface="+mj-lt"/>
              </a:defRPr>
            </a:lvl1pPr>
            <a:lvl2pPr>
              <a:lnSpc>
                <a:spcPct val="120000"/>
              </a:lnSpc>
              <a:defRPr>
                <a:latin typeface="+mj-lt"/>
              </a:defRPr>
            </a:lvl2pPr>
            <a:lvl3pPr>
              <a:lnSpc>
                <a:spcPct val="120000"/>
              </a:lnSpc>
              <a:defRPr>
                <a:latin typeface="+mj-lt"/>
              </a:defRPr>
            </a:lvl3pPr>
            <a:lvl4pPr>
              <a:lnSpc>
                <a:spcPct val="120000"/>
              </a:lnSpc>
              <a:defRPr>
                <a:latin typeface="+mj-lt"/>
              </a:defRPr>
            </a:lvl4pPr>
            <a:lvl5pPr>
              <a:lnSpc>
                <a:spcPct val="120000"/>
              </a:lnSpc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300426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86F225C-F7F7-4528-849E-361C51FFB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904" y="990601"/>
            <a:ext cx="11077296" cy="126135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pc="-133" baseline="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696DE5-6EFF-4C09-9943-5FCA93FF6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352" y="2431880"/>
            <a:ext cx="11077296" cy="3744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38FCC569-4B46-4920-ACAD-F80E06ACD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98D7571-5BE1-4182-8211-BAD95EBE9A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2B15268-7993-4213-A094-A98AEF8E227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33093711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0601"/>
            <a:ext cx="11080025" cy="127000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pc="-133" baseline="0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2250274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2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2462AB-6463-CF4C-ACBF-34DDFE050AC3}"/>
              </a:ext>
            </a:extLst>
          </p:cNvPr>
          <p:cNvCxnSpPr>
            <a:cxnSpLocks/>
          </p:cNvCxnSpPr>
          <p:nvPr/>
        </p:nvCxnSpPr>
        <p:spPr>
          <a:xfrm>
            <a:off x="8121723" y="993221"/>
            <a:ext cx="3506376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1776A2A-B671-AB4E-8FDB-35C6B7BE364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8124669" y="1599574"/>
            <a:ext cx="350637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Description of data with option to highlight text with a color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F7A43E-8EF4-FE4A-ACFF-9F5A5EC847DE}"/>
              </a:ext>
            </a:extLst>
          </p:cNvPr>
          <p:cNvCxnSpPr>
            <a:cxnSpLocks/>
          </p:cNvCxnSpPr>
          <p:nvPr/>
        </p:nvCxnSpPr>
        <p:spPr>
          <a:xfrm>
            <a:off x="8121723" y="3346677"/>
            <a:ext cx="3506376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5778F89-154B-F240-B35E-F81B16D999D6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8124669" y="3953030"/>
            <a:ext cx="350637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Description of data with option to highlight text with a color</a:t>
            </a: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A953F6CF-E655-4E7D-BDFB-6A551D28089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2"/>
            <a:ext cx="4896179" cy="3399937"/>
          </a:xfrm>
        </p:spPr>
        <p:txBody>
          <a:bodyPr>
            <a:noAutofit/>
          </a:bodyPr>
          <a:lstStyle>
            <a:lvl1pPr marL="228589" indent="-228589">
              <a:buFont typeface="Arial" panose="020B0604020202020204" pitchFamily="34" charset="0"/>
              <a:buChar char="•"/>
              <a:defRPr sz="1333" spc="0"/>
            </a:lvl1pPr>
            <a:lvl2pPr>
              <a:defRPr sz="1067" spc="0"/>
            </a:lvl2pPr>
            <a:lvl3pPr>
              <a:defRPr sz="800" spc="0"/>
            </a:lvl3pPr>
            <a:lvl4pPr>
              <a:defRPr sz="400" spc="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35A59425-FB4F-4C38-AD94-620219A101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3222"/>
            <a:ext cx="4901805" cy="170991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with key data right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11798FBB-8372-4722-82BF-FACDB6A640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4127422-6D86-4CED-ABA9-B9D18F6B22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28A8C1EF-D8F4-42D5-AAB0-CC93828312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BCAD04E-4C2E-418B-8D4E-04445E6DDC9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124671" y="1139205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BDD70ED-054E-4BF0-8B6B-069CF8E5142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121724" y="3477584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</p:spTree>
    <p:extLst>
      <p:ext uri="{BB962C8B-B14F-4D97-AF65-F5344CB8AC3E}">
        <p14:creationId xmlns:p14="http://schemas.microsoft.com/office/powerpoint/2010/main" val="14218398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653349"/>
            <a:ext cx="11080025" cy="1044544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>
            <a:lvl1pPr>
              <a:defRPr lang="en-US" spc="-133" baseline="0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60FCB4-EE3E-42E3-BBE8-23ACC4C8255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58800" y="1697893"/>
            <a:ext cx="11074400" cy="791633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Subhead here</a:t>
            </a:r>
          </a:p>
        </p:txBody>
      </p:sp>
    </p:spTree>
    <p:extLst>
      <p:ext uri="{BB962C8B-B14F-4D97-AF65-F5344CB8AC3E}">
        <p14:creationId xmlns:p14="http://schemas.microsoft.com/office/powerpoint/2010/main" val="22801211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653349"/>
            <a:ext cx="11080025" cy="1044544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>
            <a:lvl1pPr>
              <a:defRPr lang="en-US" spc="-133" baseline="0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60FCB4-EE3E-42E3-BBE8-23ACC4C8255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58800" y="1697893"/>
            <a:ext cx="11074400" cy="627163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70470B5-7D83-479D-9564-22B6B8F5C0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352" y="2431880"/>
            <a:ext cx="11077296" cy="3744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967316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8C469D-456E-4ECF-83FA-AF1F3BDB26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9962" y="2870199"/>
            <a:ext cx="5036747" cy="3306764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8E86-A92A-495E-A49E-35F25D765A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2870199"/>
            <a:ext cx="5036747" cy="3306764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07E327-023E-47A7-9F81-203A5EF3E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C82030-C78E-4E63-AF50-53433F6349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631F93F1-F5D5-44EF-B435-0444DF40D6A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41E03BCD-4647-8142-8C2E-FB3E6786A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3223"/>
            <a:ext cx="10733135" cy="13188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4267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4C5DDAA-0303-504E-8EBE-D33A79B54FA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35266257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DC1BA0-9AAE-4457-AB7A-2225418D1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8801" y="2605088"/>
            <a:ext cx="4491699" cy="823912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E848AC0-25F2-405D-B9A8-6A6D59BA03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5982" y="3610285"/>
            <a:ext cx="4487517" cy="253283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933"/>
            </a:lvl3pPr>
            <a:lvl4pPr>
              <a:lnSpc>
                <a:spcPct val="100000"/>
              </a:lnSpc>
              <a:defRPr sz="533"/>
            </a:lvl4pPr>
            <a:lvl5pPr>
              <a:lnSpc>
                <a:spcPct val="100000"/>
              </a:lnSpc>
              <a:defRPr sz="2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AF116F-80E4-401F-8142-28C0EE2B6E8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48401" y="2605088"/>
            <a:ext cx="4513820" cy="823912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E3511E8-A554-4DB3-8DE9-40E338349FC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48402" y="3610285"/>
            <a:ext cx="4509617" cy="253283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933"/>
            </a:lvl3pPr>
            <a:lvl4pPr>
              <a:lnSpc>
                <a:spcPct val="100000"/>
              </a:lnSpc>
              <a:defRPr sz="533"/>
            </a:lvl4pPr>
            <a:lvl5pPr>
              <a:lnSpc>
                <a:spcPct val="100000"/>
              </a:lnSpc>
              <a:defRPr sz="2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324A219-BAAE-44FA-9F17-70A08A4E4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0F9371A-4233-460B-91A9-B91A8429B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631F93F1-F5D5-44EF-B435-0444DF40D6A6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E7D2E1E7-3627-C24A-8859-F22E42967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3223"/>
            <a:ext cx="10204844" cy="13188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4267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DEBB81F-3B6A-9D42-BBB8-E7239C96535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2164949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324A219-BAAE-44FA-9F17-70A08A4E4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0F9371A-4233-460B-91A9-B91A8429B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631F93F1-F5D5-44EF-B435-0444DF40D6A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58696A-2388-495D-981D-050920BB5C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1" y="5698889"/>
            <a:ext cx="4993217" cy="585216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C009990-5F38-4F94-ABE2-44DA301BD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1" y="5698889"/>
            <a:ext cx="4993217" cy="585216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D01E734-4CA7-4CBD-A769-BCC20375564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8800" y="2870201"/>
            <a:ext cx="5029200" cy="2563284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E24BD1C9-BB6F-4B1A-B0AC-70FBFBAD0D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48400" y="2870201"/>
            <a:ext cx="5029200" cy="2563284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7B77A1AA-FFDB-F549-829A-9D558731DF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3223"/>
            <a:ext cx="10724425" cy="13188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4267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9FF5CA2-AA5C-A44B-9D30-11F10D000DF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4694921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7" y="1435770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01829FA-66B0-49C8-B058-060918442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AFEEC4E5-C9B5-4809-A3AF-A1BF455A6D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5AC6BC3-E361-426B-A484-414155D5E00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37074368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852EFE5-F3AD-466D-A810-5721563A61F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7142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7" y="1435770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bg2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C5A7B1-F776-4AEB-A138-D3C83604F0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bg2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871DBA-F007-46A1-A631-B39FF80484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41D7A26-8D16-41D3-9962-58AF73F09FA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DCAF470-2A1A-492F-A797-E4EF9D10BED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0611287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lu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7" y="1435770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A832AD-9020-43CC-9118-CF9573E361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9C3388C-D351-41C3-8A5A-719088525C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8FF48E17-5F97-4F10-BA4E-743A412EE4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78C9D1-477C-4088-B4A6-993E397641F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35831309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Red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7" y="1435770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568E111-65BF-4A46-8EAE-312C901D58C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99EEAE5F-ECFF-4F72-96BB-3224A53463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0D416E35-5B7F-4B60-AA20-B7D96C3AAF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1D93D2D-5BCB-4781-AF52-A821F4FEE7E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5051272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Orang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7" y="1435770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BFC48DC-824F-D44A-AB16-F590AD9FBE6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3297E32-6352-4D99-9949-266620911B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93F2BD-54CB-4DEA-A29C-C6C514A756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0E3BE08-F150-4EA2-BBA1-E1E7F059747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1765217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4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2462AB-6463-CF4C-ACBF-34DDFE050AC3}"/>
              </a:ext>
            </a:extLst>
          </p:cNvPr>
          <p:cNvCxnSpPr>
            <a:cxnSpLocks/>
          </p:cNvCxnSpPr>
          <p:nvPr/>
        </p:nvCxnSpPr>
        <p:spPr>
          <a:xfrm>
            <a:off x="9069053" y="993221"/>
            <a:ext cx="2559049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1776A2A-B671-AB4E-8FDB-35C6B7BE364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9069051" y="1612209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F7A43E-8EF4-FE4A-ACFF-9F5A5EC847DE}"/>
              </a:ext>
            </a:extLst>
          </p:cNvPr>
          <p:cNvCxnSpPr>
            <a:cxnSpLocks/>
          </p:cNvCxnSpPr>
          <p:nvPr/>
        </p:nvCxnSpPr>
        <p:spPr>
          <a:xfrm>
            <a:off x="9084041" y="3346677"/>
            <a:ext cx="2544059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5778F89-154B-F240-B35E-F81B16D999D6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9069051" y="3965665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F9833B0-6B7A-714F-92F0-2318F3988881}"/>
              </a:ext>
            </a:extLst>
          </p:cNvPr>
          <p:cNvCxnSpPr>
            <a:cxnSpLocks/>
          </p:cNvCxnSpPr>
          <p:nvPr/>
        </p:nvCxnSpPr>
        <p:spPr>
          <a:xfrm>
            <a:off x="6235912" y="993221"/>
            <a:ext cx="2559049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3FA3CBF-374B-A244-B5C0-E13E40FCC1EA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6235911" y="1612209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116D5F1-B389-8444-92F2-80861F0A60F1}"/>
              </a:ext>
            </a:extLst>
          </p:cNvPr>
          <p:cNvCxnSpPr>
            <a:cxnSpLocks/>
          </p:cNvCxnSpPr>
          <p:nvPr/>
        </p:nvCxnSpPr>
        <p:spPr>
          <a:xfrm>
            <a:off x="6250900" y="3346677"/>
            <a:ext cx="2544059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325976-5126-7040-BC43-767BC0796538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6235911" y="3965665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F0978613-50ED-4F51-BBE0-00F6975A767E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2" y="2870202"/>
            <a:ext cx="4833332" cy="3413905"/>
          </a:xfrm>
        </p:spPr>
        <p:txBody>
          <a:bodyPr>
            <a:noAutofit/>
          </a:bodyPr>
          <a:lstStyle>
            <a:lvl1pPr marL="228589" indent="-228589">
              <a:buFont typeface="Arial" panose="020B0604020202020204" pitchFamily="34" charset="0"/>
              <a:buChar char="•"/>
              <a:defRPr sz="1333" spc="0"/>
            </a:lvl1pPr>
            <a:lvl2pPr>
              <a:defRPr sz="1067" spc="0"/>
            </a:lvl2pPr>
            <a:lvl3pPr>
              <a:defRPr sz="800" spc="0"/>
            </a:lvl3pPr>
            <a:lvl4pPr>
              <a:defRPr sz="400" spc="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08D8E3A7-A4BC-4E58-A3CD-1366DCB307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3223"/>
            <a:ext cx="4838960" cy="167508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with key data right</a:t>
            </a:r>
          </a:p>
        </p:txBody>
      </p:sp>
      <p:sp>
        <p:nvSpPr>
          <p:cNvPr id="38" name="Slide Number Placeholder 4">
            <a:extLst>
              <a:ext uri="{FF2B5EF4-FFF2-40B4-BE49-F238E27FC236}">
                <a16:creationId xmlns:a16="http://schemas.microsoft.com/office/drawing/2014/main" id="{EB927BF6-B7DB-457A-BD02-2BDF652259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316AFE74-19AA-44F5-A0EC-8E1A24A495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48461BE4-FEE8-4E08-94EF-CF8BE4A0F9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1529625F-7DEE-402F-BCC7-E3F6B1DFA88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50900" y="1147649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6839659-BE0B-4010-92F6-DAEB5D615CD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50900" y="3479712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A83BDD0-E718-4437-ADC5-FDF817E32F4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084040" y="1146637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FD13EB52-63CB-4ADD-B22D-D9D6F1D697A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084040" y="347870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</p:spTree>
    <p:extLst>
      <p:ext uri="{BB962C8B-B14F-4D97-AF65-F5344CB8AC3E}">
        <p14:creationId xmlns:p14="http://schemas.microsoft.com/office/powerpoint/2010/main" val="29774651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83972"/>
            <a:ext cx="8071795" cy="66702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z="2400" spc="0" dirty="0">
                <a:solidFill>
                  <a:schemeClr val="accent5"/>
                </a:solidFill>
                <a:cs typeface="CiscoSansTT" panose="020B0503020201020303" pitchFamily="34" charset="0"/>
              </a:defRPr>
            </a:lvl1pPr>
          </a:lstStyle>
          <a:p>
            <a:pPr marL="0"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75BB999-B759-4029-B296-14C2F167911F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46101" y="1811867"/>
            <a:ext cx="8078871" cy="4214284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3733">
                <a:latin typeface="+mj-lt"/>
              </a:defRPr>
            </a:lvl1pPr>
            <a:lvl2pPr>
              <a:lnSpc>
                <a:spcPct val="90000"/>
              </a:lnSpc>
              <a:defRPr sz="2667"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700335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an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DA0E52D-C721-4650-9C0F-6736A8356BDD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32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7" y="983972"/>
            <a:ext cx="4981879" cy="66702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z="2400" spc="0" dirty="0">
                <a:solidFill>
                  <a:schemeClr val="accent5"/>
                </a:solidFill>
                <a:cs typeface="CiscoSansTT" panose="020B0503020201020303" pitchFamily="34" charset="0"/>
              </a:defRPr>
            </a:lvl1pPr>
          </a:lstStyle>
          <a:p>
            <a:pPr marL="0"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127894-6416-466C-BB1B-398D49613D6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530558" y="982135"/>
            <a:ext cx="4885983" cy="668867"/>
          </a:xfrm>
        </p:spPr>
        <p:txBody>
          <a:bodyPr vert="horz" lIns="0" tIns="45720" rIns="0" bIns="45720" rtlCol="0" anchor="t" anchorCtr="0">
            <a:noAutofit/>
          </a:bodyPr>
          <a:lstStyle>
            <a:lvl1pPr marL="0" indent="0">
              <a:buNone/>
              <a:defRPr lang="en-US" sz="2400" kern="100" dirty="0" smtClean="0">
                <a:solidFill>
                  <a:schemeClr val="accent5"/>
                </a:solidFill>
                <a:latin typeface="CiscoSansTT" panose="020B0503020201020303" pitchFamily="34" charset="0"/>
                <a:ea typeface="+mj-ea"/>
                <a:cs typeface="CiscoSansTT" panose="020B0503020201020303" pitchFamily="34" charset="0"/>
              </a:defRPr>
            </a:lvl1pPr>
            <a:lvl2pPr>
              <a:defRPr lang="en-US" dirty="0"/>
            </a:lvl2pPr>
          </a:lstStyle>
          <a:p>
            <a:pPr marL="78314" lvl="0" indent="-380990">
              <a:lnSpc>
                <a:spcPct val="90000"/>
              </a:lnSpc>
              <a:spcBef>
                <a:spcPct val="0"/>
              </a:spcBef>
            </a:pPr>
            <a:r>
              <a:rPr lang="en-US"/>
              <a:t>Headline her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BC4757B-926E-4069-B78F-E73CDA44A44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0496176-F129-4881-B78D-72B2E47446FA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46101" y="1811867"/>
            <a:ext cx="4988639" cy="4214284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3200">
                <a:latin typeface="+mj-lt"/>
              </a:defRPr>
            </a:lvl1pPr>
            <a:lvl2pPr>
              <a:lnSpc>
                <a:spcPct val="90000"/>
              </a:lnSpc>
              <a:defRPr sz="2400"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C9A2F0E-BF59-44DA-B575-55D071F77A76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530560" y="1811867"/>
            <a:ext cx="4874187" cy="4214284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0000"/>
              </a:lnSpc>
              <a:defRPr sz="24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435385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BA091B5-A806-4305-BC24-7E50D3D4B3A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0"/>
            <a:ext cx="5029200" cy="343621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>
              <a:defRPr sz="1067"/>
            </a:lvl2pPr>
            <a:lvl3pPr>
              <a:defRPr sz="800"/>
            </a:lvl3pPr>
            <a:lvl4pPr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848DCA2-1B24-46EE-95C8-6D3E57E0DD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034828" cy="162197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pc="-133" baseline="0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13C221C-310C-4FD1-A99C-046A2149E8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2" y="6375912"/>
            <a:ext cx="5386555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99F7D69-A9F4-4F01-BFAC-42E7473B3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1E1BB935-C530-47D2-883E-00828E3A8FC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055" y="761514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45D52EC-26A2-4717-A839-1CB71E6AF42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ADC0D05-BC65-421F-926D-B535B5CE43F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64810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BA091B5-A806-4305-BC24-7E50D3D4B3A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5029200" cy="342228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/>
            </a:lvl1pPr>
            <a:lvl2pPr>
              <a:defRPr lang="en-US" sz="1067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848DCA2-1B24-46EE-95C8-6D3E57E0DD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0599"/>
            <a:ext cx="5034827" cy="168467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99F7D69-A9F4-4F01-BFAC-42E7473B3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70E4E8C-5C8A-4A5C-9CB6-21983AE4806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7705974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D667F840-8562-40AC-BE3D-8404AB46E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3984B84-E026-4120-A200-04C1B3AFF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3ADC711-D282-4C9D-AD92-4B5C00C5CDD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2399757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A712B4B-CA11-4116-8559-6D5A2D1AD8D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1"/>
            <a:ext cx="5384800" cy="334378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552303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D667F840-8562-40AC-BE3D-8404AB46E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3984B84-E026-4120-A200-04C1B3AFF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3ADC711-D282-4C9D-AD92-4B5C00C5CDD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097991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with 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52E6C41-3632-4791-A76B-5B35DCA25DAF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189A80C0-FE7D-436D-94CB-79A4952FA34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57055" y="761514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EFB02FA9-F74D-409A-AE50-03692123A90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79177" y="2870200"/>
            <a:ext cx="5154188" cy="3606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/>
            </a:lvl1pPr>
            <a:lvl2pPr>
              <a:defRPr lang="en-US" sz="1067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A66571F9-8F5F-4F9C-B69D-8194767FDE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9176" y="788893"/>
            <a:ext cx="5154025" cy="147170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357B425C-8918-4CBA-983D-6480207069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DAE731F-CEF1-4611-A55D-062453F80F6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17F00142-F1DD-4B1E-A9C4-C526A67469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6728762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 column with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B6A8E52-E098-4BEB-8F13-22E14C2A0F4D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67566B7-7005-4688-80F7-DA1BD8DAD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034827" cy="159410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0A1CBFF-FEB1-426F-8ABF-7C8FF483E89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6" y="2675274"/>
            <a:ext cx="2353909" cy="75372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en-US" sz="1867" spc="-8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/>
            <a:r>
              <a:rPr lang="en-US"/>
              <a:t>Subtit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E2F20EC-16BD-48F7-86D9-438E0739413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234092" y="2675274"/>
            <a:ext cx="2353909" cy="75372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en-US" sz="1867" spc="-8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/>
            <a:r>
              <a:rPr lang="en-US"/>
              <a:t>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1A4FF-001F-46B0-B50B-76B7ADF0DB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6" y="3684026"/>
            <a:ext cx="2353909" cy="25383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DC8C8FE-D77A-44F7-8C57-F06010945CF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34092" y="3684026"/>
            <a:ext cx="2353909" cy="25383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AC2492A7-148D-4E60-BDC4-A6493F242C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CDD052D2-0346-4769-8167-74B8A275E9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6553055" y="761514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59658CE-4B1C-4ADA-AC3D-EFB1CD9C445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74606954-118C-4C45-80E6-C37F9445AA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96121D6-85B1-4C28-AC8D-3F3FE793177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5669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 column icons - Graphic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9D1492D-5902-43CB-8931-D377D390098C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E98C8BEA-B15D-4061-953B-D90FCE37158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302291"/>
            <a:ext cx="2278585" cy="6470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DB00627B-8E9E-451B-8924-7096742DBBB8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3320148" y="3302291"/>
            <a:ext cx="2278585" cy="6470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71D6F508-837A-4CD5-AC3A-FF7EE23D05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599"/>
            <a:ext cx="5045559" cy="171254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2-column with icon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C411F75-6788-47F4-9D8B-6D1716F8EC0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5" y="4245578"/>
            <a:ext cx="2278585" cy="198975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B962768-3C7E-49E5-AC1D-7730E96FE84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309416" y="4245578"/>
            <a:ext cx="2278585" cy="198975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A84CF3E9-1E0B-46B7-BF52-271009164E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63D291-DE41-4BB4-9E4C-30D49C50E58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63904" y="300736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DA18A8E-48CB-4C25-A5F2-E849DDAE33A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320147" y="300736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1C4A4C9F-D416-40E3-B8EA-2BD12E0C07D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055" y="761514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A9374F8-EA98-413F-93D6-9F08CC6F089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DD9EF6ED-0BDB-4440-A26F-732B644588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0DA2899-5C85-403B-9BD6-F6A2C1003C7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8822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sm column icons - Graphic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DFF45C6-46F9-8640-A5F1-11290FCEA3EC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63903" y="2988783"/>
            <a:ext cx="2257675" cy="54833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429BA22C-8830-7E4A-B1E1-AC3DC42388CA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563903" y="4868879"/>
            <a:ext cx="2257675" cy="54833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A6A5AFD9-009A-4A4C-94F4-05A23B341CF2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3270816" y="2988783"/>
            <a:ext cx="2317184" cy="54833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8930094A-C63F-1B4B-8A52-5C7320E7BE21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3270816" y="4868879"/>
            <a:ext cx="2317184" cy="54833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C085B0A-AD7F-468E-9CC5-0FE40B937CB6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19A47C88-6D77-40E6-9F1E-6FF92AB2F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034828" cy="148263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con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86AA7C8-7D59-46CE-A267-59CE001AF21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6" y="3727089"/>
            <a:ext cx="2267119" cy="675929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Aft>
                <a:spcPts val="267"/>
              </a:spcAft>
              <a:buNone/>
              <a:defRPr sz="1200" spc="0"/>
            </a:lvl1pPr>
            <a:lvl2pPr marL="378875" indent="-152396">
              <a:lnSpc>
                <a:spcPct val="120000"/>
              </a:lnSpc>
              <a:spcAft>
                <a:spcPts val="267"/>
              </a:spcAft>
              <a:defRPr sz="933" spc="0"/>
            </a:lvl2pPr>
            <a:lvl3pPr marL="687900" indent="-232828">
              <a:defRPr sz="667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D602771-5223-47EB-BA07-406BD8C6942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61124" y="3727089"/>
            <a:ext cx="2326877" cy="675929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Aft>
                <a:spcPts val="267"/>
              </a:spcAft>
              <a:buNone/>
              <a:defRPr sz="1200" spc="0"/>
            </a:lvl1pPr>
            <a:lvl2pPr marL="378875" indent="-152396">
              <a:lnSpc>
                <a:spcPct val="120000"/>
              </a:lnSpc>
              <a:spcAft>
                <a:spcPts val="267"/>
              </a:spcAft>
              <a:defRPr sz="933" spc="0"/>
            </a:lvl2pPr>
            <a:lvl3pPr marL="687900" indent="-232828">
              <a:defRPr sz="667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D47C9E04-F2BD-40A7-B46E-117AEBB53AF0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63906" y="5616954"/>
            <a:ext cx="2267119" cy="675929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Aft>
                <a:spcPts val="267"/>
              </a:spcAft>
              <a:buNone/>
              <a:defRPr sz="1200" spc="0"/>
            </a:lvl1pPr>
            <a:lvl2pPr marL="378875" indent="-152396">
              <a:lnSpc>
                <a:spcPct val="120000"/>
              </a:lnSpc>
              <a:spcAft>
                <a:spcPts val="267"/>
              </a:spcAft>
              <a:defRPr sz="933" spc="0"/>
            </a:lvl2pPr>
            <a:lvl3pPr marL="687900" indent="-232828">
              <a:defRPr sz="667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CE5E9F3F-438C-4859-85E0-F4A6C4DAF8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61124" y="5616954"/>
            <a:ext cx="2326877" cy="675929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Aft>
                <a:spcPts val="267"/>
              </a:spcAft>
              <a:buNone/>
              <a:defRPr sz="1200" spc="0"/>
            </a:lvl1pPr>
            <a:lvl2pPr marL="378875" indent="-152396">
              <a:lnSpc>
                <a:spcPct val="120000"/>
              </a:lnSpc>
              <a:spcAft>
                <a:spcPts val="267"/>
              </a:spcAft>
              <a:defRPr sz="933" spc="0"/>
            </a:lvl2pPr>
            <a:lvl3pPr marL="687900" indent="-232828">
              <a:defRPr sz="667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Slide Number Placeholder 4">
            <a:extLst>
              <a:ext uri="{FF2B5EF4-FFF2-40B4-BE49-F238E27FC236}">
                <a16:creationId xmlns:a16="http://schemas.microsoft.com/office/drawing/2014/main" id="{89496E11-838C-4853-9266-14C470B1EB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1DD1BAC7-1730-495E-82FF-94326537FCF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63906" y="2777347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434F53B-C383-4B15-BF37-0278F10B6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71856" y="2777347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D830F54C-BE4C-4892-AF17-69FB7EE275D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63906" y="465379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743047EE-B643-4307-9434-A43A6442CEA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271856" y="465379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00863BCC-B5EC-45FB-844E-7C3682179BE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055" y="761514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D616B35-E779-4164-BE39-DCA9FA4591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7ADC0998-FC91-48CB-BBA2-E75826EA35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6FD7FD53-D3AF-41DB-B84F-D4E80412D91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0523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ea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6109FABB-685C-064C-97C0-CDEBA83E6A90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75129" y="1681972"/>
            <a:ext cx="1890755" cy="24622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1867" spc="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A94773F4-AAB7-E940-B2A8-EFEBE8948C45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575129" y="3237203"/>
            <a:ext cx="1890755" cy="24622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1867" spc="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67" name="Text Placeholder 3">
            <a:extLst>
              <a:ext uri="{FF2B5EF4-FFF2-40B4-BE49-F238E27FC236}">
                <a16:creationId xmlns:a16="http://schemas.microsoft.com/office/drawing/2014/main" id="{282895ED-6050-3747-8F02-64EC64223ADF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575129" y="4792432"/>
            <a:ext cx="1890755" cy="24622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1867" spc="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87" name="Picture Placeholder 2">
            <a:extLst>
              <a:ext uri="{FF2B5EF4-FFF2-40B4-BE49-F238E27FC236}">
                <a16:creationId xmlns:a16="http://schemas.microsoft.com/office/drawing/2014/main" id="{323133DF-7BD6-514D-BEB7-88A3F593064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803160" y="831958"/>
            <a:ext cx="6603168" cy="5321508"/>
          </a:xfrm>
          <a:prstGeom prst="rect">
            <a:avLst/>
          </a:prstGeom>
          <a:solidFill>
            <a:schemeClr val="bg1"/>
          </a:solidFill>
        </p:spPr>
        <p:txBody>
          <a:bodyPr anchor="t" anchorCtr="0">
            <a:noAutofit/>
          </a:bodyPr>
          <a:lstStyle>
            <a:lvl1pPr marL="0" indent="0" algn="ctr">
              <a:buNone/>
              <a:defRPr sz="2509" spc="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1" name="Slide Number Placeholder 4">
            <a:extLst>
              <a:ext uri="{FF2B5EF4-FFF2-40B4-BE49-F238E27FC236}">
                <a16:creationId xmlns:a16="http://schemas.microsoft.com/office/drawing/2014/main" id="{1D2CC720-C5B4-48FE-A1CD-BA2700675B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2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825B61A-3A85-4882-BBB1-5D9D49DE8B11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5129" y="2033027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tx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77C9AC3-9E3A-4EA8-B187-A1C1A3FCF4EC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75129" y="3586888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tx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5D3C119-BE92-4F78-B40B-2CD0BA25798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75129" y="5140752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>
                <a:solidFill>
                  <a:schemeClr val="tx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85E9FFB8-448F-4BEB-9062-AE6453AC476B}"/>
              </a:ext>
            </a:extLst>
          </p:cNvPr>
          <p:cNvSpPr>
            <a:spLocks noGrp="1"/>
          </p:cNvSpPr>
          <p:nvPr>
            <p:ph type="body" sz="half" idx="48" hasCustomPrompt="1"/>
          </p:nvPr>
        </p:nvSpPr>
        <p:spPr>
          <a:xfrm>
            <a:off x="9742445" y="1682132"/>
            <a:ext cx="1890755" cy="24622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1867" spc="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490D1BE3-656B-4816-8D7F-6B972EE99B30}"/>
              </a:ext>
            </a:extLst>
          </p:cNvPr>
          <p:cNvSpPr>
            <a:spLocks noGrp="1"/>
          </p:cNvSpPr>
          <p:nvPr>
            <p:ph type="body" sz="half" idx="50" hasCustomPrompt="1"/>
          </p:nvPr>
        </p:nvSpPr>
        <p:spPr>
          <a:xfrm>
            <a:off x="9742445" y="3237363"/>
            <a:ext cx="1890755" cy="24622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1867" spc="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08A5BB13-4AE6-4F94-B95C-2999ADC2964E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9742445" y="4792591"/>
            <a:ext cx="1890755" cy="24622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1867" spc="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D5A01B2D-2DD4-48BE-9168-CD41BD2A052C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9742445" y="2033187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>
                <a:solidFill>
                  <a:schemeClr val="tx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E50C3374-25F2-4497-910F-A7F20424C332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9742445" y="3587048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>
                <a:solidFill>
                  <a:schemeClr val="tx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7280B0E9-BE28-4C9B-8368-AB8CBD61305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9742445" y="5140912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>
                <a:solidFill>
                  <a:schemeClr val="tx1"/>
                </a:solidFill>
              </a:defRPr>
            </a:lvl1pPr>
            <a:lvl2pPr>
              <a:defRPr lang="en-US"/>
            </a:lvl2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DB88346-186B-44A2-ACB8-13C6075E17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9008" y="128213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423CEAC7-9351-44C0-8650-685B42C7DB3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69008" y="2833652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92DA7B38-9444-4EC2-8018-21FD1A285F3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569008" y="4385169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9E1862F-9EB8-4655-8F44-7F8EAF7C5A2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742447" y="1296069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09882002-4CDE-4869-868F-E43E999F39D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742447" y="2847585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72D80060-E102-442A-9C04-C7B7F0A30E6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742447" y="43991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5EB31E36-A45C-4CA4-BAD6-608235E681A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BA87D479-30B1-45F9-9188-C9837378F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5502116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with transparen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BA091B5-A806-4305-BC24-7E50D3D4B3A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1"/>
            <a:ext cx="5029200" cy="342228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/>
            </a:lvl1pPr>
            <a:lvl2pPr>
              <a:defRPr lang="en-US" sz="1067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848DCA2-1B24-46EE-95C8-6D3E57E0DD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034827" cy="168467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99F7D69-A9F4-4F01-BFAC-42E7473B3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E7FC8E3-F8D5-4DC5-9A71-8969BF71007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85E86296-46B5-4176-82D9-9548F258FF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409907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with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8C1DAE-07C6-4799-AB2A-6BC4035F1F9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6096000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EFB02FA9-F74D-409A-AE50-03692123A90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79177" y="2870201"/>
            <a:ext cx="5154188" cy="3606799"/>
          </a:xfrm>
        </p:spPr>
        <p:txBody>
          <a:bodyPr>
            <a:noAutofit/>
          </a:bodyPr>
          <a:lstStyle>
            <a:lvl1pPr marL="228594" indent="-228594">
              <a:lnSpc>
                <a:spcPct val="100000"/>
              </a:lnSpc>
              <a:buFont typeface="Arial" panose="020B0604020202020204" pitchFamily="34" charset="0"/>
              <a:buChar char="•"/>
              <a:defRPr sz="1333"/>
            </a:lvl1pPr>
            <a:lvl2pPr>
              <a:lnSpc>
                <a:spcPct val="100000"/>
              </a:lnSpc>
              <a:defRPr sz="1067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A66571F9-8F5F-4F9C-B69D-8194767FDE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9176" y="990600"/>
            <a:ext cx="5154025" cy="160803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357B425C-8918-4CBA-983D-6480207069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595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 column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A3358592-959E-4456-B08C-B18561ACD90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67566B7-7005-4688-80F7-DA1BD8DAD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034828" cy="1461733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0A1CBFF-FEB1-426F-8ABF-7C8FF483E89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6" y="2800677"/>
            <a:ext cx="2321893" cy="77593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b="0" spc="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E2F20EC-16BD-48F7-86D9-438E0739413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266107" y="2800677"/>
            <a:ext cx="2321893" cy="77593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b="0" spc="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1A4FF-001F-46B0-B50B-76B7ADF0DB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6" y="3684026"/>
            <a:ext cx="2321893" cy="25383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/>
            </a:lvl1pPr>
            <a:lvl2pPr>
              <a:defRPr lang="en-US" sz="1067" dirty="0"/>
            </a:lvl2pPr>
            <a:lvl3pPr>
              <a:defRPr lang="en-US" sz="800" dirty="0"/>
            </a:lvl3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DC8C8FE-D77A-44F7-8C57-F06010945CF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66107" y="3684026"/>
            <a:ext cx="2321893" cy="25383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AC2492A7-148D-4E60-BDC4-A6493F242C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1DA0D3C-E618-4E74-AE1A-D790FB5661A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1208D92E-CD7A-49C0-A704-73CF645867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720174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 column icons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BE8071A5-D2DE-4A93-921A-785E22F45F37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096000" y="0"/>
            <a:ext cx="6096000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E98C8BEA-B15D-4061-953B-D90FCE37158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700087"/>
            <a:ext cx="2322323" cy="59269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DB00627B-8E9E-451B-8924-7096742DBBB8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3276411" y="3700087"/>
            <a:ext cx="2322323" cy="59269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71D6F508-837A-4CD5-AC3A-FF7EE23D05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045560" cy="156623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2-column with icon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C411F75-6788-47F4-9D8B-6D1716F8EC0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5" y="4371432"/>
            <a:ext cx="2322323" cy="185090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/>
            </a:lvl1pPr>
            <a:lvl2pPr>
              <a:defRPr lang="en-US" sz="1067" dirty="0"/>
            </a:lvl2pPr>
            <a:lvl3pPr>
              <a:defRPr lang="en-US" sz="800" dirty="0"/>
            </a:lvl3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B962768-3C7E-49E5-AC1D-7730E96FE84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65679" y="4371432"/>
            <a:ext cx="2322323" cy="185090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A84CF3E9-1E0B-46B7-BF52-271009164E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63D291-DE41-4BB4-9E4C-30D49C50E58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63904" y="3350787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DA18A8E-48CB-4C25-A5F2-E849DDAE33A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76410" y="3350787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C49583F-365C-4C9E-81DD-9046A0055A5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551AB8E0-3E63-4511-8C72-DE00D1124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344061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sm column icons - Graphic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2965406F-4919-4C06-802B-3D3899E60FA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DFF45C6-46F9-8640-A5F1-11290FCEA3EC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63903" y="3034588"/>
            <a:ext cx="2317184" cy="5887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429BA22C-8830-7E4A-B1E1-AC3DC42388CA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563903" y="4932949"/>
            <a:ext cx="2317184" cy="5887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A6A5AFD9-009A-4A4C-94F4-05A23B341CF2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3270816" y="3034588"/>
            <a:ext cx="2317184" cy="5887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8930094A-C63F-1B4B-8A52-5C7320E7BE21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3270816" y="4932949"/>
            <a:ext cx="2317184" cy="5887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19A47C88-6D77-40E6-9F1E-6FF92AB2F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5034828" cy="14965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con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86AA7C8-7D59-46CE-A267-59CE001AF21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6" y="3727089"/>
            <a:ext cx="2326877" cy="67592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1333" dirty="0"/>
            </a:lvl1pPr>
            <a:lvl2pPr>
              <a:lnSpc>
                <a:spcPct val="100000"/>
              </a:lnSpc>
              <a:defRPr lang="en-US" sz="1067" dirty="0"/>
            </a:lvl2pPr>
          </a:lstStyle>
          <a:p>
            <a:pPr marL="0" lvl="0" indent="0">
              <a:lnSpc>
                <a:spcPct val="120000"/>
              </a:lnSpc>
              <a:spcAft>
                <a:spcPts val="267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D602771-5223-47EB-BA07-406BD8C6942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61124" y="3727089"/>
            <a:ext cx="2326877" cy="67592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1333" dirty="0"/>
            </a:lvl1pPr>
            <a:lvl2pPr>
              <a:lnSpc>
                <a:spcPct val="100000"/>
              </a:lnSpc>
              <a:defRPr lang="en-US" sz="1067" dirty="0"/>
            </a:lvl2pPr>
          </a:lstStyle>
          <a:p>
            <a:pPr marL="0" lvl="0" indent="0">
              <a:lnSpc>
                <a:spcPct val="120000"/>
              </a:lnSpc>
              <a:spcAft>
                <a:spcPts val="267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D47C9E04-F2BD-40A7-B46E-117AEBB53AF0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63906" y="5616954"/>
            <a:ext cx="2326877" cy="67592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1333" dirty="0"/>
            </a:lvl1pPr>
            <a:lvl2pPr>
              <a:lnSpc>
                <a:spcPct val="100000"/>
              </a:lnSpc>
              <a:defRPr lang="en-US" sz="1067" dirty="0"/>
            </a:lvl2pPr>
          </a:lstStyle>
          <a:p>
            <a:pPr marL="0" lvl="0" indent="0">
              <a:lnSpc>
                <a:spcPct val="120000"/>
              </a:lnSpc>
              <a:spcAft>
                <a:spcPts val="267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CE5E9F3F-438C-4859-85E0-F4A6C4DAF8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61124" y="5616954"/>
            <a:ext cx="2326877" cy="67592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1333" dirty="0"/>
            </a:lvl1pPr>
            <a:lvl2pPr>
              <a:lnSpc>
                <a:spcPct val="100000"/>
              </a:lnSpc>
              <a:defRPr lang="en-US" sz="1067" dirty="0"/>
            </a:lvl2pPr>
          </a:lstStyle>
          <a:p>
            <a:pPr marL="0" lvl="0" indent="0">
              <a:lnSpc>
                <a:spcPct val="120000"/>
              </a:lnSpc>
              <a:spcAft>
                <a:spcPts val="267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7" name="Slide Number Placeholder 4">
            <a:extLst>
              <a:ext uri="{FF2B5EF4-FFF2-40B4-BE49-F238E27FC236}">
                <a16:creationId xmlns:a16="http://schemas.microsoft.com/office/drawing/2014/main" id="{89496E11-838C-4853-9266-14C470B1EB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1DD1BAC7-1730-495E-82FF-94326537FCF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63906" y="2688935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434F53B-C383-4B15-BF37-0278F10B6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71856" y="2688935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D830F54C-BE4C-4892-AF17-69FB7EE275D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63906" y="4583649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743047EE-B643-4307-9434-A43A6442CEA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271856" y="4583649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36F33AF-48EA-421B-91FF-4AD7EDD725A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EE29C994-41DB-4E88-8A93-3D10E1A8BA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507551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13E34AB2-EB40-45F2-BAE7-A8136E51FF6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714582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  <a:p>
            <a:pPr marL="228594" lvl="3" indent="-228594">
              <a:lnSpc>
                <a:spcPct val="100000"/>
              </a:lnSpc>
            </a:pPr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2616182"/>
            <a:ext cx="3357020" cy="80327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EA591F5-58AE-D343-A6EB-87F69740E76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2620628"/>
            <a:ext cx="3357020" cy="80327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B8558003-6140-3442-986E-2C60FA775A53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2616182"/>
            <a:ext cx="3357020" cy="80327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FBBB06B7-9478-4C6F-9560-109718AC49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965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50389FDF-392D-4049-AC2A-1E9DF18496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Content Placeholder 6">
            <a:extLst>
              <a:ext uri="{FF2B5EF4-FFF2-40B4-BE49-F238E27FC236}">
                <a16:creationId xmlns:a16="http://schemas.microsoft.com/office/drawing/2014/main" id="{5CF71C16-241D-4C12-986F-49C011B6FB62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111" y="3714582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  <a:p>
            <a:pPr marL="228594" lvl="3" indent="-228594">
              <a:lnSpc>
                <a:spcPct val="100000"/>
              </a:lnSpc>
            </a:pPr>
            <a:r>
              <a:rPr lang="en-US"/>
              <a:t>Fourth level</a:t>
            </a:r>
          </a:p>
        </p:txBody>
      </p:sp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DF591020-88DC-4E7B-BD72-36E6EB59E14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126438" y="3714582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  <a:p>
            <a:pPr marL="228594" lvl="3" indent="-228594">
              <a:lnSpc>
                <a:spcPct val="100000"/>
              </a:lnSpc>
            </a:pPr>
            <a:r>
              <a:rPr lang="en-US"/>
              <a:t>Four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383FF70-E831-4747-A153-F9977C8D40C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1ACA0FBF-BD85-4A2B-857C-5FEA45B4C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90052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A041BB60-92E2-E24D-A7E4-A3567C28152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63902" y="2518229"/>
            <a:ext cx="3501661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EDAD314-6F73-5C4E-93D2-9F6E7C78F6D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3857639"/>
            <a:ext cx="3363063" cy="51663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E5D9876C-926F-4148-B388-37AF2EC91BA9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3857638"/>
            <a:ext cx="3363063" cy="52199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A0EB0E0-8003-1149-85CF-5D63FB41C1C8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3853193"/>
            <a:ext cx="3363063" cy="52199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5C20FC9A-2038-AF44-9486-38D2103687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48111" y="2518229"/>
            <a:ext cx="3501661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14AE4050-3A50-CC40-A2F2-6040AFDD5C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32320" y="2518229"/>
            <a:ext cx="3494627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664EEB71-E7FA-45C6-8549-2F56C38185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3386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images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AD169A5A-D278-4C7A-80C6-4AAAFCE2E1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77CC832-63CA-4131-ABA9-356B02B9073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2" y="4605092"/>
            <a:ext cx="3363063" cy="1617249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CD16B98-DFE6-42E9-983E-5855355500F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48111" y="4605092"/>
            <a:ext cx="3363063" cy="1617249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43A5D85-76F0-4FEF-A17F-4532934D5A5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25286" y="4605092"/>
            <a:ext cx="3363063" cy="1617249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B14B9EC-8559-42D6-A40F-F7BF924ADBA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A5974834-AF48-48D6-A946-C25C1D483A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270100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D1EB964-31F1-4CBE-82A3-C0D6A156FC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55926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icons</a:t>
            </a:r>
          </a:p>
        </p:txBody>
      </p:sp>
      <p:sp>
        <p:nvSpPr>
          <p:cNvPr id="43" name="Slide Number Placeholder 4">
            <a:extLst>
              <a:ext uri="{FF2B5EF4-FFF2-40B4-BE49-F238E27FC236}">
                <a16:creationId xmlns:a16="http://schemas.microsoft.com/office/drawing/2014/main" id="{EF211203-217C-43EA-B455-2829537E92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DD9E95C-54D7-4CDC-9398-06EA3EF4C2B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63904" y="342900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308B72D-42DD-4AFC-86F7-A60C430A65F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48111" y="342900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92FBA143-4C75-4705-B518-3C3BEB4DB59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25287" y="342900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BFFB3BB-96C3-43AE-AE37-B552C0F815F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1" y="3783515"/>
            <a:ext cx="3383963" cy="59075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557260CF-2100-49E9-84E8-B0D7AFADA565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3782745"/>
            <a:ext cx="3383963" cy="5968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0E159BC0-6118-41FB-BD15-D9B76E35ED35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3778299"/>
            <a:ext cx="3383963" cy="5968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2CDBFEA-91A7-4FE4-AAE2-321927A46CE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1" y="4605092"/>
            <a:ext cx="3383963" cy="1617249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1CBFE74-247B-4E42-8A8C-4D5F9D2997F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48111" y="4605092"/>
            <a:ext cx="3383963" cy="1617249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CD5C99F-F57F-4957-BA17-CF590173E3F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25285" y="4605092"/>
            <a:ext cx="3383963" cy="1617249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415BF8F-879F-4E1A-A7D8-9D683393FD0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3534F201-EBA0-46A0-B1E7-7AF9F7C498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836041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057549"/>
            <a:ext cx="2552092" cy="51906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35F796C-3FA3-4D4C-9E57-306772BBFEB7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8" y="3057549"/>
            <a:ext cx="2552092" cy="51906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3094BC0-195B-294A-B09B-12005D172A0C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057549"/>
            <a:ext cx="2552092" cy="51906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A941269-22F0-1B4D-A516-00DAC2E11BF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057549"/>
            <a:ext cx="2552092" cy="51906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37A293-3428-4F1D-AFE7-A91A006BF4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5732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</a:t>
            </a:r>
          </a:p>
        </p:txBody>
      </p:sp>
      <p:sp>
        <p:nvSpPr>
          <p:cNvPr id="31" name="Slide Number Placeholder 4">
            <a:extLst>
              <a:ext uri="{FF2B5EF4-FFF2-40B4-BE49-F238E27FC236}">
                <a16:creationId xmlns:a16="http://schemas.microsoft.com/office/drawing/2014/main" id="{1F64BCE5-C4DF-42FB-9C93-FE7C16DD9E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A1B0035-5E54-40B0-935E-AFA22AAC3DE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2" y="3755136"/>
            <a:ext cx="2552095" cy="2422987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180B363-3DB0-4182-92AF-F3299D006F1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13562" y="3755136"/>
            <a:ext cx="2552095" cy="2422987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3B10F2FC-21B2-4819-A881-BDACEDED633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47251" y="3755136"/>
            <a:ext cx="2552095" cy="2422987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E502F68-635D-4926-A522-08E45319622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096911" y="3755136"/>
            <a:ext cx="2552095" cy="2422987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673C67A-6C31-484A-AD1D-2437BA26271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40BD81C6-9DFB-4402-A90A-584421618C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713737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316224"/>
            <a:ext cx="2552092" cy="58433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35F796C-3FA3-4D4C-9E57-306772BBFEB7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8" y="3316224"/>
            <a:ext cx="2552092" cy="58433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3094BC0-195B-294A-B09B-12005D172A0C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316224"/>
            <a:ext cx="2552092" cy="58433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A941269-22F0-1B4D-A516-00DAC2E11BF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316224"/>
            <a:ext cx="2552092" cy="58433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BA943510-C75F-4986-83E1-EC263D204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965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cons</a:t>
            </a:r>
          </a:p>
        </p:txBody>
      </p:sp>
      <p:sp>
        <p:nvSpPr>
          <p:cNvPr id="38" name="Slide Number Placeholder 4">
            <a:extLst>
              <a:ext uri="{FF2B5EF4-FFF2-40B4-BE49-F238E27FC236}">
                <a16:creationId xmlns:a16="http://schemas.microsoft.com/office/drawing/2014/main" id="{73F974E0-E6C8-49D5-B2CA-B9DD7D4D65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A680BB83-959F-4FDD-88B5-B99A3D5A146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2" y="4160176"/>
            <a:ext cx="2552095" cy="2082128"/>
          </a:xfrm>
        </p:spPr>
        <p:txBody>
          <a:bodyPr>
            <a:noAutofit/>
          </a:bodyPr>
          <a:lstStyle>
            <a:lvl1pPr marL="228594" indent="-228594">
              <a:lnSpc>
                <a:spcPct val="140000"/>
              </a:lnSpc>
              <a:buFont typeface="Arial" panose="020B0604020202020204" pitchFamily="34" charset="0"/>
              <a:buChar char="•"/>
              <a:defRPr sz="1333"/>
            </a:lvl1pPr>
            <a:lvl2pPr marL="378875" indent="-152396">
              <a:lnSpc>
                <a:spcPct val="140000"/>
              </a:lnSpc>
              <a:defRPr sz="1067"/>
            </a:lvl2pPr>
            <a:lvl3pPr marL="687900" indent="-232828">
              <a:lnSpc>
                <a:spcPct val="140000"/>
              </a:lnSpc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4B47409-39CC-4AB0-89D1-284C38860D9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13561" y="4160176"/>
            <a:ext cx="2626704" cy="2082128"/>
          </a:xfrm>
        </p:spPr>
        <p:txBody>
          <a:bodyPr>
            <a:noAutofit/>
          </a:bodyPr>
          <a:lstStyle>
            <a:lvl1pPr marL="228594" indent="-228594">
              <a:lnSpc>
                <a:spcPct val="140000"/>
              </a:lnSpc>
              <a:buFont typeface="Arial" panose="020B0604020202020204" pitchFamily="34" charset="0"/>
              <a:buChar char="•"/>
              <a:defRPr sz="1333"/>
            </a:lvl1pPr>
            <a:lvl2pPr marL="378875" indent="-152396">
              <a:lnSpc>
                <a:spcPct val="140000"/>
              </a:lnSpc>
              <a:defRPr sz="1067"/>
            </a:lvl2pPr>
            <a:lvl3pPr marL="687900" indent="-232828">
              <a:lnSpc>
                <a:spcPct val="140000"/>
              </a:lnSpc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F9B79A2-65D9-4B8F-8DB9-71B2D0007C2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47251" y="4160176"/>
            <a:ext cx="2552095" cy="2082128"/>
          </a:xfrm>
        </p:spPr>
        <p:txBody>
          <a:bodyPr>
            <a:noAutofit/>
          </a:bodyPr>
          <a:lstStyle>
            <a:lvl1pPr marL="228594" indent="-228594">
              <a:lnSpc>
                <a:spcPct val="140000"/>
              </a:lnSpc>
              <a:buFont typeface="Arial" panose="020B0604020202020204" pitchFamily="34" charset="0"/>
              <a:buChar char="•"/>
              <a:defRPr sz="1333"/>
            </a:lvl1pPr>
            <a:lvl2pPr marL="378875" indent="-152396">
              <a:lnSpc>
                <a:spcPct val="140000"/>
              </a:lnSpc>
              <a:defRPr sz="1067"/>
            </a:lvl2pPr>
            <a:lvl3pPr marL="687900" indent="-232828">
              <a:lnSpc>
                <a:spcPct val="140000"/>
              </a:lnSpc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AB7D9D7-F3C2-4406-B72E-37E861D8E5AE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96911" y="4160176"/>
            <a:ext cx="2552095" cy="2082128"/>
          </a:xfrm>
        </p:spPr>
        <p:txBody>
          <a:bodyPr>
            <a:noAutofit/>
          </a:bodyPr>
          <a:lstStyle>
            <a:lvl1pPr marL="228594" indent="-228594">
              <a:lnSpc>
                <a:spcPct val="140000"/>
              </a:lnSpc>
              <a:buFont typeface="Arial" panose="020B0604020202020204" pitchFamily="34" charset="0"/>
              <a:buChar char="•"/>
              <a:defRPr sz="1333"/>
            </a:lvl1pPr>
            <a:lvl2pPr marL="378875" indent="-152396">
              <a:lnSpc>
                <a:spcPct val="140000"/>
              </a:lnSpc>
              <a:defRPr sz="1067"/>
            </a:lvl2pPr>
            <a:lvl3pPr marL="687900" indent="-232828">
              <a:lnSpc>
                <a:spcPct val="140000"/>
              </a:lnSpc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325DA913-D561-481D-AC9D-C096DA657E3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3904" y="302763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C337FCA0-79CE-4E7B-B272-E4EFB372C12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403233" y="302763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C2E0F4FC-9970-45E4-9784-BCA838895F5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42563" y="302763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014E5A9-0003-43F7-A198-C160ED979BD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081891" y="302763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F166E02-7641-4BBC-8370-DFA541EB63A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F37FEAB2-9122-4DDC-B50E-7C2AADAF96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030922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FB7DABE0-8F22-F041-8366-E2731CE05E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1836" y="1591766"/>
            <a:ext cx="280579" cy="224463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C865750-8F0C-6B4A-A308-228D6B53EE0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01838" y="4666993"/>
            <a:ext cx="6314695" cy="205184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buNone/>
              <a:defRPr sz="1333" b="1" i="0" spc="0" baseline="0">
                <a:solidFill>
                  <a:schemeClr val="bg1"/>
                </a:solidFill>
                <a:latin typeface="+mj-lt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254B061-C071-4247-8356-D55F1F50C5D6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01838" y="4952059"/>
            <a:ext cx="6314695" cy="16414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buNone/>
              <a:defRPr sz="1067" b="0" i="0" spc="0" baseline="0">
                <a:solidFill>
                  <a:schemeClr val="bg1"/>
                </a:solidFill>
                <a:latin typeface="+mj-lt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DF49B7B-CEAB-794E-93D3-3BE6E19D7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1837" y="2006770"/>
            <a:ext cx="7570967" cy="2363812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>
            <a:lvl1pPr>
              <a:defRPr lang="en-US" sz="4052" spc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4052">
                <a:solidFill>
                  <a:schemeClr val="bg1"/>
                </a:solidFill>
              </a:rPr>
              <a:t>Quote here dolor sit </a:t>
            </a:r>
            <a:r>
              <a:rPr lang="en-US" sz="4052" err="1">
                <a:solidFill>
                  <a:schemeClr val="bg1"/>
                </a:solidFill>
              </a:rPr>
              <a:t>amet</a:t>
            </a:r>
            <a:r>
              <a:rPr lang="en-US" sz="4052">
                <a:solidFill>
                  <a:schemeClr val="bg1"/>
                </a:solidFill>
              </a:rPr>
              <a:t>, </a:t>
            </a:r>
            <a:r>
              <a:rPr lang="en-US" sz="4052" err="1">
                <a:solidFill>
                  <a:schemeClr val="bg1"/>
                </a:solidFill>
              </a:rPr>
              <a:t>consectetur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adipiscing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elit</a:t>
            </a:r>
            <a:r>
              <a:rPr lang="en-US" sz="4052">
                <a:solidFill>
                  <a:schemeClr val="bg1"/>
                </a:solidFill>
              </a:rPr>
              <a:t>, sed </a:t>
            </a:r>
            <a:r>
              <a:rPr lang="en-US" sz="4052" err="1">
                <a:solidFill>
                  <a:schemeClr val="bg1"/>
                </a:solidFill>
              </a:rPr>
              <a:t>eiusmod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tempor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incididunt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ut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labore</a:t>
            </a:r>
            <a:r>
              <a:rPr lang="en-US" sz="4052">
                <a:solidFill>
                  <a:schemeClr val="bg1"/>
                </a:solidFill>
              </a:rPr>
              <a:t> et dolore .</a:t>
            </a:r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E9F3EB2-8419-DA47-B375-D5E047B95E7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1262604" y="6390605"/>
            <a:ext cx="382947" cy="93183"/>
          </a:xfrm>
          <a:prstGeom prst="rect">
            <a:avLst/>
          </a:prstGeom>
        </p:spPr>
      </p:pic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C4105021-0C0A-411C-AAFB-43C46FF3DF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20B0701-D2EE-418D-9142-D939104A06A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BC9CFBC5-DB8C-4D83-985B-54F321A8AB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bg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474565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Quarterly-Plan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88427184-4D4B-2842-98CC-0D13D99CD8BE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563905" y="3169600"/>
            <a:ext cx="2552092" cy="63196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spcBef>
                <a:spcPts val="0"/>
              </a:spcBef>
              <a:buNone/>
              <a:defRPr sz="4267" b="0" i="0" spc="-241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Q1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A3B11FAB-FB94-FE47-98B7-C4E703DCE021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3389550" y="3169600"/>
            <a:ext cx="2552092" cy="63196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spcBef>
                <a:spcPts val="0"/>
              </a:spcBef>
              <a:buNone/>
              <a:defRPr sz="4267" b="0" i="0" spc="-241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Q2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4F5FE934-EAAA-2544-B7A7-0D9F568038D5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6230186" y="3169600"/>
            <a:ext cx="2552092" cy="63196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spcBef>
                <a:spcPts val="0"/>
              </a:spcBef>
              <a:buNone/>
              <a:defRPr sz="4267" b="0" i="0" spc="-241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Q3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50C5B955-9C7B-6947-9744-010C19BBB567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9055831" y="3169600"/>
            <a:ext cx="2552092" cy="63196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spcBef>
                <a:spcPts val="0"/>
              </a:spcBef>
              <a:buNone/>
              <a:defRPr sz="4267" b="0" i="0" spc="-241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Q4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DA111987-1B3E-4A88-9CE0-11B85B6A696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789061"/>
            <a:ext cx="2552092" cy="52451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CB765974-5A94-44D1-BEFA-32064162636B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8" y="3789061"/>
            <a:ext cx="2552092" cy="52451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2DCDDD54-163E-4B72-AC0A-9025AE8ED3A2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789061"/>
            <a:ext cx="2552092" cy="52451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633A5AB9-6304-4852-84C2-13EE0655D16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789061"/>
            <a:ext cx="2552092" cy="52451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9" name="Title Placeholder 1">
            <a:extLst>
              <a:ext uri="{FF2B5EF4-FFF2-40B4-BE49-F238E27FC236}">
                <a16:creationId xmlns:a16="http://schemas.microsoft.com/office/drawing/2014/main" id="{4EAFF05D-F126-4F6F-BC7A-D37D2D819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524436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Quarterly planning headline here</a:t>
            </a:r>
          </a:p>
        </p:txBody>
      </p:sp>
      <p:sp>
        <p:nvSpPr>
          <p:cNvPr id="42" name="Slide Number Placeholder 4">
            <a:extLst>
              <a:ext uri="{FF2B5EF4-FFF2-40B4-BE49-F238E27FC236}">
                <a16:creationId xmlns:a16="http://schemas.microsoft.com/office/drawing/2014/main" id="{B0C4E4CC-F4EF-41B1-859A-BEB4889102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5150659-4B06-4B5C-AEAE-D63AB44A0A0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63902" y="4480780"/>
            <a:ext cx="2552095" cy="162876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E905DCE-53B2-44BC-A04D-E154A3AAD85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13562" y="4480780"/>
            <a:ext cx="2552095" cy="162876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D54CEA9-0F8B-43FF-86F1-30D0A263E4D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47251" y="4480780"/>
            <a:ext cx="2552095" cy="162876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A21997B-0FCE-4F0F-9413-09FF3CABCAF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96911" y="4480780"/>
            <a:ext cx="2552095" cy="162876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CFF6099-0DAF-43E0-A2BE-4FC739C1BE3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BF218AE5-98EE-4C23-93DE-5E0E691847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67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273781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480C16A7-AC87-3041-BFCA-5BAE809929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63903" y="2518229"/>
            <a:ext cx="2552092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8AFA0CDB-F372-1847-ACE3-8F2552F32E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01446" y="2518229"/>
            <a:ext cx="2552092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2CEDA4E7-FEF8-A844-BD5D-9125501BED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246246" y="2518229"/>
            <a:ext cx="2552092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0C5331F0-DC53-014A-AC10-09442296B48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076533" y="2518229"/>
            <a:ext cx="2552092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857640"/>
            <a:ext cx="2552092" cy="4363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35F796C-3FA3-4D4C-9E57-306772BBFEB7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8" y="3857640"/>
            <a:ext cx="2552092" cy="4363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3094BC0-195B-294A-B09B-12005D172A0C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857640"/>
            <a:ext cx="2552092" cy="4363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A941269-22F0-1B4D-A516-00DAC2E11BF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857640"/>
            <a:ext cx="2552092" cy="4363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E71F9B75-2801-4E3B-A4AF-EE2F5428DF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478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mages</a:t>
            </a:r>
          </a:p>
        </p:txBody>
      </p:sp>
      <p:sp>
        <p:nvSpPr>
          <p:cNvPr id="40" name="Slide Number Placeholder 4">
            <a:extLst>
              <a:ext uri="{FF2B5EF4-FFF2-40B4-BE49-F238E27FC236}">
                <a16:creationId xmlns:a16="http://schemas.microsoft.com/office/drawing/2014/main" id="{C287D7C0-FDBF-4DC2-A5AD-21F027C218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B282261E-4BBB-4DDF-A272-64831DF6A48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63902" y="4479689"/>
            <a:ext cx="2552095" cy="169843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35DF58A1-C9DA-4098-A483-3AF5EEE2823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13562" y="4479689"/>
            <a:ext cx="2552095" cy="169843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506F507-8135-47B0-B749-1ECA83F7A4C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47251" y="4479689"/>
            <a:ext cx="2552095" cy="169843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D835D938-BABF-448A-911C-81BC403D164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96911" y="4479689"/>
            <a:ext cx="2552095" cy="169843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91F740F-284B-4B91-944E-3E248D56447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45924221-968B-489A-B12E-3DB03CF53A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200829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con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1" y="0"/>
            <a:ext cx="6096001" cy="6858000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24644A4A-627D-4251-93AA-A2954900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2" y="990600"/>
            <a:ext cx="5125733" cy="12700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A8E6EAB-22F0-4C89-85F8-D4D94992ED22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63903" y="2960399"/>
            <a:ext cx="2319867" cy="46860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EF54FC4E-BD10-4F11-B8AA-EB5EF0D89E43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3268133" y="2960397"/>
            <a:ext cx="2319867" cy="46860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E64A8B51-1A62-459A-8DD3-93B84E82D8DE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563903" y="4880033"/>
            <a:ext cx="2319867" cy="46860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D090DEB6-2BCA-46D7-9263-9EB082FE8736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3268133" y="4880033"/>
            <a:ext cx="2319867" cy="46860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B195F9B-18C2-43DD-8D28-DB82565A615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63903" y="3493741"/>
            <a:ext cx="2319868" cy="89664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33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F57C87-BB0F-4D2F-BDF2-DAE041C1A7D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260877" y="3493741"/>
            <a:ext cx="2319868" cy="89664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33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F88AC67-0FCF-4070-8745-F2172B2CACC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63903" y="5421509"/>
            <a:ext cx="2319868" cy="89664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33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3DC3002-031A-4736-AABA-949B2E31DDE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260877" y="5421509"/>
            <a:ext cx="2319868" cy="89664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33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0695B177-CA0C-4E8C-A61A-DBFC0E3A7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1FCFB0F-38DF-40D9-884B-4BB884CABC0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3904" y="255117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AB00DA7-3784-4F1E-BCF7-020A8B5BBBC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70275" y="255117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4BF908E0-620E-4308-B4E4-794556D881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58800" y="45168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982949E-1A10-4260-ACD5-08C3395104A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265171" y="45168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881526-D455-4016-9E25-0B8C0592F64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50C5796D-69C7-4336-93B7-FBE71B2511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404421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F16390-6737-46A8-8714-112CAB201308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432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2350284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2344656" cy="3425840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>
              <a:defRPr sz="1067"/>
            </a:lvl2pPr>
            <a:lvl3pPr>
              <a:defRPr sz="800"/>
            </a:lvl3pPr>
            <a:lvl4pPr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0A03D6A-E3C9-4E0F-9561-1CDE1AE1995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1" y="339201"/>
            <a:ext cx="2701689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486C98BC-16EE-44A7-A5AA-7D9E634104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159582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F16390-6737-46A8-8714-112CAB201308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2432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903365" y="990599"/>
            <a:ext cx="7790845" cy="5035913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451" y="990600"/>
            <a:ext cx="2357007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2344656" cy="3425840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>
              <a:defRPr sz="1067"/>
            </a:lvl2pPr>
            <a:lvl3pPr>
              <a:defRPr sz="800"/>
            </a:lvl3pPr>
            <a:lvl4pPr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2854662-684B-46F5-B1C9-A8380A9FAEC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1" y="339201"/>
            <a:ext cx="2729556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BD02289-A003-4F50-8A0B-E04C3A5D3D9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3C0D703A-5C8B-4D7D-9178-8D74110152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6001160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2441477-13D0-4DAF-BFCF-92EDFB2CE56C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pic>
        <p:nvPicPr>
          <p:cNvPr id="8" name="Picture 7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C2D43C02-732C-4374-A293-6B6EED828B5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49010" y="788893"/>
            <a:ext cx="9342991" cy="5394456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941345" y="1482178"/>
            <a:ext cx="5719729" cy="3817185"/>
          </a:xfrm>
          <a:prstGeom prst="roundRect">
            <a:avLst>
              <a:gd name="adj" fmla="val 1813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0600"/>
            <a:ext cx="2501421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2" y="3051160"/>
            <a:ext cx="2496125" cy="342584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>
              <a:defRPr sz="933"/>
            </a:lvl2pPr>
            <a:lvl3pPr>
              <a:defRPr sz="667"/>
            </a:lvl3pPr>
            <a:lvl4pPr>
              <a:defRPr sz="267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D5595A6-D46E-43B4-94A2-E3A6720BA94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1" y="339201"/>
            <a:ext cx="2655455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84C20AAF-DB2E-2C46-92D6-BF7375063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728569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compu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205681A-15F4-4542-8501-C515AC30D1BA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pic>
        <p:nvPicPr>
          <p:cNvPr id="4" name="Picture 3" descr="Shape&#10;&#10;Description automatically generated">
            <a:extLst>
              <a:ext uri="{FF2B5EF4-FFF2-40B4-BE49-F238E27FC236}">
                <a16:creationId xmlns:a16="http://schemas.microsoft.com/office/drawing/2014/main" id="{6AA2E0EF-0C6B-4EAA-99C1-1ECA8048BD8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40796" y="656979"/>
            <a:ext cx="8351205" cy="6131456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765964" y="1161013"/>
            <a:ext cx="5979619" cy="3999807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0600"/>
            <a:ext cx="2522248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2" y="3051160"/>
            <a:ext cx="2516908" cy="342584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>
              <a:defRPr sz="933"/>
            </a:lvl2pPr>
            <a:lvl3pPr>
              <a:defRPr sz="667"/>
            </a:lvl3pPr>
            <a:lvl4pPr>
              <a:defRPr sz="267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98962E2-B3FC-4FBC-BC4B-4742A1803A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1" y="339201"/>
            <a:ext cx="2648527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D8634464-E35F-424D-9518-FD1D77E273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737221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1E636F5-6A4B-4828-9183-C8400F5ABCF5}"/>
              </a:ext>
            </a:extLst>
          </p:cNvPr>
          <p:cNvSpPr/>
          <p:nvPr/>
        </p:nvSpPr>
        <p:spPr>
          <a:xfrm>
            <a:off x="5057939" y="0"/>
            <a:ext cx="7134061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pic>
        <p:nvPicPr>
          <p:cNvPr id="7" name="Picture 6" descr="A picture containing shape&#10;&#10;Description automatically generated">
            <a:extLst>
              <a:ext uri="{FF2B5EF4-FFF2-40B4-BE49-F238E27FC236}">
                <a16:creationId xmlns:a16="http://schemas.microsoft.com/office/drawing/2014/main" id="{45553720-6AD0-4C34-AF96-C4899D7DC8A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78692" y="468831"/>
            <a:ext cx="6557149" cy="6181019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714658" y="831275"/>
            <a:ext cx="3773233" cy="5014700"/>
          </a:xfrm>
          <a:prstGeom prst="roundRect">
            <a:avLst>
              <a:gd name="adj" fmla="val 2134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4127796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4122168" cy="342584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>
              <a:defRPr sz="933"/>
            </a:lvl2pPr>
            <a:lvl3pPr>
              <a:defRPr sz="667"/>
            </a:lvl3pPr>
            <a:lvl4pPr>
              <a:defRPr sz="267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BB01D8E-9815-4F00-B2C4-FCB63EA244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4214091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5B63261B-BB65-7146-AA40-6188B66076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510641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495A01C3-21A9-4B25-AB62-4FAD52B2553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1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841673" y="612774"/>
            <a:ext cx="2611580" cy="5607737"/>
          </a:xfrm>
          <a:prstGeom prst="roundRect">
            <a:avLst>
              <a:gd name="adj" fmla="val 10423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034456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5029200" cy="342584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>
              <a:defRPr sz="933"/>
            </a:lvl2pPr>
            <a:lvl3pPr>
              <a:defRPr sz="667"/>
            </a:lvl3pPr>
            <a:lvl4pPr>
              <a:defRPr sz="267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EE9DBE-1BE0-4560-936E-2E2FA427021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D2941A98-608E-7047-AFCD-92F4920A95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536267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con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24644A4A-627D-4251-93AA-A2954900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2639207" cy="12700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A8E6EAB-22F0-4C89-85F8-D4D94992ED22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63903" y="2960399"/>
            <a:ext cx="2628477" cy="46860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E64A8B51-1A62-459A-8DD3-93B84E82D8DE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563903" y="4880033"/>
            <a:ext cx="2628477" cy="46860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B195F9B-18C2-43DD-8D28-DB82565A615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63903" y="3562115"/>
            <a:ext cx="2628476" cy="828268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33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F88AC67-0FCF-4070-8745-F2172B2CACC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63903" y="5489883"/>
            <a:ext cx="2628476" cy="828268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33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0695B177-CA0C-4E8C-A61A-DBFC0E3A7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444E932-C1FA-4694-B252-213CE981534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3904" y="255117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49D67FC-44E3-4A0F-B284-2778CCA9C97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58800" y="45168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4FEE173B-1D21-4AB4-A421-1AB61B9F8D8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84F5CA4-EDBB-48D4-AAFB-EA7E85ACF64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2722589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F01439ED-29DA-4405-95E2-BA47702ECD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744509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5D7582C7-D8A5-B844-99D4-FF1EF0B267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1836" y="1591766"/>
            <a:ext cx="280579" cy="22446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4AD1EDD-48E3-1149-9699-942910AF654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1262604" y="6390605"/>
            <a:ext cx="382947" cy="93183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0F001CB-6071-495E-8B33-0D4D8B9A5C6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01838" y="4666993"/>
            <a:ext cx="6314695" cy="205184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buNone/>
              <a:defRPr sz="1333" b="1" i="0" spc="0" baseline="0">
                <a:solidFill>
                  <a:schemeClr val="bg1"/>
                </a:solidFill>
                <a:latin typeface="+mj-lt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D410D66-33BB-4469-B397-AE29D77038D2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01838" y="4952059"/>
            <a:ext cx="6314695" cy="16414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buNone/>
              <a:defRPr sz="1067" b="0" i="0" spc="0" baseline="0">
                <a:solidFill>
                  <a:schemeClr val="bg1"/>
                </a:solidFill>
                <a:latin typeface="+mj-lt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180EAB82-4858-4448-A1B6-9E3DE1802C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1837" y="2006770"/>
            <a:ext cx="7570967" cy="2363812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>
            <a:lvl1pPr>
              <a:defRPr lang="en-US" sz="4052" spc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4052">
                <a:solidFill>
                  <a:schemeClr val="bg1"/>
                </a:solidFill>
              </a:rPr>
              <a:t>Quote here dolor sit </a:t>
            </a:r>
            <a:r>
              <a:rPr lang="en-US" sz="4052" err="1">
                <a:solidFill>
                  <a:schemeClr val="bg1"/>
                </a:solidFill>
              </a:rPr>
              <a:t>amet</a:t>
            </a:r>
            <a:r>
              <a:rPr lang="en-US" sz="4052">
                <a:solidFill>
                  <a:schemeClr val="bg1"/>
                </a:solidFill>
              </a:rPr>
              <a:t>, </a:t>
            </a:r>
            <a:r>
              <a:rPr lang="en-US" sz="4052" err="1">
                <a:solidFill>
                  <a:schemeClr val="bg1"/>
                </a:solidFill>
              </a:rPr>
              <a:t>consectetur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adipiscing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elit</a:t>
            </a:r>
            <a:r>
              <a:rPr lang="en-US" sz="4052">
                <a:solidFill>
                  <a:schemeClr val="bg1"/>
                </a:solidFill>
              </a:rPr>
              <a:t>, sed </a:t>
            </a:r>
            <a:r>
              <a:rPr lang="en-US" sz="4052" err="1">
                <a:solidFill>
                  <a:schemeClr val="bg1"/>
                </a:solidFill>
              </a:rPr>
              <a:t>eiusmod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tempor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incididunt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ut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labore</a:t>
            </a:r>
            <a:r>
              <a:rPr lang="en-US" sz="4052">
                <a:solidFill>
                  <a:schemeClr val="bg1"/>
                </a:solidFill>
              </a:rPr>
              <a:t> et dolore .</a:t>
            </a:r>
            <a:endParaRPr lang="en-US"/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30F2DE5F-07B7-44AB-9AE4-5A490A346A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50B2741-EFD3-42CB-802C-BC10433BCD8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D82E41F-6F4F-4439-B72F-C490B5CA09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bg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5659340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C02DD20F-504D-C649-86C3-0A7F098F66D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110017" y="986527"/>
            <a:ext cx="3518084" cy="4999727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93DBED3D-CA03-E943-B119-9872641B21D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336957" y="986527"/>
            <a:ext cx="3503571" cy="4999727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B2924BE-0F83-44F9-8B78-9A892E025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3431871" cy="12700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7350F883-4CBA-438B-9F10-05CAA3763AF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2612573"/>
            <a:ext cx="3421387" cy="9640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9CBC7F64-D22B-46D6-976F-39473E94D2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A76585B6-D6AA-4B89-AF27-606CBEE93F5F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799" y="3776036"/>
            <a:ext cx="3426244" cy="2225208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>
              <a:defRPr sz="1067"/>
            </a:lvl2pPr>
            <a:lvl3pPr>
              <a:defRPr sz="800"/>
            </a:lvl3pPr>
            <a:lvl4pPr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AF259D3-3646-418A-ACF1-144AE8A5AA6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161CFB47-5D97-455D-9076-8BE7CF7DCA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525733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and data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642F883-A541-DB46-9654-B4F21790C041}"/>
              </a:ext>
            </a:extLst>
          </p:cNvPr>
          <p:cNvCxnSpPr>
            <a:cxnSpLocks/>
          </p:cNvCxnSpPr>
          <p:nvPr/>
        </p:nvCxnSpPr>
        <p:spPr>
          <a:xfrm>
            <a:off x="563902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56930F6-4614-C940-AA31-EB153B9A3C14}"/>
              </a:ext>
            </a:extLst>
          </p:cNvPr>
          <p:cNvCxnSpPr>
            <a:cxnSpLocks/>
          </p:cNvCxnSpPr>
          <p:nvPr/>
        </p:nvCxnSpPr>
        <p:spPr>
          <a:xfrm>
            <a:off x="4337616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E609397-087F-854B-9535-E4D803EA438C}"/>
              </a:ext>
            </a:extLst>
          </p:cNvPr>
          <p:cNvCxnSpPr>
            <a:cxnSpLocks/>
          </p:cNvCxnSpPr>
          <p:nvPr/>
        </p:nvCxnSpPr>
        <p:spPr>
          <a:xfrm>
            <a:off x="8125846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F6D98EE6-CE26-5746-9F24-417E0C5D93D7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513103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20%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756C9CF0-3AB5-A549-A273-298CB4402764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4308588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-300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47EE0A8E-A5BD-3644-A4C4-B97D607EF556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8089559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80+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8A16D6C-FD3D-414B-9631-678E295DE32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9F0397D-3C93-7845-879A-16F144523B4C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4164765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A03067A-3923-2647-97D3-023C8639F1D2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1FC53C6-F2F8-42A2-A49B-A9238A0EDA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4756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data</a:t>
            </a:r>
          </a:p>
        </p:txBody>
      </p:sp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8A082190-6F7B-4BB6-90A3-08A8220E1F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1FA8DC3-99FB-49CE-B894-90F025FACC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CAF1C110-2104-4113-AC2A-0735ED1299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855493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and data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5F276A7-E979-4340-9836-CA9BE4464ED1}"/>
              </a:ext>
            </a:extLst>
          </p:cNvPr>
          <p:cNvCxnSpPr>
            <a:cxnSpLocks/>
          </p:cNvCxnSpPr>
          <p:nvPr/>
        </p:nvCxnSpPr>
        <p:spPr>
          <a:xfrm>
            <a:off x="563902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3936A3C-3E7D-9C41-9C09-B7B969F5C00B}"/>
              </a:ext>
            </a:extLst>
          </p:cNvPr>
          <p:cNvCxnSpPr>
            <a:cxnSpLocks/>
          </p:cNvCxnSpPr>
          <p:nvPr/>
        </p:nvCxnSpPr>
        <p:spPr>
          <a:xfrm>
            <a:off x="4337616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5D45874-2D43-0B46-A5F4-6E94698AFB20}"/>
              </a:ext>
            </a:extLst>
          </p:cNvPr>
          <p:cNvCxnSpPr>
            <a:cxnSpLocks/>
          </p:cNvCxnSpPr>
          <p:nvPr/>
        </p:nvCxnSpPr>
        <p:spPr>
          <a:xfrm>
            <a:off x="8125846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D83CB5A-02A6-8446-87FF-B791E6474486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513103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20%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D444B7E-7F71-4B46-976B-5429DA2173B3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4308588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-300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00F2D7A-7571-4B4B-A546-B2325912C04B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8089559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80+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12EFBABB-5C70-4107-9088-C1B0E1BE156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ACC72060-E493-431B-8465-A5C938B0E36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4164765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B9A7DD94-38AB-4DFD-B3B1-7698117E5AA4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B2DA6EB3-F09E-4753-9759-61F5E48DA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8263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data</a:t>
            </a:r>
          </a:p>
        </p:txBody>
      </p:sp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95FD79ED-DC24-410F-98FA-8961227CA5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9419B13-A039-4394-A6EA-FE5AE56A5A7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73EE716-0BC0-46EB-9154-7E5AAA8CE8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806827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and data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06B558A-BDEC-464B-B491-D9BC21129A9D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513103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3"/>
                    </a:gs>
                    <a:gs pos="97000">
                      <a:schemeClr val="accent4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20%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6ABD542-E4AD-F141-9F7C-F9D7647A7A44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4308588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3"/>
                    </a:gs>
                    <a:gs pos="97000">
                      <a:schemeClr val="accent4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-300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67E3190-6EA7-2940-AF53-00DFF865B774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8089559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3"/>
                    </a:gs>
                    <a:gs pos="97000">
                      <a:schemeClr val="accent4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80+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8AAE14-673A-48C3-AB34-E203F644B8E4}"/>
              </a:ext>
            </a:extLst>
          </p:cNvPr>
          <p:cNvCxnSpPr>
            <a:cxnSpLocks/>
          </p:cNvCxnSpPr>
          <p:nvPr/>
        </p:nvCxnSpPr>
        <p:spPr>
          <a:xfrm>
            <a:off x="563902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3373FB8-5D9C-4D1B-987C-CE9B05227EC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73D7130-65B2-418E-A28A-88D753AF2669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4164765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18B7352-50C9-4EB3-B44F-091AA75BB5B2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25ABD418-4BFF-46CA-8258-2592F20AD1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8960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data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B8A52325-3C8A-4F56-829E-2C83AA7B78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4DB9AD6-305E-4CAC-884E-012D9656B7A1}"/>
              </a:ext>
            </a:extLst>
          </p:cNvPr>
          <p:cNvCxnSpPr>
            <a:cxnSpLocks/>
          </p:cNvCxnSpPr>
          <p:nvPr/>
        </p:nvCxnSpPr>
        <p:spPr>
          <a:xfrm>
            <a:off x="4337616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BB1CD7A-4B2C-478A-8E8D-FA20C6C22242}"/>
              </a:ext>
            </a:extLst>
          </p:cNvPr>
          <p:cNvCxnSpPr>
            <a:cxnSpLocks/>
          </p:cNvCxnSpPr>
          <p:nvPr/>
        </p:nvCxnSpPr>
        <p:spPr>
          <a:xfrm>
            <a:off x="8125846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DF1E74D-467C-4D1D-8B2D-9294B98C5C5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F50940B2-ABB8-4233-B366-97C29744D5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92943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2 data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2462AB-6463-CF4C-ACBF-34DDFE050AC3}"/>
              </a:ext>
            </a:extLst>
          </p:cNvPr>
          <p:cNvCxnSpPr>
            <a:cxnSpLocks/>
          </p:cNvCxnSpPr>
          <p:nvPr/>
        </p:nvCxnSpPr>
        <p:spPr>
          <a:xfrm>
            <a:off x="8121723" y="993221"/>
            <a:ext cx="3506376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1776A2A-B671-AB4E-8FDB-35C6B7BE364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8124669" y="1845940"/>
            <a:ext cx="350637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of data option to highlight text with a color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F7A43E-8EF4-FE4A-ACFF-9F5A5EC847DE}"/>
              </a:ext>
            </a:extLst>
          </p:cNvPr>
          <p:cNvCxnSpPr>
            <a:cxnSpLocks/>
          </p:cNvCxnSpPr>
          <p:nvPr/>
        </p:nvCxnSpPr>
        <p:spPr>
          <a:xfrm>
            <a:off x="8121723" y="3346677"/>
            <a:ext cx="3506376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5778F89-154B-F240-B35E-F81B16D999D6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8124669" y="4199396"/>
            <a:ext cx="350637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of data option to highlight text with a color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A56877E-29E1-3742-BB24-CC81DFFFE5D8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1723" y="1045030"/>
            <a:ext cx="3506376" cy="800905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2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77%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900FC7C-DD9A-C846-843B-5642805FB71B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8121723" y="3390990"/>
            <a:ext cx="3506376" cy="800905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2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100,000+</a:t>
            </a: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A953F6CF-E655-4E7D-BDFB-6A551D28089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4896179" cy="3399937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 spc="0"/>
            </a:lvl1pPr>
            <a:lvl2pPr>
              <a:defRPr sz="1067" spc="0"/>
            </a:lvl2pPr>
            <a:lvl3pPr>
              <a:defRPr sz="800" spc="0"/>
            </a:lvl3pPr>
            <a:lvl4pPr>
              <a:defRPr sz="400" spc="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35A59425-FB4F-4C38-AD94-620219A101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3220"/>
            <a:ext cx="4901805" cy="170991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with key data right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11798FBB-8372-4722-82BF-FACDB6A640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4127422-6D86-4CED-ABA9-B9D18F6B22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28A8C1EF-D8F4-42D5-AAB0-CC93828312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7124035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4 data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2462AB-6463-CF4C-ACBF-34DDFE050AC3}"/>
              </a:ext>
            </a:extLst>
          </p:cNvPr>
          <p:cNvCxnSpPr>
            <a:cxnSpLocks/>
          </p:cNvCxnSpPr>
          <p:nvPr/>
        </p:nvCxnSpPr>
        <p:spPr>
          <a:xfrm>
            <a:off x="9069052" y="993221"/>
            <a:ext cx="255904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1776A2A-B671-AB4E-8FDB-35C6B7BE364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9069051" y="1845940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F7A43E-8EF4-FE4A-ACFF-9F5A5EC847DE}"/>
              </a:ext>
            </a:extLst>
          </p:cNvPr>
          <p:cNvCxnSpPr>
            <a:cxnSpLocks/>
          </p:cNvCxnSpPr>
          <p:nvPr/>
        </p:nvCxnSpPr>
        <p:spPr>
          <a:xfrm>
            <a:off x="9084040" y="3346677"/>
            <a:ext cx="254405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5778F89-154B-F240-B35E-F81B16D999D6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9069051" y="4199396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A56877E-29E1-3742-BB24-CC81DFFFE5D8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9066105" y="1052982"/>
            <a:ext cx="2561996" cy="688453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2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25,000+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900FC7C-DD9A-C846-843B-5642805FB71B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9066105" y="3398942"/>
            <a:ext cx="2561996" cy="688453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2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30%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F9833B0-6B7A-714F-92F0-2318F3988881}"/>
              </a:ext>
            </a:extLst>
          </p:cNvPr>
          <p:cNvCxnSpPr>
            <a:cxnSpLocks/>
          </p:cNvCxnSpPr>
          <p:nvPr/>
        </p:nvCxnSpPr>
        <p:spPr>
          <a:xfrm>
            <a:off x="6235910" y="993221"/>
            <a:ext cx="255904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3FA3CBF-374B-A244-B5C0-E13E40FCC1EA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6235910" y="1845940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116D5F1-B389-8444-92F2-80861F0A60F1}"/>
              </a:ext>
            </a:extLst>
          </p:cNvPr>
          <p:cNvCxnSpPr>
            <a:cxnSpLocks/>
          </p:cNvCxnSpPr>
          <p:nvPr/>
        </p:nvCxnSpPr>
        <p:spPr>
          <a:xfrm>
            <a:off x="6250899" y="3346677"/>
            <a:ext cx="254405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325976-5126-7040-BC43-767BC0796538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6235910" y="4199396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84EF73E-6055-7549-9FBD-CCA53A9BB16F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6232963" y="1052982"/>
            <a:ext cx="2561996" cy="688453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2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77%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96A08685-9430-244D-BED6-B6CDCC29A954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6232963" y="3398942"/>
            <a:ext cx="2561996" cy="688453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2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-50</a:t>
            </a:r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F0978613-50ED-4F51-BBE0-00F6975A767E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4833332" cy="341390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 spc="0"/>
            </a:lvl1pPr>
            <a:lvl2pPr>
              <a:defRPr sz="1067" spc="0"/>
            </a:lvl2pPr>
            <a:lvl3pPr>
              <a:defRPr sz="800" spc="0"/>
            </a:lvl3pPr>
            <a:lvl4pPr>
              <a:defRPr sz="400" spc="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08D8E3A7-A4BC-4E58-A3CD-1366DCB307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3222"/>
            <a:ext cx="4838960" cy="167508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with key data right</a:t>
            </a:r>
          </a:p>
        </p:txBody>
      </p:sp>
      <p:sp>
        <p:nvSpPr>
          <p:cNvPr id="38" name="Slide Number Placeholder 4">
            <a:extLst>
              <a:ext uri="{FF2B5EF4-FFF2-40B4-BE49-F238E27FC236}">
                <a16:creationId xmlns:a16="http://schemas.microsoft.com/office/drawing/2014/main" id="{EB927BF6-B7DB-457A-BD02-2BDF652259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316AFE74-19AA-44F5-A0EC-8E1A24A495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48461BE4-FEE8-4E08-94EF-CF8BE4A0F9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818371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2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2462AB-6463-CF4C-ACBF-34DDFE050AC3}"/>
              </a:ext>
            </a:extLst>
          </p:cNvPr>
          <p:cNvCxnSpPr>
            <a:cxnSpLocks/>
          </p:cNvCxnSpPr>
          <p:nvPr/>
        </p:nvCxnSpPr>
        <p:spPr>
          <a:xfrm>
            <a:off x="8121723" y="993221"/>
            <a:ext cx="3506376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1776A2A-B671-AB4E-8FDB-35C6B7BE364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8124669" y="1599573"/>
            <a:ext cx="3506376" cy="1565295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of data with option to highlight text with a color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F7A43E-8EF4-FE4A-ACFF-9F5A5EC847DE}"/>
              </a:ext>
            </a:extLst>
          </p:cNvPr>
          <p:cNvCxnSpPr>
            <a:cxnSpLocks/>
          </p:cNvCxnSpPr>
          <p:nvPr/>
        </p:nvCxnSpPr>
        <p:spPr>
          <a:xfrm>
            <a:off x="8121723" y="3346677"/>
            <a:ext cx="3506376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5778F89-154B-F240-B35E-F81B16D999D6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8124669" y="3953029"/>
            <a:ext cx="3506376" cy="1565295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of data with option to highlight text with a color</a:t>
            </a: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A953F6CF-E655-4E7D-BDFB-6A551D28089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4896179" cy="3399937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 spc="0"/>
            </a:lvl1pPr>
            <a:lvl2pPr>
              <a:defRPr sz="1067" spc="0"/>
            </a:lvl2pPr>
            <a:lvl3pPr>
              <a:defRPr sz="800" spc="0"/>
            </a:lvl3pPr>
            <a:lvl4pPr>
              <a:defRPr sz="400" spc="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35A59425-FB4F-4C38-AD94-620219A101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3220"/>
            <a:ext cx="4901805" cy="170991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with key data right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11798FBB-8372-4722-82BF-FACDB6A640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4127422-6D86-4CED-ABA9-B9D18F6B22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28A8C1EF-D8F4-42D5-AAB0-CC93828312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BCAD04E-4C2E-418B-8D4E-04445E6DDC9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124670" y="1139204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BDD70ED-054E-4BF0-8B6B-069CF8E5142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121723" y="347758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</p:spTree>
    <p:extLst>
      <p:ext uri="{BB962C8B-B14F-4D97-AF65-F5344CB8AC3E}">
        <p14:creationId xmlns:p14="http://schemas.microsoft.com/office/powerpoint/2010/main" val="18697804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4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2462AB-6463-CF4C-ACBF-34DDFE050AC3}"/>
              </a:ext>
            </a:extLst>
          </p:cNvPr>
          <p:cNvCxnSpPr>
            <a:cxnSpLocks/>
          </p:cNvCxnSpPr>
          <p:nvPr/>
        </p:nvCxnSpPr>
        <p:spPr>
          <a:xfrm>
            <a:off x="9069052" y="993221"/>
            <a:ext cx="255904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1776A2A-B671-AB4E-8FDB-35C6B7BE364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9069051" y="1612208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F7A43E-8EF4-FE4A-ACFF-9F5A5EC847DE}"/>
              </a:ext>
            </a:extLst>
          </p:cNvPr>
          <p:cNvCxnSpPr>
            <a:cxnSpLocks/>
          </p:cNvCxnSpPr>
          <p:nvPr/>
        </p:nvCxnSpPr>
        <p:spPr>
          <a:xfrm>
            <a:off x="9084040" y="3346677"/>
            <a:ext cx="254405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5778F89-154B-F240-B35E-F81B16D999D6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9069051" y="3965664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F9833B0-6B7A-714F-92F0-2318F3988881}"/>
              </a:ext>
            </a:extLst>
          </p:cNvPr>
          <p:cNvCxnSpPr>
            <a:cxnSpLocks/>
          </p:cNvCxnSpPr>
          <p:nvPr/>
        </p:nvCxnSpPr>
        <p:spPr>
          <a:xfrm>
            <a:off x="6235910" y="993221"/>
            <a:ext cx="255904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3FA3CBF-374B-A244-B5C0-E13E40FCC1EA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6235910" y="1612208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116D5F1-B389-8444-92F2-80861F0A60F1}"/>
              </a:ext>
            </a:extLst>
          </p:cNvPr>
          <p:cNvCxnSpPr>
            <a:cxnSpLocks/>
          </p:cNvCxnSpPr>
          <p:nvPr/>
        </p:nvCxnSpPr>
        <p:spPr>
          <a:xfrm>
            <a:off x="6250899" y="3346677"/>
            <a:ext cx="254405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325976-5126-7040-BC43-767BC0796538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6235910" y="3965664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F0978613-50ED-4F51-BBE0-00F6975A767E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4833332" cy="341390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 spc="0"/>
            </a:lvl1pPr>
            <a:lvl2pPr>
              <a:defRPr sz="1067" spc="0"/>
            </a:lvl2pPr>
            <a:lvl3pPr>
              <a:defRPr sz="800" spc="0"/>
            </a:lvl3pPr>
            <a:lvl4pPr>
              <a:defRPr sz="400" spc="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08D8E3A7-A4BC-4E58-A3CD-1366DCB307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3222"/>
            <a:ext cx="4838960" cy="167508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with key data right</a:t>
            </a:r>
          </a:p>
        </p:txBody>
      </p:sp>
      <p:sp>
        <p:nvSpPr>
          <p:cNvPr id="38" name="Slide Number Placeholder 4">
            <a:extLst>
              <a:ext uri="{FF2B5EF4-FFF2-40B4-BE49-F238E27FC236}">
                <a16:creationId xmlns:a16="http://schemas.microsoft.com/office/drawing/2014/main" id="{EB927BF6-B7DB-457A-BD02-2BDF652259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316AFE74-19AA-44F5-A0EC-8E1A24A495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48461BE4-FEE8-4E08-94EF-CF8BE4A0F9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1529625F-7DEE-402F-BCC7-E3F6B1DFA88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50899" y="1147648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6839659-BE0B-4010-92F6-DAEB5D615CD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50899" y="347971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A83BDD0-E718-4437-ADC5-FDF817E32F4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084040" y="114663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FD13EB52-63CB-4ADD-B22D-D9D6F1D697A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084040" y="3478699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</p:spTree>
    <p:extLst>
      <p:ext uri="{BB962C8B-B14F-4D97-AF65-F5344CB8AC3E}">
        <p14:creationId xmlns:p14="http://schemas.microsoft.com/office/powerpoint/2010/main" val="39562301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eature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6109FABB-685C-064C-97C0-CDEBA83E6A90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75128" y="1681972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867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A94773F4-AAB7-E940-B2A8-EFEBE8948C45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575128" y="3237202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867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67" name="Text Placeholder 3">
            <a:extLst>
              <a:ext uri="{FF2B5EF4-FFF2-40B4-BE49-F238E27FC236}">
                <a16:creationId xmlns:a16="http://schemas.microsoft.com/office/drawing/2014/main" id="{282895ED-6050-3747-8F02-64EC64223ADF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575128" y="4792431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867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87" name="Picture Placeholder 2">
            <a:extLst>
              <a:ext uri="{FF2B5EF4-FFF2-40B4-BE49-F238E27FC236}">
                <a16:creationId xmlns:a16="http://schemas.microsoft.com/office/drawing/2014/main" id="{323133DF-7BD6-514D-BEB7-88A3F593064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803160" y="831957"/>
            <a:ext cx="6603168" cy="5321508"/>
          </a:xfrm>
          <a:prstGeom prst="rect">
            <a:avLst/>
          </a:prstGeom>
          <a:solidFill>
            <a:srgbClr val="121212"/>
          </a:solidFill>
        </p:spPr>
        <p:txBody>
          <a:bodyPr anchor="t" anchorCtr="0">
            <a:noAutofit/>
          </a:bodyPr>
          <a:lstStyle>
            <a:lvl1pPr marL="0" indent="0" algn="ctr">
              <a:buNone/>
              <a:defRPr sz="2509" spc="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1" name="Slide Number Placeholder 4">
            <a:extLst>
              <a:ext uri="{FF2B5EF4-FFF2-40B4-BE49-F238E27FC236}">
                <a16:creationId xmlns:a16="http://schemas.microsoft.com/office/drawing/2014/main" id="{1D2CC720-C5B4-48FE-A1CD-BA2700675B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2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825B61A-3A85-4882-BBB1-5D9D49DE8B11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5128" y="2033026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33" dirty="0">
                <a:solidFill>
                  <a:schemeClr val="tx2"/>
                </a:solidFill>
              </a:defRPr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77C9AC3-9E3A-4EA8-B187-A1C1A3FCF4EC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75128" y="3586888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302676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33" dirty="0">
                <a:solidFill>
                  <a:schemeClr val="tx2"/>
                </a:solidFill>
              </a:defRPr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5D3C119-BE92-4F78-B40B-2CD0BA25798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75128" y="5140751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33" dirty="0">
                <a:solidFill>
                  <a:schemeClr val="tx2"/>
                </a:solidFill>
              </a:defRPr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85E9FFB8-448F-4BEB-9062-AE6453AC476B}"/>
              </a:ext>
            </a:extLst>
          </p:cNvPr>
          <p:cNvSpPr>
            <a:spLocks noGrp="1"/>
          </p:cNvSpPr>
          <p:nvPr>
            <p:ph type="body" sz="half" idx="48" hasCustomPrompt="1"/>
          </p:nvPr>
        </p:nvSpPr>
        <p:spPr>
          <a:xfrm>
            <a:off x="9742445" y="1682132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867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490D1BE3-656B-4816-8D7F-6B972EE99B30}"/>
              </a:ext>
            </a:extLst>
          </p:cNvPr>
          <p:cNvSpPr>
            <a:spLocks noGrp="1"/>
          </p:cNvSpPr>
          <p:nvPr>
            <p:ph type="body" sz="half" idx="50" hasCustomPrompt="1"/>
          </p:nvPr>
        </p:nvSpPr>
        <p:spPr>
          <a:xfrm>
            <a:off x="9742445" y="3237362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867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08A5BB13-4AE6-4F94-B95C-2999ADC2964E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9742445" y="4792591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867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D5A01B2D-2DD4-48BE-9168-CD41BD2A052C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9742445" y="2033186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33" dirty="0">
                <a:solidFill>
                  <a:schemeClr val="tx2"/>
                </a:solidFill>
              </a:defRPr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E50C3374-25F2-4497-910F-A7F20424C332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9742445" y="3587048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33" dirty="0">
                <a:solidFill>
                  <a:schemeClr val="tx2"/>
                </a:solidFill>
              </a:defRPr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7280B0E9-BE28-4C9B-8368-AB8CBD61305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9742445" y="5140911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None/>
              <a:defRPr lang="en-US" sz="933" spc="0" dirty="0">
                <a:solidFill>
                  <a:schemeClr val="tx2"/>
                </a:solidFill>
              </a:defRPr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DB88346-186B-44A2-ACB8-13C6075E17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9008" y="1282135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423CEAC7-9351-44C0-8650-685B42C7DB3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69008" y="283365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92DA7B38-9444-4EC2-8018-21FD1A285F3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569008" y="4385168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9E1862F-9EB8-4655-8F44-7F8EAF7C5A2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742446" y="1296068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09882002-4CDE-4869-868F-E43E999F39D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742446" y="2847584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72D80060-E102-442A-9C04-C7B7F0A30E6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742446" y="43991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5EB31E36-A45C-4CA4-BAD6-608235E681A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BA87D479-30B1-45F9-9188-C9837378F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6154495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FB7DABE0-8F22-F041-8366-E2731CE05EE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1835" y="1591765"/>
            <a:ext cx="280579" cy="224463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C865750-8F0C-6B4A-A308-228D6B53EE0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01837" y="4666993"/>
            <a:ext cx="6314695" cy="22775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333" b="1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254B061-C071-4247-8356-D55F1F50C5D6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01837" y="4952059"/>
            <a:ext cx="6314695" cy="18229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067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E9F3EB2-8419-DA47-B375-D5E047B95E7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C4105021-0C0A-411C-AAFB-43C46FF3DF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8E7470-A9D2-4756-B67E-9B25728B0E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08A76CFF-C17D-4391-AA7D-BE96902F888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64CA91EC-3163-7644-886D-5ED1A8B68D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300667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C8151F1-B4B3-4946-ABEC-1380FC0939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1836" y="1591766"/>
            <a:ext cx="280579" cy="22446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E73A939-ABFE-FF48-B40B-0547237F3E1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1262604" y="6390605"/>
            <a:ext cx="382947" cy="93183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33BA5D9-8DD3-44FA-97F1-0BE7E11890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01838" y="4666993"/>
            <a:ext cx="6314695" cy="205184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buNone/>
              <a:defRPr sz="1333" b="1" i="0" spc="0" baseline="0">
                <a:solidFill>
                  <a:schemeClr val="bg1"/>
                </a:solidFill>
                <a:latin typeface="+mj-lt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34D1A77-E568-4CF9-B725-C0D0BF9F82C5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01838" y="4952059"/>
            <a:ext cx="6314695" cy="16414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buNone/>
              <a:defRPr sz="1067" b="0" i="0" spc="0" baseline="0">
                <a:solidFill>
                  <a:schemeClr val="bg1"/>
                </a:solidFill>
                <a:latin typeface="+mj-lt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6CB0DADA-5A76-4539-BB25-1A84FE99D0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1837" y="2006770"/>
            <a:ext cx="7570967" cy="2363812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>
            <a:lvl1pPr>
              <a:defRPr lang="en-US" sz="4052" spc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4052">
                <a:solidFill>
                  <a:schemeClr val="bg1"/>
                </a:solidFill>
              </a:rPr>
              <a:t>Quote here dolor sit </a:t>
            </a:r>
            <a:r>
              <a:rPr lang="en-US" sz="4052" err="1">
                <a:solidFill>
                  <a:schemeClr val="bg1"/>
                </a:solidFill>
              </a:rPr>
              <a:t>amet</a:t>
            </a:r>
            <a:r>
              <a:rPr lang="en-US" sz="4052">
                <a:solidFill>
                  <a:schemeClr val="bg1"/>
                </a:solidFill>
              </a:rPr>
              <a:t>, </a:t>
            </a:r>
            <a:r>
              <a:rPr lang="en-US" sz="4052" err="1">
                <a:solidFill>
                  <a:schemeClr val="bg1"/>
                </a:solidFill>
              </a:rPr>
              <a:t>consectetur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adipiscing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elit</a:t>
            </a:r>
            <a:r>
              <a:rPr lang="en-US" sz="4052">
                <a:solidFill>
                  <a:schemeClr val="bg1"/>
                </a:solidFill>
              </a:rPr>
              <a:t>, sed </a:t>
            </a:r>
            <a:r>
              <a:rPr lang="en-US" sz="4052" err="1">
                <a:solidFill>
                  <a:schemeClr val="bg1"/>
                </a:solidFill>
              </a:rPr>
              <a:t>eiusmod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tempor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incididunt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ut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labore</a:t>
            </a:r>
            <a:r>
              <a:rPr lang="en-US" sz="4052">
                <a:solidFill>
                  <a:schemeClr val="bg1"/>
                </a:solidFill>
              </a:rPr>
              <a:t> et dolore .</a:t>
            </a:r>
            <a:endParaRPr lang="en-US"/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41AF0EE6-B3C9-4B84-B580-E17BEB0703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4FC14E5-D972-4B5E-B82D-A2D6DA9AF57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7B7A962E-AB16-4EBC-8EC0-545EA8C20A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bg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2928368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5D7582C7-D8A5-B844-99D4-FF1EF0B2678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1835" y="1591765"/>
            <a:ext cx="280579" cy="22446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4AD1EDD-48E3-1149-9699-942910AF654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0F001CB-6071-495E-8B33-0D4D8B9A5C6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01837" y="4666993"/>
            <a:ext cx="6314695" cy="22775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333" b="1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D410D66-33BB-4469-B397-AE29D77038D2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01837" y="4952059"/>
            <a:ext cx="6314695" cy="18229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067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30F2DE5F-07B7-44AB-9AE4-5A490A346A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EB9C626-772E-423A-A83B-FDDBB19DAEB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0000"/>
              </a:lnSpc>
              <a:defRPr lang="en-US" sz="400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Click to add quotation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580096A-CA76-40B6-AE91-9B571CCD5D3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0C301F8F-9657-4D42-A3E2-D5C297D493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832081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C8151F1-B4B3-4946-ABEC-1380FC0939C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1835" y="1591765"/>
            <a:ext cx="280579" cy="22446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E73A939-ABFE-FF48-B40B-0547237F3E1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33BA5D9-8DD3-44FA-97F1-0BE7E11890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01837" y="4666993"/>
            <a:ext cx="6314695" cy="22775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333" b="1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34D1A77-E568-4CF9-B725-C0D0BF9F82C5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01837" y="4952059"/>
            <a:ext cx="6314695" cy="18229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067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41AF0EE6-B3C9-4B84-B580-E17BEB0703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066B250-A33F-47B7-BFD8-B70059A3BAA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0000"/>
              </a:lnSpc>
              <a:defRPr lang="en-US" sz="400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Click to add quotation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B4E9C83-79F0-4C4D-8790-0879E16319C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11787F27-6C12-1C4F-B427-BCADDA6318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822573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C8151F1-B4B3-4946-ABEC-1380FC0939C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1835" y="1591765"/>
            <a:ext cx="280579" cy="224463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33BA5D9-8DD3-44FA-97F1-0BE7E11890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01837" y="4666993"/>
            <a:ext cx="6314695" cy="22775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333" b="1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34D1A77-E568-4CF9-B725-C0D0BF9F82C5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01837" y="4952059"/>
            <a:ext cx="6314695" cy="18229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067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41AF0EE6-B3C9-4B84-B580-E17BEB0703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47AAE0F-8337-4F73-9DD9-D379B007EF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0000"/>
              </a:lnSpc>
              <a:defRPr lang="en-US" sz="400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Click to add quotation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82D5AC4-DFBC-4215-B31F-BE1599178FF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55ACF69D-BB42-FF47-8DEC-EC2E42897E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476131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C8151F1-B4B3-4946-ABEC-1380FC0939C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1835" y="1591765"/>
            <a:ext cx="280579" cy="224463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33BA5D9-8DD3-44FA-97F1-0BE7E11890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54742" y="4832497"/>
            <a:ext cx="6314695" cy="22775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333" b="1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34D1A77-E568-4CF9-B725-C0D0BF9F82C5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4554742" y="5117563"/>
            <a:ext cx="6314695" cy="18229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067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41AF0EE6-B3C9-4B84-B580-E17BEB0703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47AAE0F-8337-4F73-9DD9-D379B007EF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0000"/>
              </a:lnSpc>
              <a:defRPr lang="en-US" sz="400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Click to add quotation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82D5AC4-DFBC-4215-B31F-BE1599178FF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E376C552-F9A8-7E4A-8D26-C2DA4C751B5A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3401835" y="4542367"/>
            <a:ext cx="1003300" cy="1003300"/>
          </a:xfrm>
          <a:prstGeom prst="ellipse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67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5C90B39F-EC74-9C4E-901C-C3AB7D8EBB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916781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A712B4B-CA11-4116-8559-6D5A2D1AD8D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1"/>
            <a:ext cx="5384800" cy="3343785"/>
          </a:xfrm>
        </p:spPr>
        <p:txBody>
          <a:bodyPr>
            <a:noAutofit/>
          </a:bodyPr>
          <a:lstStyle>
            <a:lvl1pPr marL="228594" indent="-228594">
              <a:lnSpc>
                <a:spcPct val="140000"/>
              </a:lnSpc>
              <a:buFont typeface="Arial" panose="020B0604020202020204" pitchFamily="34" charset="0"/>
              <a:buChar char="•"/>
              <a:defRPr sz="1333"/>
            </a:lvl1pPr>
            <a:lvl2pPr>
              <a:lnSpc>
                <a:spcPct val="140000"/>
              </a:lnSpc>
              <a:defRPr sz="1067"/>
            </a:lvl2pPr>
            <a:lvl3pPr>
              <a:lnSpc>
                <a:spcPct val="140000"/>
              </a:lnSpc>
              <a:defRPr sz="800"/>
            </a:lvl3pPr>
            <a:lvl4pPr>
              <a:lnSpc>
                <a:spcPct val="140000"/>
              </a:lnSpc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60107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Turn guides on to use this slide’s grid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3984B84-E026-4120-A200-04C1B3AFF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14B2EEA-5915-42C8-9003-8974AFE90EA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B859ACCB-8619-4E02-BC00-0846527E11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171432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496">
          <p15:clr>
            <a:srgbClr val="FBAE40"/>
          </p15:clr>
        </p15:guide>
        <p15:guide id="3" pos="2376">
          <p15:clr>
            <a:srgbClr val="FBAE40"/>
          </p15:clr>
        </p15:guide>
        <p15:guide id="4" pos="1920">
          <p15:clr>
            <a:srgbClr val="FBAE40"/>
          </p15:clr>
        </p15:guide>
        <p15:guide id="5" pos="2040">
          <p15:clr>
            <a:srgbClr val="FBAE40"/>
          </p15:clr>
        </p15:guide>
        <p15:guide id="6" pos="1608">
          <p15:clr>
            <a:srgbClr val="FBAE40"/>
          </p15:clr>
        </p15:guide>
        <p15:guide id="7" pos="1464">
          <p15:clr>
            <a:srgbClr val="FBAE40"/>
          </p15:clr>
        </p15:guide>
        <p15:guide id="8" pos="1152">
          <p15:clr>
            <a:srgbClr val="FBAE40"/>
          </p15:clr>
        </p15:guide>
        <p15:guide id="9" pos="1032">
          <p15:clr>
            <a:srgbClr val="FBAE40"/>
          </p15:clr>
        </p15:guide>
        <p15:guide id="10" pos="720">
          <p15:clr>
            <a:srgbClr val="FBAE40"/>
          </p15:clr>
        </p15:guide>
        <p15:guide id="11" pos="600">
          <p15:clr>
            <a:srgbClr val="FBAE40"/>
          </p15:clr>
        </p15:guide>
        <p15:guide id="12" pos="3264">
          <p15:clr>
            <a:srgbClr val="FBAE40"/>
          </p15:clr>
        </p15:guide>
        <p15:guide id="13" pos="3384">
          <p15:clr>
            <a:srgbClr val="FBAE40"/>
          </p15:clr>
        </p15:guide>
        <p15:guide id="14" pos="3720">
          <p15:clr>
            <a:srgbClr val="FBAE40"/>
          </p15:clr>
        </p15:guide>
        <p15:guide id="15" pos="3840">
          <p15:clr>
            <a:srgbClr val="FBAE40"/>
          </p15:clr>
        </p15:guide>
        <p15:guide id="16" pos="4152">
          <p15:clr>
            <a:srgbClr val="FBAE40"/>
          </p15:clr>
        </p15:guide>
        <p15:guide id="17" pos="4296">
          <p15:clr>
            <a:srgbClr val="FBAE40"/>
          </p15:clr>
        </p15:guide>
        <p15:guide id="18" pos="4608">
          <p15:clr>
            <a:srgbClr val="FBAE40"/>
          </p15:clr>
        </p15:guide>
        <p15:guide id="19" pos="4728">
          <p15:clr>
            <a:srgbClr val="FBAE40"/>
          </p15:clr>
        </p15:guide>
        <p15:guide id="20" pos="5040">
          <p15:clr>
            <a:srgbClr val="FBAE40"/>
          </p15:clr>
        </p15:guide>
        <p15:guide id="21" pos="5184">
          <p15:clr>
            <a:srgbClr val="FBAE40"/>
          </p15:clr>
        </p15:guide>
      </p15:sldGuideLst>
    </p:ext>
  </p:extLst>
</p:sldLayout>
</file>

<file path=ppt/slideLayouts/slideLayout1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825D1DB-33F5-3C4E-9082-E33280F7438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1000" y="2794000"/>
            <a:ext cx="1270000" cy="1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6743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63C86CC-9F1B-4BC4-B31D-B1F8DE70F5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1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4C5D01-C630-4FFC-963D-B04C145573CD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445226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ayout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Icon&#10;&#10;Description automatically generated">
            <a:extLst>
              <a:ext uri="{FF2B5EF4-FFF2-40B4-BE49-F238E27FC236}">
                <a16:creationId xmlns:a16="http://schemas.microsoft.com/office/drawing/2014/main" id="{19620AD3-5748-200B-5EC6-3117B898B9F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85801" y="0"/>
            <a:ext cx="11506201" cy="6858000"/>
          </a:xfrm>
          <a:prstGeom prst="rect">
            <a:avLst/>
          </a:prstGeom>
        </p:spPr>
      </p:pic>
      <p:pic>
        <p:nvPicPr>
          <p:cNvPr id="3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B2D967CE-53EE-F9BD-B47C-F009B4825D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51621" y="6210301"/>
            <a:ext cx="2168880" cy="303049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1" y="4869790"/>
            <a:ext cx="7277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1501" y="5248892"/>
            <a:ext cx="7277100" cy="1846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790702"/>
            <a:ext cx="7277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1" y="3431818"/>
            <a:ext cx="7277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5238639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ive Topics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1"/>
            <a:ext cx="53721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213C59-7880-41D1-9DE5-B53FA71B4F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48401" y="609601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0BD0D78-FA9C-47FE-A8C5-A942C1A9A1E0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080809" y="609601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4D1B0561-72B3-4A7C-9434-B0EDE523688D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080809" y="1037805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FB88D30E-5998-42C2-BFDA-6C6AA1F33F7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48401" y="1647195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6D18BF23-F279-48A8-8AFF-AC70F73F091E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7080809" y="1647194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8445664B-F9E1-4D1D-9F6E-DA27AF43C21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7080809" y="207539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31F0F46D-89DF-46CA-934B-C124727D937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48401" y="2684789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8BB0DD2A-742F-4019-B2A6-6AC6CF3BEEA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080809" y="2684787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4D48E93A-11A3-45A0-961F-26062021432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080809" y="3112993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365D378F-8BFE-41E2-A048-4F1E113B408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48401" y="3722382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4681FE84-1510-4206-91AF-B290EF3C0E1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7080809" y="3722382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58EB90C9-03A7-449D-A8F3-B379B319950E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7080809" y="4150586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E3E332E3-41A2-4350-A7FE-20CB379706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1" y="475997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948A5A7B-49E0-4CF2-8080-E002145F2FF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09" y="4759974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B8F46644-76D3-4C51-9163-739A1F5F7650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09" y="5188180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7D1C11A-12D9-461B-A255-03DBC65A944A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7196603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Ten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1"/>
            <a:ext cx="53721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2875B737-D8C9-4B5A-A987-E648592F8AB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71501" y="2437943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1BC899D-37C3-4568-A4DF-0B0EDE20DC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403909" y="243794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B5D11EE-1D55-4041-81BF-2D405343AEB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1403909" y="286614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78F2AB5-8A22-4344-B743-464793BF69F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71501" y="3278623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2A1D5CE-6473-44B2-BC10-1AC73E1B795C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403909" y="327862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D8A733FF-648D-413A-A965-9380FF19EB3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403909" y="370682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C4EAFF18-13A5-4454-9A4E-50C9683A086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71501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3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5CFB554-4FA5-44FE-AD9D-94ADB8A1596B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403909" y="4118818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E82D60C9-C7E6-4DE4-8E8B-9A9D85E509A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1403909" y="4547022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1C81A21-CB5C-4EBA-AA54-D73A670B36B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71501" y="4959741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4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3D704AA8-F2E6-4E6E-BA0F-C73614C721D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1403909" y="4959741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66AE59D2-11F7-416C-B366-F23200F2C468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403909" y="5387945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898C6801-7507-4803-A711-42CEC857E56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1" y="2437943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5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7589C976-7FFB-4218-BF7E-1F78F2A1F02C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09" y="243794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0F3DDABD-EE25-49C3-9A53-2657DAD77A8C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09" y="286614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17167DB7-5308-42DC-AEE9-AAED2ED164D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248401" y="3278623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6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620B5D7B-672A-4FB9-9717-E785586DA30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7080809" y="327862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E23B210E-5C88-4516-A864-36247F88D733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7080809" y="370682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37DB0FAF-76DD-43D1-B897-9417F5B3AB7B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48401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7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B0C7BE68-E1A9-48A3-8ADD-8FDB96C02A40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7080809" y="4118818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5195D37A-ED4A-4E1F-A476-81831613075B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080809" y="4547022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62FE476F-78D3-4BBD-ADB0-A014E40BC384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48401" y="4959741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8</a:t>
            </a:r>
          </a:p>
        </p:txBody>
      </p:sp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D42D2D51-155D-4C35-BC5F-B8F1C46DC335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7080809" y="4959741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EBF4B885-D002-47D6-8922-12B72E21CACE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7080809" y="5387945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0EEB412-0CE0-4F00-8756-0957743AE431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8218484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C8151F1-B4B3-4946-ABEC-1380FC0939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1836" y="1591766"/>
            <a:ext cx="280579" cy="224463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33BA5D9-8DD3-44FA-97F1-0BE7E11890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01838" y="4666993"/>
            <a:ext cx="6314695" cy="205184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buNone/>
              <a:defRPr sz="1333" b="1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34D1A77-E568-4CF9-B725-C0D0BF9F82C5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01838" y="4952059"/>
            <a:ext cx="6314695" cy="16414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buNone/>
              <a:defRPr sz="1067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6CB0DADA-5A76-4539-BB25-1A84FE99D0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1837" y="2006770"/>
            <a:ext cx="7570967" cy="2363812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>
            <a:lvl1pPr>
              <a:defRPr lang="en-US" sz="4052" spc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z="4052">
                <a:solidFill>
                  <a:schemeClr val="bg1"/>
                </a:solidFill>
              </a:rPr>
              <a:t>Quote here dolor sit </a:t>
            </a:r>
            <a:r>
              <a:rPr lang="en-US" sz="4052" err="1">
                <a:solidFill>
                  <a:schemeClr val="bg1"/>
                </a:solidFill>
              </a:rPr>
              <a:t>amet</a:t>
            </a:r>
            <a:r>
              <a:rPr lang="en-US" sz="4052">
                <a:solidFill>
                  <a:schemeClr val="bg1"/>
                </a:solidFill>
              </a:rPr>
              <a:t>, </a:t>
            </a:r>
            <a:r>
              <a:rPr lang="en-US" sz="4052" err="1">
                <a:solidFill>
                  <a:schemeClr val="bg1"/>
                </a:solidFill>
              </a:rPr>
              <a:t>consectetur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adipiscing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elit</a:t>
            </a:r>
            <a:r>
              <a:rPr lang="en-US" sz="4052">
                <a:solidFill>
                  <a:schemeClr val="bg1"/>
                </a:solidFill>
              </a:rPr>
              <a:t>, sed </a:t>
            </a:r>
            <a:r>
              <a:rPr lang="en-US" sz="4052" err="1">
                <a:solidFill>
                  <a:schemeClr val="bg1"/>
                </a:solidFill>
              </a:rPr>
              <a:t>eiusmod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tempor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incididunt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ut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labore</a:t>
            </a:r>
            <a:r>
              <a:rPr lang="en-US" sz="4052">
                <a:solidFill>
                  <a:schemeClr val="bg1"/>
                </a:solidFill>
              </a:rPr>
              <a:t> et dolore .</a:t>
            </a:r>
            <a:endParaRPr lang="en-US"/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41AF0EE6-B3C9-4B84-B580-E17BEB0703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D51E634-0B11-495A-90D8-9BB9BA4CDBD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B4423B4F-08B9-46D7-8661-1E4F42D8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DB18D84-6CD4-FF42-B28B-0A3FD20B00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1837" y="1589982"/>
            <a:ext cx="282809" cy="226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92429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696DE5-6EFF-4C09-9943-5FCA93FF6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011A5B07-96E9-42C8-81C4-56D26550D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4FE852-4660-4623-83C0-2F7C9B6EDB27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5975965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E1C715D-9112-4A01-AD63-361439BFB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E43F6E-A8D0-4155-BD27-8561034BB2B8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4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1743213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8EE2313-2646-4E0B-B6B4-BA07574D2F8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30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594" indent="0">
              <a:buNone/>
              <a:defRPr/>
            </a:lvl3pPr>
            <a:lvl4pPr marL="406390" indent="0">
              <a:buNone/>
              <a:defRPr/>
            </a:lvl4pPr>
            <a:lvl5pPr marL="5714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572B255-D144-453C-90FA-BB07F680CF0A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4 Cisco and/or its affiliates. All rights reserved.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D9DF569-2B30-EE4C-8D21-F21B97793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68683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7C7D94ED-0F39-4B30-8B40-B8D535783A5C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CE85B47-180E-0542-8A98-FABBBFB2A6D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30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594" indent="0">
              <a:buNone/>
              <a:defRPr/>
            </a:lvl3pPr>
            <a:lvl4pPr marL="406390" indent="0">
              <a:buNone/>
              <a:defRPr/>
            </a:lvl4pPr>
            <a:lvl5pPr marL="5714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265EAF99-811E-0A42-AD86-6F1F07B547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BC72363-F3A6-5E44-AD40-7647C83973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 marL="174621" indent="-174621">
              <a:defRPr sz="1400"/>
            </a:lvl2pPr>
            <a:lvl3pPr marL="346066" indent="-171446"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1538932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8C469D-456E-4ECF-83FA-AF1F3BDB26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501" y="1905000"/>
            <a:ext cx="5372100" cy="4305301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8E86-A92A-495E-A49E-35F25D765A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1905001"/>
            <a:ext cx="5372100" cy="4305303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512750" indent="-169858"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  <a:lvl5pPr marL="746107" indent="-174621">
              <a:defRPr lang="en-US" sz="600" b="0" i="0" kern="1200" spc="0" baseline="0" dirty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274A685-F33F-448C-B6FE-AB508BA75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DAB2D8-1539-4822-9614-2E04B2120F55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7389408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, Title &amp;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DC1BA0-9AAE-4457-AB7A-2225418D1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2663" y="1905001"/>
            <a:ext cx="5372100" cy="30777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87F35FC-680E-4287-99BA-ED6DF9E6085D}"/>
              </a:ext>
            </a:extLst>
          </p:cNvPr>
          <p:cNvSpPr>
            <a:spLocks noGrp="1"/>
          </p:cNvSpPr>
          <p:nvPr>
            <p:ph type="body" idx="57"/>
          </p:nvPr>
        </p:nvSpPr>
        <p:spPr>
          <a:xfrm>
            <a:off x="6249563" y="1905001"/>
            <a:ext cx="5372100" cy="307777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E451DCD-2B8C-4BF9-8D85-AA8F5ABE2826}"/>
              </a:ext>
            </a:extLst>
          </p:cNvPr>
          <p:cNvSpPr>
            <a:spLocks noGrp="1"/>
          </p:cNvSpPr>
          <p:nvPr>
            <p:ph sz="half" idx="58"/>
          </p:nvPr>
        </p:nvSpPr>
        <p:spPr>
          <a:xfrm>
            <a:off x="571501" y="2369054"/>
            <a:ext cx="5372100" cy="3841249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F39D5E2-4E9E-4B26-9E69-7D77328E4C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2369053"/>
            <a:ext cx="5372100" cy="3841249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 marL="746107" indent="-174621">
              <a:defRPr lang="en-US" sz="600" b="0" i="0" kern="1200" spc="0" baseline="0" dirty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C2285B0-0824-4973-8F1D-C24F2784A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C254480-49EA-44F8-91E6-0FCF9F498DC6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637422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58696A-2388-495D-981D-050920BB5C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1501" y="5334001"/>
            <a:ext cx="5372099" cy="876300"/>
          </a:xfrm>
        </p:spPr>
        <p:txBody>
          <a:bodyPr>
            <a:noAutofit/>
          </a:bodyPr>
          <a:lstStyle>
            <a:lvl1pPr marL="0" indent="0">
              <a:buNone/>
              <a:tabLst/>
              <a:defRPr sz="16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C009990-5F38-4F94-ABE2-44DA301BD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1" y="5334001"/>
            <a:ext cx="5372099" cy="876300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D01E734-4CA7-4CBD-A769-BCC20375564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1501" y="1905001"/>
            <a:ext cx="5372100" cy="3271156"/>
          </a:xfrm>
          <a:solidFill>
            <a:schemeClr val="bg2"/>
          </a:solidFill>
        </p:spPr>
        <p:txBody>
          <a:bodyPr anchor="ctr" anchorCtr="0">
            <a:no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2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E24BD1C9-BB6F-4B1A-B0AC-70FBFBAD0DD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48401" y="1905001"/>
            <a:ext cx="5372100" cy="3271156"/>
          </a:xfrm>
          <a:solidFill>
            <a:schemeClr val="bg2"/>
          </a:solidFill>
        </p:spPr>
        <p:txBody>
          <a:bodyPr anchor="ctr" anchorCtr="0">
            <a:no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2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C3A3765-3130-474C-96F5-7E50AE68B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CEFB623-3BE4-41A5-AD7A-7D81E50E12FC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0169526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8C1C862-6F14-47C3-885D-12D6E1A99AA2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4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6867246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DDEF7496-FB76-482F-B4DC-5B78B30B1B0A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054F9D6-4889-4D51-9ADF-D453DFF1E8E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905001"/>
            <a:ext cx="12192000" cy="43053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algn="ctr"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3476B1-5604-4136-9D0F-58F8AF89B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13254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054F9D6-4889-4D51-9ADF-D453DFF1E8E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blipFill dpi="0" rotWithShape="1">
            <a:blip r:embed="rId2">
              <a:alphaModFix amt="2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DEF7496-FB76-482F-B4DC-5B78B30B1B0A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96465F4-B55E-463E-9A4A-F93B1EE9FD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6809" y="6364638"/>
            <a:ext cx="503671" cy="22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06322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33BA5D9-8DD3-44FA-97F1-0BE7E11890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393057" y="4723459"/>
            <a:ext cx="6314695" cy="205184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buNone/>
              <a:defRPr sz="1333" b="1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34D1A77-E568-4CF9-B725-C0D0BF9F82C5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4393057" y="5008526"/>
            <a:ext cx="6314695" cy="16414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buNone/>
              <a:defRPr sz="1067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6CB0DADA-5A76-4539-BB25-1A84FE99D0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1837" y="2006770"/>
            <a:ext cx="7570967" cy="2363812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>
            <a:lvl1pPr>
              <a:defRPr lang="en-US" sz="4052" spc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z="4052">
                <a:solidFill>
                  <a:schemeClr val="bg1"/>
                </a:solidFill>
              </a:rPr>
              <a:t>Quote here dolor sit </a:t>
            </a:r>
            <a:r>
              <a:rPr lang="en-US" sz="4052" err="1">
                <a:solidFill>
                  <a:schemeClr val="bg1"/>
                </a:solidFill>
              </a:rPr>
              <a:t>amet</a:t>
            </a:r>
            <a:r>
              <a:rPr lang="en-US" sz="4052">
                <a:solidFill>
                  <a:schemeClr val="bg1"/>
                </a:solidFill>
              </a:rPr>
              <a:t>, </a:t>
            </a:r>
            <a:r>
              <a:rPr lang="en-US" sz="4052" err="1">
                <a:solidFill>
                  <a:schemeClr val="bg1"/>
                </a:solidFill>
              </a:rPr>
              <a:t>consectetur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adipiscing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elit</a:t>
            </a:r>
            <a:r>
              <a:rPr lang="en-US" sz="4052">
                <a:solidFill>
                  <a:schemeClr val="bg1"/>
                </a:solidFill>
              </a:rPr>
              <a:t>, sed </a:t>
            </a:r>
            <a:r>
              <a:rPr lang="en-US" sz="4052" err="1">
                <a:solidFill>
                  <a:schemeClr val="bg1"/>
                </a:solidFill>
              </a:rPr>
              <a:t>eiusmod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tempor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incididunt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ut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labore</a:t>
            </a:r>
            <a:r>
              <a:rPr lang="en-US" sz="4052">
                <a:solidFill>
                  <a:schemeClr val="bg1"/>
                </a:solidFill>
              </a:rPr>
              <a:t> et dolore .</a:t>
            </a:r>
            <a:endParaRPr lang="en-US"/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41AF0EE6-B3C9-4B84-B580-E17BEB0703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D51E634-0B11-495A-90D8-9BB9BA4CDBD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B4423B4F-08B9-46D7-8661-1E4F42D8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F03AA98E-9019-404A-A14B-86F788D43A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233627" y="4479667"/>
            <a:ext cx="1003300" cy="10033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None/>
              <a:defRPr sz="1067" spc="0"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F71054C-1DC1-CE42-92D0-3775ED683A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1837" y="1589982"/>
            <a:ext cx="282809" cy="226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644999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6734A84-A20E-4265-848D-432FAF49C4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1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2236BEA-8B84-4433-AC6E-DE816054A44B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11620862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4BE6003-571D-4817-A40A-6421214126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1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4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4156D67-C67F-41CF-BA17-0B2BFD535E25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960673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1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10703F-CBA9-4296-B386-BA35019F8F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9452444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D6DF483-DD51-444D-AF16-AF31E72FDD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1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514338" indent="-171446">
              <a:buFont typeface="Arial" panose="020B0604020202020204" pitchFamily="34" charset="0"/>
              <a:buChar char="•"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0BAC715-F543-452A-80B1-3A07B10B2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1"/>
            <a:ext cx="50673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F48862-22C1-482F-B821-3D8CC682DAB1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6773190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1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1E1BB935-C530-47D2-883E-00828E3A8FC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201" y="609602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D970870-8847-48D6-ACCA-B0F7D662F2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1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66" indent="-171446">
              <a:buFont typeface="Arial" panose="020B0604020202020204" pitchFamily="34" charset="0"/>
              <a:buChar char="•"/>
              <a:defRPr sz="1200"/>
            </a:lvl3pPr>
            <a:lvl4pPr marL="514338" indent="-171446">
              <a:buFont typeface="Arial" panose="020B0604020202020204" pitchFamily="34" charset="0"/>
              <a:buChar char="•"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8CEBD18-98E9-4568-A90A-5715A834E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1"/>
            <a:ext cx="50673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4707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1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FEF2E81-694A-4A5A-BEDE-DF13285D820B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5E2598-51C8-4F83-B09D-69C86C142A3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501" y="1905001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737D39F-19A0-4D2A-8E85-527465AFD610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188208" y="1905001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4FE5E7B-ECDC-404D-9B30-E7B580CCEED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71499" y="2789967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891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50" marR="0" lvl="3" indent="-169858" algn="l" defTabSz="882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1CDB75F-12E1-4403-B291-31A3B1C83B0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188208" y="2789967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891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50" marR="0" lvl="3" indent="-169858" algn="l" defTabSz="882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BA687946-9318-4CD5-B900-AA488A7BDA5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201" y="609602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ECBF8DC3-DA3E-470B-AE86-6B154E24E3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1"/>
            <a:ext cx="50673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67472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552">
          <p15:clr>
            <a:srgbClr val="A4A3A4"/>
          </p15:clr>
        </p15:guide>
        <p15:guide id="3" pos="4128">
          <p15:clr>
            <a:srgbClr val="A4A3A4"/>
          </p15:clr>
        </p15:guide>
        <p15:guide id="4" orient="horz" pos="1656">
          <p15:clr>
            <a:srgbClr val="A4A3A4"/>
          </p15:clr>
        </p15:guide>
        <p15:guide id="5" orient="horz" pos="1752">
          <p15:clr>
            <a:srgbClr val="A4A3A4"/>
          </p15:clr>
        </p15:guide>
      </p15:sldGuideLst>
    </p:ext>
  </p:extLst>
</p:sldLayout>
</file>

<file path=ppt/slideLayouts/slideLayout1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2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689F426-4C63-454D-B133-BC94D9D160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1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B15451E-AF4B-4B3A-B376-2003DB48C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5068699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572056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2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9F1EE91-F457-4893-88BA-AF3B71081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5068699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490D2D3-F0B6-4527-A912-AE8F2F7E703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71499" y="2789967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891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50" marR="0" lvl="3" indent="-169858" algn="l" defTabSz="882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D27C7EF2-E1C7-403F-81BA-2822B0BADEE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188208" y="2789967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891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50" marR="0" lvl="3" indent="-169858" algn="l" defTabSz="882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322DDD1-796F-4817-A0A2-B54629B89214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501" y="1905001"/>
            <a:ext cx="2448577" cy="723900"/>
          </a:xfrm>
        </p:spPr>
        <p:txBody>
          <a:bodyPr wrap="square" anchor="b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5075854-0A14-4136-BC79-1BC72756705A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188208" y="1905001"/>
            <a:ext cx="2450592" cy="723900"/>
          </a:xfrm>
        </p:spPr>
        <p:txBody>
          <a:bodyPr wrap="square" anchor="b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864237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552">
          <p15:clr>
            <a:srgbClr val="A4A3A4"/>
          </p15:clr>
        </p15:guide>
        <p15:guide id="2" pos="4152">
          <p15:clr>
            <a:srgbClr val="A4A3A4"/>
          </p15:clr>
        </p15:guide>
      </p15:sldGuideLst>
    </p:ext>
  </p:extLst>
</p:sldLayout>
</file>

<file path=ppt/slideLayouts/slideLayout1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AEEE0BE-B874-4CB1-92B1-404602B5CA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1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66" indent="-171446">
              <a:buFont typeface="Arial" panose="020B0604020202020204" pitchFamily="34" charset="0"/>
              <a:buChar char="•"/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B74128E-BA5E-4242-8B4E-D1F742670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1"/>
            <a:ext cx="5068699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613D29C-0961-4A3D-8A56-1E1B5BC7445C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2179265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1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C82BCFB0-2C06-4262-9388-B4438F4E968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68779" y="609602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E96ABEA8-C693-429B-8E00-CBD848A92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1"/>
            <a:ext cx="5068699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1F330DC-3ED8-470C-84C4-C7D10A9020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1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66" indent="-171446">
              <a:buFont typeface="Arial" panose="020B0604020202020204" pitchFamily="34" charset="0"/>
              <a:buChar char="•"/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2650363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A712B4B-CA11-4116-8559-6D5A2D1AD8D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2"/>
            <a:ext cx="5384800" cy="3343785"/>
          </a:xfrm>
        </p:spPr>
        <p:txBody>
          <a:bodyPr>
            <a:noAutofit/>
          </a:bodyPr>
          <a:lstStyle>
            <a:lvl1pPr marL="228589" indent="-228589">
              <a:lnSpc>
                <a:spcPct val="140000"/>
              </a:lnSpc>
              <a:buFont typeface="Arial" panose="020B0604020202020204" pitchFamily="34" charset="0"/>
              <a:buChar char="•"/>
              <a:defRPr sz="1333"/>
            </a:lvl1pPr>
            <a:lvl2pPr>
              <a:lnSpc>
                <a:spcPct val="140000"/>
              </a:lnSpc>
              <a:defRPr sz="1067"/>
            </a:lvl2pPr>
            <a:lvl3pPr>
              <a:lnSpc>
                <a:spcPct val="140000"/>
              </a:lnSpc>
              <a:defRPr sz="800"/>
            </a:lvl3pPr>
            <a:lvl4pPr>
              <a:lnSpc>
                <a:spcPct val="140000"/>
              </a:lnSpc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5390428" cy="160107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Turn guides on to use this slide’s grid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3984B84-E026-4120-A200-04C1B3AFF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14B2EEA-5915-42C8-9003-8974AFE90EA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B859ACCB-8619-4E02-BC00-0846527E11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7991860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496">
          <p15:clr>
            <a:srgbClr val="FBAE40"/>
          </p15:clr>
        </p15:guide>
        <p15:guide id="3" pos="2376">
          <p15:clr>
            <a:srgbClr val="FBAE40"/>
          </p15:clr>
        </p15:guide>
        <p15:guide id="4" pos="1920">
          <p15:clr>
            <a:srgbClr val="FBAE40"/>
          </p15:clr>
        </p15:guide>
        <p15:guide id="5" pos="2040">
          <p15:clr>
            <a:srgbClr val="FBAE40"/>
          </p15:clr>
        </p15:guide>
        <p15:guide id="6" pos="1608">
          <p15:clr>
            <a:srgbClr val="FBAE40"/>
          </p15:clr>
        </p15:guide>
        <p15:guide id="7" pos="1464">
          <p15:clr>
            <a:srgbClr val="FBAE40"/>
          </p15:clr>
        </p15:guide>
        <p15:guide id="8" pos="1152">
          <p15:clr>
            <a:srgbClr val="FBAE40"/>
          </p15:clr>
        </p15:guide>
        <p15:guide id="9" pos="1032">
          <p15:clr>
            <a:srgbClr val="FBAE40"/>
          </p15:clr>
        </p15:guide>
        <p15:guide id="10" pos="720">
          <p15:clr>
            <a:srgbClr val="FBAE40"/>
          </p15:clr>
        </p15:guide>
        <p15:guide id="11" pos="600">
          <p15:clr>
            <a:srgbClr val="FBAE40"/>
          </p15:clr>
        </p15:guide>
        <p15:guide id="12" pos="3264">
          <p15:clr>
            <a:srgbClr val="FBAE40"/>
          </p15:clr>
        </p15:guide>
        <p15:guide id="13" pos="3384">
          <p15:clr>
            <a:srgbClr val="FBAE40"/>
          </p15:clr>
        </p15:guide>
        <p15:guide id="14" pos="3720">
          <p15:clr>
            <a:srgbClr val="FBAE40"/>
          </p15:clr>
        </p15:guide>
        <p15:guide id="15" pos="3840">
          <p15:clr>
            <a:srgbClr val="FBAE40"/>
          </p15:clr>
        </p15:guide>
        <p15:guide id="16" pos="4152">
          <p15:clr>
            <a:srgbClr val="FBAE40"/>
          </p15:clr>
        </p15:guide>
        <p15:guide id="17" pos="4296">
          <p15:clr>
            <a:srgbClr val="FBAE40"/>
          </p15:clr>
        </p15:guide>
        <p15:guide id="18" pos="4608">
          <p15:clr>
            <a:srgbClr val="FBAE40"/>
          </p15:clr>
        </p15:guide>
        <p15:guide id="19" pos="4728">
          <p15:clr>
            <a:srgbClr val="FBAE40"/>
          </p15:clr>
        </p15:guide>
        <p15:guide id="20" pos="5040">
          <p15:clr>
            <a:srgbClr val="FBAE40"/>
          </p15:clr>
        </p15:guide>
        <p15:guide id="21" pos="5184">
          <p15:clr>
            <a:srgbClr val="FBAE40"/>
          </p15:clr>
        </p15:guide>
      </p15:sldGuideLst>
    </p:ext>
  </p:extLst>
</p:sldLayout>
</file>

<file path=ppt/slideLayouts/slideLayout1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2BE86DFA-31C3-4F24-A7FF-57697A0FEFD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68779" y="609602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BA23DE7-CFFA-40A9-9A64-A60D8665455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553201" y="1910150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60001BE-2917-4768-B6B6-BEC070C85F3E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71232" y="1910150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F033B061-30E2-4203-B7D3-0E4FF6C4CC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1"/>
            <a:ext cx="5068699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4F90B59D-E2BD-42BC-B3BC-06F77504882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553199" y="2789967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891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50" marR="0" lvl="3" indent="-169858" algn="l" defTabSz="882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8269256-DD80-4564-A3AF-D017D4A7ED5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169908" y="2789967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891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50" marR="0" lvl="3" indent="-169858" algn="l" defTabSz="882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2662589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1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F60A532-8EEA-467C-8E7E-39CF1DB485A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6D3B650-5EC2-4F87-A7DF-85C7547613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1"/>
            <a:ext cx="5068699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4FB1BE2-EC71-4AA4-B103-A670DCD7AA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1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66" indent="-171446">
              <a:buFont typeface="Arial" panose="020B0604020202020204" pitchFamily="34" charset="0"/>
              <a:buChar char="•"/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0175368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1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F60A532-8EEA-467C-8E7E-39CF1DB485A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9A0B76E-2F1E-4BD6-AA72-3682A69C9C34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553201" y="1910150"/>
            <a:ext cx="2448577" cy="723900"/>
          </a:xfrm>
        </p:spPr>
        <p:txBody>
          <a:bodyPr wrap="square" anchor="b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5818B49-B6BC-412E-A21D-631A69222221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71232" y="1910150"/>
            <a:ext cx="2450592" cy="723900"/>
          </a:xfrm>
        </p:spPr>
        <p:txBody>
          <a:bodyPr wrap="square" anchor="b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442FDF7C-40C4-4C20-819D-D8B06F0E8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1"/>
            <a:ext cx="5068699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7B14163-B0FE-4287-968A-93DE8034681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553199" y="2789967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891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50" marR="0" lvl="3" indent="-169858" algn="l" defTabSz="882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4927BC81-4C08-47F4-BA08-8F857CA477A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169908" y="2789967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891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50" marR="0" lvl="3" indent="-169858" algn="l" defTabSz="882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5287551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1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A305123-92F2-4B89-A355-7539327F08C3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1500" y="2787408"/>
            <a:ext cx="3465576" cy="3420333"/>
          </a:xfrm>
        </p:spPr>
        <p:txBody>
          <a:bodyPr/>
          <a:lstStyle>
            <a:lvl3pPr>
              <a:defRPr/>
            </a:lvl3pPr>
            <a:lvl4pPr marL="514338" indent="-171446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1907560"/>
            <a:ext cx="3465576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2" name="Content Placeholder 4">
            <a:extLst>
              <a:ext uri="{FF2B5EF4-FFF2-40B4-BE49-F238E27FC236}">
                <a16:creationId xmlns:a16="http://schemas.microsoft.com/office/drawing/2014/main" id="{F96C995E-58E0-4A91-AA56-8759CFD3EA73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500" y="2787408"/>
            <a:ext cx="3467099" cy="3420333"/>
          </a:xfrm>
        </p:spPr>
        <p:txBody>
          <a:bodyPr/>
          <a:lstStyle>
            <a:lvl3pPr>
              <a:defRPr/>
            </a:lvl3pPr>
            <a:lvl4pPr marL="342891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071BF92C-4C07-4794-8CC8-D51F3173376C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1" y="1907560"/>
            <a:ext cx="3467099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4" name="Content Placeholder 4">
            <a:extLst>
              <a:ext uri="{FF2B5EF4-FFF2-40B4-BE49-F238E27FC236}">
                <a16:creationId xmlns:a16="http://schemas.microsoft.com/office/drawing/2014/main" id="{47F7CD6B-9884-4317-A0E7-31AE02F93993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1" y="2787408"/>
            <a:ext cx="3467100" cy="3420333"/>
          </a:xfrm>
        </p:spPr>
        <p:txBody>
          <a:bodyPr/>
          <a:lstStyle>
            <a:lvl3pPr marL="346066" indent="-171446">
              <a:buFont typeface="Arial" panose="020B0604020202020204" pitchFamily="34" charset="0"/>
              <a:buChar char="•"/>
              <a:defRPr/>
            </a:lvl3pPr>
            <a:lvl4pPr marL="512750" indent="-169858"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EECB8C3-35E8-4930-A0AE-3BA62609BFD9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8153401" y="1905001"/>
            <a:ext cx="3467100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1D46A44-801A-40B4-8117-1D09F7B03348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9A2394E-0E95-4850-A756-0015178A4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449399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9CE094B7-A2CC-4860-A57D-F142C2E63FC6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4041160"/>
            <a:ext cx="3465576" cy="2169141"/>
          </a:xfrm>
        </p:spPr>
        <p:txBody>
          <a:bodyPr/>
          <a:lstStyle>
            <a:lvl3pPr marL="346066" indent="-171446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E2DCECB4-BB48-48B5-A871-A080DE20BDFF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500" y="4041160"/>
            <a:ext cx="3467099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Content Placeholder 4">
            <a:extLst>
              <a:ext uri="{FF2B5EF4-FFF2-40B4-BE49-F238E27FC236}">
                <a16:creationId xmlns:a16="http://schemas.microsoft.com/office/drawing/2014/main" id="{868F585C-1E6D-44C6-9295-9866846056CD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1" y="4038600"/>
            <a:ext cx="3467100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A1EBBB-1490-4A58-9FEB-3DAB9E66019A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577124" y="3429000"/>
            <a:ext cx="3465576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6C65CC39-4D00-45CB-AE15-8C3D3E976756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1" y="3429000"/>
            <a:ext cx="3467099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9291D51-BC1A-4ED4-8278-30B67F7C4AA7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8153401" y="3426441"/>
            <a:ext cx="3467100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42E7DBE-A450-4BC3-A3EC-3A1EE7839F65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4 Cisco and/or its affiliates. All rights reserved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94344F4-D05A-E24F-A679-CB39B058D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772028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8D3B3576-E092-44AC-9525-9DA3161E6EEC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C21223BB-13C2-46FE-9733-BCC3C77A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2102BF9D-05AF-4C40-AEC2-376EE9F4E666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577124" y="4041160"/>
            <a:ext cx="2514600" cy="2169141"/>
          </a:xfrm>
        </p:spPr>
        <p:txBody>
          <a:bodyPr/>
          <a:lstStyle>
            <a:lvl3pPr>
              <a:defRPr/>
            </a:lvl3pPr>
            <a:lvl4pPr marL="342891" indent="0">
              <a:buNone/>
              <a:defRPr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50" marR="0" lvl="3" indent="-169858" algn="l" defTabSz="882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F548FAB6-7AFF-4D5A-A1E9-06C746623E4C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429001" y="4041160"/>
            <a:ext cx="2510731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50" marR="0" lvl="3" indent="-169858" algn="l" defTabSz="882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FB91503-30B7-4FD7-846E-47F4CF9F474A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6244533" y="4041160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50" marR="0" lvl="3" indent="-169858" algn="l" defTabSz="882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E14F77AB-427A-46FA-9A58-62890F9733C1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9088317" y="4041160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50" marR="0" lvl="3" indent="-169858" algn="l" defTabSz="882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72B32549-6990-4E43-A843-9EEA9CC29CF0}"/>
              </a:ext>
            </a:extLst>
          </p:cNvPr>
          <p:cNvSpPr>
            <a:spLocks noGrp="1"/>
          </p:cNvSpPr>
          <p:nvPr>
            <p:ph type="body" sz="half" idx="77" hasCustomPrompt="1"/>
          </p:nvPr>
        </p:nvSpPr>
        <p:spPr>
          <a:xfrm>
            <a:off x="577124" y="3429000"/>
            <a:ext cx="25146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A54DA02-E155-45D5-B886-1EDF7135C93F}"/>
              </a:ext>
            </a:extLst>
          </p:cNvPr>
          <p:cNvSpPr>
            <a:spLocks noGrp="1"/>
          </p:cNvSpPr>
          <p:nvPr>
            <p:ph type="body" sz="half" idx="78" hasCustomPrompt="1"/>
          </p:nvPr>
        </p:nvSpPr>
        <p:spPr>
          <a:xfrm>
            <a:off x="3429002" y="3429000"/>
            <a:ext cx="2514599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EC4E001-5A82-4221-8FE3-9B25D98B0EA9}"/>
              </a:ext>
            </a:extLst>
          </p:cNvPr>
          <p:cNvSpPr>
            <a:spLocks noGrp="1"/>
          </p:cNvSpPr>
          <p:nvPr>
            <p:ph type="body" sz="half" idx="79" hasCustomPrompt="1"/>
          </p:nvPr>
        </p:nvSpPr>
        <p:spPr>
          <a:xfrm>
            <a:off x="6244533" y="3426442"/>
            <a:ext cx="2511833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E779C7D-755B-428C-BB0F-6496238D6D83}"/>
              </a:ext>
            </a:extLst>
          </p:cNvPr>
          <p:cNvSpPr>
            <a:spLocks noGrp="1"/>
          </p:cNvSpPr>
          <p:nvPr>
            <p:ph type="body" sz="half" idx="80" hasCustomPrompt="1"/>
          </p:nvPr>
        </p:nvSpPr>
        <p:spPr>
          <a:xfrm>
            <a:off x="9088317" y="3426442"/>
            <a:ext cx="2511833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</p:spTree>
    <p:extLst>
      <p:ext uri="{BB962C8B-B14F-4D97-AF65-F5344CB8AC3E}">
        <p14:creationId xmlns:p14="http://schemas.microsoft.com/office/powerpoint/2010/main" val="39762614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29002" y="0"/>
            <a:ext cx="8762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5309CA-3E25-47B8-99B6-670FE796BB9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1" y="2971801"/>
            <a:ext cx="2552700" cy="3238500"/>
          </a:xfrm>
        </p:spPr>
        <p:txBody>
          <a:bodyPr/>
          <a:lstStyle>
            <a:lvl3pPr marL="346066" indent="-171446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8B3BBBD-95D5-473C-B5AA-4C86DA04A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0"/>
            <a:ext cx="2552700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816001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872">
          <p15:clr>
            <a:srgbClr val="A4A3A4"/>
          </p15:clr>
        </p15:guide>
        <p15:guide id="3" orient="horz" pos="1680">
          <p15:clr>
            <a:srgbClr val="A4A3A4"/>
          </p15:clr>
        </p15:guide>
      </p15:sldGuideLst>
    </p:ext>
  </p:extLst>
</p:sldLayout>
</file>

<file path=ppt/slideLayouts/slideLayout1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76700" y="609600"/>
            <a:ext cx="75438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4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336A642-95C4-40BE-AE95-D81502EF3AED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E0708104-F9EC-4157-95F0-FA326192EA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609600"/>
            <a:ext cx="2857500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</a:t>
            </a:r>
            <a:br>
              <a:rPr lang="en-US"/>
            </a:br>
            <a:r>
              <a:rPr lang="en-US"/>
              <a:t>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B1B1C66-A921-41B1-B007-79881FEFA60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1" y="2971801"/>
            <a:ext cx="2857500" cy="3238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5012060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29002" y="0"/>
            <a:ext cx="8762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500" y="5138199"/>
            <a:ext cx="2552701" cy="246221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71499" y="5486402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9" y="3631821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9" y="3283619"/>
            <a:ext cx="2552701" cy="246221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F1A913C-478C-4159-AD61-19314F8B1D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0"/>
            <a:ext cx="2552699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810778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2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94026FE-B789-4F5D-805E-02B0631E7EC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5138199"/>
            <a:ext cx="2552701" cy="246221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0788797-0721-4FDF-B9A8-D8FD6A85E245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71499" y="5486402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0231F72B-DB93-439F-8D5C-3A98DBB9C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372099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042C4D8C-C05E-40DC-A5F1-D8E216530543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9" y="3631821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79DD178-20FD-4061-A4CF-ADAD80B00223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9" y="3283619"/>
            <a:ext cx="2552701" cy="246221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55C8534-6B0E-41CD-9706-61F591BFF126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390900" y="5138199"/>
            <a:ext cx="2552701" cy="246221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0DECDBD2-EF07-4EFE-81B0-67DD271A8E4A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390901" y="5486402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A005CF03-ABB1-4046-89FC-A41C9CAD1DE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3390900" y="3631821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49AEAAD6-2FA1-420B-BCE8-48233BD945BF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3390900" y="3283619"/>
            <a:ext cx="2552701" cy="246221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688048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852EFE5-F3AD-466D-A810-5721563A61F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2969"/>
          <a:stretch/>
        </p:blipFill>
        <p:spPr>
          <a:xfrm>
            <a:off x="0" y="1"/>
            <a:ext cx="12192000" cy="687142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7" y="1435770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C5A7B1-F776-4AEB-A138-D3C83604F0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871DBA-F007-46A1-A631-B39FF80484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41D7A26-8D16-41D3-9962-58AF73F09FA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DCAF470-2A1A-492F-A797-E4EF9D10BED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41568191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825D1DB-33F5-3C4E-9082-E33280F743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1000" y="2794000"/>
            <a:ext cx="1270000" cy="1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15656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81501" y="609600"/>
            <a:ext cx="34671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</a:t>
            </a:r>
            <a:br>
              <a:rPr lang="en-US"/>
            </a:br>
            <a:r>
              <a:rPr lang="en-US"/>
              <a:t>photo here or click or tap </a:t>
            </a:r>
            <a:br>
              <a:rPr lang="en-US"/>
            </a:br>
            <a:r>
              <a:rPr lang="en-US"/>
              <a:t>icon 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80B26961-BE72-42FE-83E3-E9413C61E43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153401" y="609600"/>
            <a:ext cx="34671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</a:t>
            </a:r>
            <a:br>
              <a:rPr lang="en-US"/>
            </a:br>
            <a:r>
              <a:rPr lang="en-US"/>
              <a:t>photo here or click or tap </a:t>
            </a:r>
            <a:br>
              <a:rPr lang="en-US"/>
            </a:br>
            <a:r>
              <a:rPr lang="en-US"/>
              <a:t>icon 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7117EB1-347D-42E5-8273-C02EF79929C2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500" y="3276601"/>
            <a:ext cx="3505201" cy="29337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E1DC698-4F08-40A9-8E7D-20E5FF561A26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500" y="2057400"/>
            <a:ext cx="3505201" cy="1066800"/>
          </a:xfrm>
        </p:spPr>
        <p:txBody>
          <a:bodyPr wrap="square" anchor="b" anchorCtr="0">
            <a:noAutofit/>
          </a:bodyPr>
          <a:lstStyle>
            <a:lvl1pPr>
              <a:defRPr lang="en-US" sz="2000" dirty="0" smtClean="0"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E0567A-A5F3-4C61-8B3C-08121E05DDC7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D3E41E21-7547-4B83-8F53-91A26F07F5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609600"/>
            <a:ext cx="3505201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5987681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6EE0FED-0F8F-1D4B-BDC6-134B0FE8D3AF}"/>
              </a:ext>
            </a:extLst>
          </p:cNvPr>
          <p:cNvSpPr/>
          <p:nvPr/>
        </p:nvSpPr>
        <p:spPr>
          <a:xfrm>
            <a:off x="3429001" y="0"/>
            <a:ext cx="8763001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00FA166-5D3F-4D89-9646-F16A985660E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1" y="2514601"/>
            <a:ext cx="25527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E9CD8F1-BCCB-4886-9A5C-6DBC2AED36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609600"/>
            <a:ext cx="25527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29621915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488">
          <p15:clr>
            <a:srgbClr val="A4A3A4"/>
          </p15:clr>
        </p15:guide>
        <p15:guide id="3" orient="horz" pos="1584">
          <p15:clr>
            <a:srgbClr val="A4A3A4"/>
          </p15:clr>
        </p15:guide>
      </p15:sldGuideLst>
    </p:ext>
  </p:extLst>
</p:sldLayout>
</file>

<file path=ppt/slideLayouts/slideLayout1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97389CA-AA00-4146-B54D-B32C999B76FE}"/>
              </a:ext>
            </a:extLst>
          </p:cNvPr>
          <p:cNvSpPr/>
          <p:nvPr/>
        </p:nvSpPr>
        <p:spPr>
          <a:xfrm>
            <a:off x="4991101" y="0"/>
            <a:ext cx="72009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3852A25-25D6-4B6B-902F-93AEC433B73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1"/>
            <a:ext cx="38100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CC6C67FE-13C1-4F4C-8B7C-A596738753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609600"/>
            <a:ext cx="38100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27310461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5F55B17-88C3-D348-889E-49139B7173C6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C55F65A-E884-4545-813B-8B12A150F0E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1"/>
            <a:ext cx="47244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C7E4F0C-628A-4B9F-8B0B-ACF8C8FB35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47244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8902352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wo Data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7848601" y="1905381"/>
            <a:ext cx="3771900" cy="1242697"/>
          </a:xfrm>
        </p:spPr>
        <p:txBody>
          <a:bodyPr/>
          <a:lstStyle>
            <a:lvl1pPr>
              <a:spcAft>
                <a:spcPts val="300"/>
              </a:spcAft>
              <a:defRPr sz="2400">
                <a:latin typeface="+mj-lt"/>
              </a:defRPr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7848601" y="1172402"/>
            <a:ext cx="3771900" cy="553999"/>
          </a:xfrm>
        </p:spPr>
        <p:txBody>
          <a:bodyPr wrap="square" anchor="t" anchorCtr="0">
            <a:spAutoFit/>
          </a:bodyPr>
          <a:lstStyle>
            <a:lvl1pPr>
              <a:defRPr sz="3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XX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E4E13D-43FB-4287-8055-FE35994AA77F}"/>
              </a:ext>
            </a:extLst>
          </p:cNvPr>
          <p:cNvCxnSpPr>
            <a:cxnSpLocks/>
          </p:cNvCxnSpPr>
          <p:nvPr/>
        </p:nvCxnSpPr>
        <p:spPr>
          <a:xfrm>
            <a:off x="7847934" y="1066800"/>
            <a:ext cx="3780167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F04E06-6C46-46FE-9956-F0E8ED6633DF}"/>
              </a:ext>
            </a:extLst>
          </p:cNvPr>
          <p:cNvCxnSpPr>
            <a:cxnSpLocks/>
          </p:cNvCxnSpPr>
          <p:nvPr/>
        </p:nvCxnSpPr>
        <p:spPr>
          <a:xfrm>
            <a:off x="7847934" y="3429000"/>
            <a:ext cx="3780167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C652CDCF-A770-46B4-8121-F76B79BBD16B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BC8C455-2242-44E3-A715-51CE102AB98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1" y="2514601"/>
            <a:ext cx="53721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C222245D-C3A3-4396-926D-88ECBE5C8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53721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0676A19-4AB7-4E11-A8A8-87E09D920368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848601" y="4276404"/>
            <a:ext cx="3771900" cy="1242697"/>
          </a:xfrm>
        </p:spPr>
        <p:txBody>
          <a:bodyPr/>
          <a:lstStyle>
            <a:lvl1pPr>
              <a:spcAft>
                <a:spcPts val="300"/>
              </a:spcAft>
              <a:defRPr sz="2400">
                <a:latin typeface="+mj-lt"/>
              </a:defRPr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05020DF-F1F5-4BD5-B207-F94988F4F455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848601" y="3543424"/>
            <a:ext cx="37719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</p:spTree>
    <p:extLst>
      <p:ext uri="{BB962C8B-B14F-4D97-AF65-F5344CB8AC3E}">
        <p14:creationId xmlns:p14="http://schemas.microsoft.com/office/powerpoint/2010/main" val="14128087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Four Data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067269" y="3539749"/>
            <a:ext cx="2551216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9067185" y="4298129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9067801" y="1778381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067801" y="1020001"/>
            <a:ext cx="25527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E4E13D-43FB-4287-8055-FE35994AA77F}"/>
              </a:ext>
            </a:extLst>
          </p:cNvPr>
          <p:cNvCxnSpPr>
            <a:cxnSpLocks/>
          </p:cNvCxnSpPr>
          <p:nvPr/>
        </p:nvCxnSpPr>
        <p:spPr>
          <a:xfrm>
            <a:off x="9069806" y="9144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F04E06-6C46-46FE-9956-F0E8ED6633DF}"/>
              </a:ext>
            </a:extLst>
          </p:cNvPr>
          <p:cNvCxnSpPr>
            <a:cxnSpLocks/>
          </p:cNvCxnSpPr>
          <p:nvPr/>
        </p:nvCxnSpPr>
        <p:spPr>
          <a:xfrm>
            <a:off x="9069806" y="342899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13425D7-1452-4F87-AE64-7C2F048C2469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248485" y="3539749"/>
            <a:ext cx="2551216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806E283-8E77-44C1-84BC-00B971D42EBD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248401" y="4298129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BDD5CD07-CCF1-451E-8B13-2BE3821C220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249017" y="1778386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sz="1600">
                <a:latin typeface="+mj-lt"/>
              </a:defRPr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DD3D7F-C0BF-415A-9378-D8759CED06B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9017" y="1020001"/>
            <a:ext cx="25527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B67A14D-E25C-4D75-8D2E-0D450CE9656D}"/>
              </a:ext>
            </a:extLst>
          </p:cNvPr>
          <p:cNvCxnSpPr>
            <a:cxnSpLocks/>
          </p:cNvCxnSpPr>
          <p:nvPr/>
        </p:nvCxnSpPr>
        <p:spPr>
          <a:xfrm>
            <a:off x="6251020" y="91440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9FFCD6B-6781-45B9-A0FF-441B99A220B5}"/>
              </a:ext>
            </a:extLst>
          </p:cNvPr>
          <p:cNvCxnSpPr>
            <a:cxnSpLocks/>
          </p:cNvCxnSpPr>
          <p:nvPr/>
        </p:nvCxnSpPr>
        <p:spPr>
          <a:xfrm>
            <a:off x="6251020" y="34290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58239EE2-4739-4DF9-A78C-6994DD9D6E29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8EBC35A6-C3F6-4CAA-B6FE-77A0C0F6904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1" y="2514601"/>
            <a:ext cx="53721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367F26D2-980E-498C-9B01-AEF3F1821C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53721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39236382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C865750-8F0C-6B4A-A308-228D6B53EE0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1"/>
            <a:ext cx="7239000" cy="21544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254B061-C071-4247-8356-D55F1F50C5D6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2"/>
            <a:ext cx="7239000" cy="18466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8E7470-A9D2-4756-B67E-9B25728B0E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594" indent="-457189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68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E2BE28-CF01-49D3-AF0B-092C5B9F5DD1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28662256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2B69982-B253-4DE6-9C5E-FB93C3A27F4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22573" y="4880810"/>
            <a:ext cx="6145427" cy="24128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lang="en-US" sz="1400" b="0" i="0" kern="0" spc="0" baseline="0" dirty="0">
                <a:solidFill>
                  <a:schemeClr val="tx1"/>
                </a:solidFill>
                <a:latin typeface="CiscoSansTT Medium" panose="020B0903020201020303" pitchFamily="34" charset="0"/>
                <a:ea typeface="+mn-ea"/>
                <a:cs typeface="CiscoSansTT Medium" panose="020B09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Insert name her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46ED238B-31FF-436C-9838-14BADBEE1071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3429001" y="4648201"/>
            <a:ext cx="952500" cy="952500"/>
          </a:xfrm>
          <a:prstGeom prst="ellipse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67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13AA95C-29B9-4045-B598-AA928D1B9666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4522573" y="5225970"/>
            <a:ext cx="6145427" cy="206851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lang="en-US" sz="12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Job title, company, loc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C98AB57-B534-43CE-8598-7264AC2F5F2D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FB38577-29E6-6546-851F-B5859A13FFB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594" indent="-457189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68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</p:spTree>
    <p:extLst>
      <p:ext uri="{BB962C8B-B14F-4D97-AF65-F5344CB8AC3E}">
        <p14:creationId xmlns:p14="http://schemas.microsoft.com/office/powerpoint/2010/main" val="8485141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peaker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 useBgFill="1">
        <p:nvSpPr>
          <p:cNvPr id="3" name="Rectangle 2">
            <a:extLst>
              <a:ext uri="{FF2B5EF4-FFF2-40B4-BE49-F238E27FC236}">
                <a16:creationId xmlns:a16="http://schemas.microsoft.com/office/drawing/2014/main" id="{A1A62FA3-C2C9-8C9E-1CB1-7B3D1B233A91}"/>
              </a:ext>
            </a:extLst>
          </p:cNvPr>
          <p:cNvSpPr/>
          <p:nvPr/>
        </p:nvSpPr>
        <p:spPr>
          <a:xfrm>
            <a:off x="164123" y="6296614"/>
            <a:ext cx="11583592" cy="42014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C1D34D62-3B35-3D86-DFFB-D58652629EC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8" b="10"/>
          <a:stretch/>
        </p:blipFill>
        <p:spPr>
          <a:xfrm>
            <a:off x="0" y="0"/>
            <a:ext cx="12190973" cy="6857429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156028F6-E178-E774-1CA0-377675DAA022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055359AF-30BC-7086-7095-198877D6CEE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6809" y="6364638"/>
            <a:ext cx="503671" cy="22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069536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50932" y="6416194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92773B-7150-44D2-AFDB-DE60A8A0F625}"/>
              </a:ext>
            </a:extLst>
          </p:cNvPr>
          <p:cNvSpPr/>
          <p:nvPr/>
        </p:nvSpPr>
        <p:spPr>
          <a:xfrm>
            <a:off x="304800" y="6414274"/>
            <a:ext cx="2819400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pic>
        <p:nvPicPr>
          <p:cNvPr id="2" name="Picture 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6FC2FB3C-1433-742D-AD0E-6897B992E1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29000" y="2794959"/>
            <a:ext cx="5673901" cy="7927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92911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Onl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CCC515E2-3D3F-4244-8E12-C4983AEE8D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bg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CD7246-18F0-9449-830E-610CFE4B43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5" y="6390603"/>
            <a:ext cx="382947" cy="93184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901BFEB-4EC1-5546-8CB9-5458EA8BFB7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030C35B-EFD4-F346-AB2B-A3DEF9B9CD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6"/>
            <a:ext cx="7467600" cy="2466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0000"/>
              </a:lnSpc>
              <a:defRPr lang="en-US" sz="40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Big message slide. </a:t>
            </a:r>
          </a:p>
        </p:txBody>
      </p:sp>
    </p:spTree>
    <p:extLst>
      <p:ext uri="{BB962C8B-B14F-4D97-AF65-F5344CB8AC3E}">
        <p14:creationId xmlns:p14="http://schemas.microsoft.com/office/powerpoint/2010/main" val="37223763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6" y="6317392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79071DA-63B2-46A2-892F-B272FF3B2408}"/>
              </a:ext>
            </a:extLst>
          </p:cNvPr>
          <p:cNvSpPr/>
          <p:nvPr/>
        </p:nvSpPr>
        <p:spPr>
          <a:xfrm>
            <a:off x="525451" y="6410479"/>
            <a:ext cx="992799" cy="17917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pic>
        <p:nvPicPr>
          <p:cNvPr id="3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924E033-E290-A436-818A-2F30E732F28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51621" y="6210301"/>
            <a:ext cx="2168880" cy="3030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5402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86559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hdr="0" dt="0"/>
</p:sldLayout>
</file>

<file path=ppt/slideLayouts/slideLayout1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1199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769" indent="-156591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128" indent="-15235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399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485" indent="-152359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89844" indent="-152359"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202" indent="-152359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41155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769" indent="-156591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7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128" indent="-15235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399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485" indent="-152359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89844" indent="-152359"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202" indent="-152359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455086"/>
            <a:ext cx="11127319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A0671BF-ADA2-8E47-387E-08AD816BAF9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530619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B4490E3A-EE7B-48AF-BD6B-46266697BF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E43F6E-A8D0-4155-BD27-8561034BB2B8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bg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A804FAF7-4F72-EA4E-AEBC-7A635FDEC817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48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594" indent="0">
              <a:buNone/>
              <a:defRPr/>
            </a:lvl3pPr>
            <a:lvl4pPr marL="406390" indent="0">
              <a:buNone/>
              <a:defRPr/>
            </a:lvl4pPr>
            <a:lvl5pPr marL="5714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D763AE61-2A36-D048-9DE9-486F9C10B3F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949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0710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99088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3984B84-E026-4120-A200-04C1B3AFF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8FC28B90-9E4B-4646-9D16-5D346AFEF2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3ADC711-D282-4C9D-AD92-4B5C00C5CDD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437BA9A-FC16-0603-7117-3F3A14D1B623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8731808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hdr="0" dt="0"/>
</p:sldLayout>
</file>

<file path=ppt/slideLayouts/slideLayout131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preserve="1">
  <p:cSld name="2_Title Only">
    <p:spTree>
      <p:nvGrpSpPr>
        <p:cNvPr id="1" name="Shape 1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6" name="Google Shape;146;p25"/>
          <p:cNvSpPr txBox="1">
            <a:spLocks noGrp="1"/>
          </p:cNvSpPr>
          <p:nvPr>
            <p:ph type="title"/>
          </p:nvPr>
        </p:nvSpPr>
        <p:spPr>
          <a:xfrm>
            <a:off x="583688" y="455087"/>
            <a:ext cx="11127317" cy="97578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00" tIns="45700" rIns="91400" bIns="45700" anchor="ctr" anchorCtr="0">
            <a:noAutofit/>
          </a:bodyPr>
          <a:lstStyle>
            <a:lvl1pPr lvl="0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1pPr>
            <a:lvl2pPr lvl="1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 algn="l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</p:spTree>
    <p:extLst>
      <p:ext uri="{BB962C8B-B14F-4D97-AF65-F5344CB8AC3E}">
        <p14:creationId xmlns:p14="http://schemas.microsoft.com/office/powerpoint/2010/main" val="8460407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-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10703F-CBA9-4296-B386-BA35019F8F44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79EE8F-1900-4C5E-A4C1-BB6BE90235E1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23576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786035" y="431802"/>
            <a:ext cx="5405967" cy="520135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786035" y="5893686"/>
            <a:ext cx="4745567" cy="2277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CF905-953D-514D-A5C8-5787B32C1E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6048" y="2209802"/>
            <a:ext cx="5451437" cy="1955628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4267" b="0" i="0" spc="0" baseline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r>
              <a:rPr lang="en-GB"/>
              <a:t>Slide copy should</a:t>
            </a:r>
            <a:br>
              <a:rPr lang="en-GB"/>
            </a:br>
            <a:r>
              <a:rPr lang="en-GB"/>
              <a:t>go here</a:t>
            </a:r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590B87F-2616-792A-8A7A-058FE3E9E64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2127" y="431800"/>
            <a:ext cx="3489235" cy="304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1300" b="0" i="0" baseline="0">
                <a:solidFill>
                  <a:schemeClr val="tx1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406371" indent="0">
              <a:buNone/>
              <a:defRPr/>
            </a:lvl2pPr>
            <a:lvl3pPr marL="569863" indent="0">
              <a:buNone/>
              <a:defRPr/>
            </a:lvl3pPr>
            <a:lvl4pPr marL="688920" indent="0">
              <a:buNone/>
              <a:defRPr/>
            </a:lvl4pPr>
            <a:lvl5pPr marL="801621" indent="0">
              <a:buNone/>
              <a:defRPr/>
            </a:lvl5pPr>
          </a:lstStyle>
          <a:p>
            <a:pPr lvl="0"/>
            <a:r>
              <a:rPr lang="en-GB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38695861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7" pos="4275">
          <p15:clr>
            <a:srgbClr val="FBAE40"/>
          </p15:clr>
        </p15:guide>
      </p15:sldGuideLst>
    </p:ext>
  </p:extLst>
</p:sldLayout>
</file>

<file path=ppt/slideLayouts/slideLayout1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467AAB6B-16FE-95C2-6E58-2E5FC7150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384079"/>
            <a:ext cx="10972800" cy="68580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688420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Footer Placeholder 7">
            <a:extLst>
              <a:ext uri="{FF2B5EF4-FFF2-40B4-BE49-F238E27FC236}">
                <a16:creationId xmlns:a16="http://schemas.microsoft.com/office/drawing/2014/main" id="{4EF6B68D-0B38-B149-9386-D916514FB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5" y="6376759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pPr algn="l"/>
            <a:fld id="{07AB022D-6AB5-0742-A695-7213B7438632}" type="slidenum">
              <a:rPr lang="en-US" smtClean="0"/>
              <a:pPr algn="l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73EE3F-4F93-4D4B-9DE7-44ABAA578D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9" y="6448095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97741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E1C715D-9112-4A01-AD63-361439BFB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E43F6E-A8D0-4155-BD27-8561034BB2B8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41013295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8EE2313-2646-4E0B-B6B4-BA07574D2F8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30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594" indent="0">
              <a:buNone/>
              <a:defRPr/>
            </a:lvl3pPr>
            <a:lvl4pPr marL="406390" indent="0">
              <a:buNone/>
              <a:defRPr/>
            </a:lvl4pPr>
            <a:lvl5pPr marL="5714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572B255-D144-453C-90FA-BB07F680CF0A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 – Internal only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D9DF569-2B30-EE4C-8D21-F21B97793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582102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8C469D-456E-4ECF-83FA-AF1F3BDB26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501" y="1905000"/>
            <a:ext cx="5372100" cy="4305301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8E86-A92A-495E-A49E-35F25D765A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1905001"/>
            <a:ext cx="5372100" cy="4305303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512750" indent="-169858"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  <a:lvl5pPr marL="746107" indent="-174621">
              <a:defRPr lang="en-US" sz="600" b="0" i="0" kern="1200" spc="0" baseline="0" dirty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274A685-F33F-448C-B6FE-AB508BA75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DAB2D8-1539-4822-9614-2E04B2120F55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33091963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8C1C862-6F14-47C3-885D-12D6E1A99AA2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40402969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ef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D6DF483-DD51-444D-AF16-AF31E72FDD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1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514338" indent="-171446">
              <a:buFont typeface="Arial" panose="020B0604020202020204" pitchFamily="34" charset="0"/>
              <a:buChar char="•"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0BAC715-F543-452A-80B1-3A07B10B2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1"/>
            <a:ext cx="50673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F48862-22C1-482F-B821-3D8CC682DAB1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 – Internal Only</a:t>
            </a:r>
          </a:p>
        </p:txBody>
      </p:sp>
    </p:spTree>
    <p:extLst>
      <p:ext uri="{BB962C8B-B14F-4D97-AF65-F5344CB8AC3E}">
        <p14:creationId xmlns:p14="http://schemas.microsoft.com/office/powerpoint/2010/main" val="21258114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1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9CE094B7-A2CC-4860-A57D-F142C2E63FC6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4041160"/>
            <a:ext cx="3465576" cy="2169141"/>
          </a:xfrm>
        </p:spPr>
        <p:txBody>
          <a:bodyPr/>
          <a:lstStyle>
            <a:lvl3pPr marL="346066" indent="-171446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E2DCECB4-BB48-48B5-A871-A080DE20BDFF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500" y="4041160"/>
            <a:ext cx="3467099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Content Placeholder 4">
            <a:extLst>
              <a:ext uri="{FF2B5EF4-FFF2-40B4-BE49-F238E27FC236}">
                <a16:creationId xmlns:a16="http://schemas.microsoft.com/office/drawing/2014/main" id="{868F585C-1E6D-44C6-9295-9866846056CD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1" y="4038600"/>
            <a:ext cx="3467100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A1EBBB-1490-4A58-9FEB-3DAB9E66019A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577124" y="3429000"/>
            <a:ext cx="3465576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6C65CC39-4D00-45CB-AE15-8C3D3E976756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1" y="3429000"/>
            <a:ext cx="3467099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9291D51-BC1A-4ED4-8278-30B67F7C4AA7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8153401" y="3426441"/>
            <a:ext cx="3467100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42E7DBE-A450-4BC3-A3EC-3A1EE7839F65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94344F4-D05A-E24F-A679-CB39B058D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00846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1199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769" indent="-156591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128" indent="-15235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399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485" indent="-152359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89844" indent="-152359"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202" indent="-152359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41155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769" indent="-156591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7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128" indent="-15235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399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485" indent="-152359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89844" indent="-152359"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202" indent="-152359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455086"/>
            <a:ext cx="11127319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A0671BF-ADA2-8E47-387E-08AD816BAF9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129029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73199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2" indent="-22859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85" indent="-220128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77" indent="-14604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55786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Walk-In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07C2131F-1EC6-3E7D-BE7F-B396B0A3DC6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00053" y="6133088"/>
            <a:ext cx="1366496" cy="41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0146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9693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5" indent="0">
              <a:lnSpc>
                <a:spcPct val="100000"/>
              </a:lnSpc>
              <a:spcBef>
                <a:spcPts val="148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2133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89438" indent="0">
              <a:lnSpc>
                <a:spcPct val="100000"/>
              </a:lnSpc>
              <a:spcBef>
                <a:spcPts val="60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377EFF"/>
                </a:solidFill>
                <a:latin typeface="CiscoSansTT" panose="020B0503020201020303" pitchFamily="34" charset="0"/>
                <a:ea typeface="CiscoSansTT" panose="020B0503020201020303" pitchFamily="34" charset="0"/>
                <a:cs typeface="CiscoSansTT Thin" charset="0"/>
              </a:defRPr>
            </a:lvl2pPr>
            <a:lvl3pPr marL="914332" indent="-146039">
              <a:lnSpc>
                <a:spcPct val="100000"/>
              </a:lnSpc>
              <a:spcAft>
                <a:spcPts val="267"/>
              </a:spcAft>
              <a:buClr>
                <a:schemeClr val="bg2"/>
              </a:buClr>
              <a:buSzPct val="80000"/>
              <a:buFont typeface="Arial"/>
              <a:buChar char="•"/>
              <a:defRPr sz="1600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22" indent="-228537">
              <a:lnSpc>
                <a:spcPct val="100000"/>
              </a:lnSpc>
              <a:spcAft>
                <a:spcPts val="267"/>
              </a:spcAft>
              <a:buClr>
                <a:schemeClr val="bg2"/>
              </a:buClr>
              <a:buSzPct val="80000"/>
              <a:buFont typeface="Arial"/>
              <a:buChar char="•"/>
              <a:defRPr sz="1467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159" indent="-224304">
              <a:lnSpc>
                <a:spcPct val="100000"/>
              </a:lnSpc>
              <a:spcAft>
                <a:spcPts val="267"/>
              </a:spcAft>
              <a:buClr>
                <a:schemeClr val="bg2"/>
              </a:buClr>
              <a:buSzPct val="80000"/>
              <a:buFont typeface="Arial"/>
              <a:buChar char="•"/>
              <a:defRPr sz="1400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Footer Placeholder 7">
            <a:extLst>
              <a:ext uri="{FF2B5EF4-FFF2-40B4-BE49-F238E27FC236}">
                <a16:creationId xmlns:a16="http://schemas.microsoft.com/office/drawing/2014/main" id="{4EF6B68D-0B38-B149-9386-D916514FB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5" y="6376759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pPr algn="l"/>
            <a:fld id="{07AB022D-6AB5-0742-A695-7213B7438632}" type="slidenum">
              <a:rPr lang="en-US" smtClean="0"/>
              <a:pPr algn="l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BC50E78-6603-8946-B0C7-9E6DEF02FC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9" y="6448095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29534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ayou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1" y="4869790"/>
            <a:ext cx="7277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1501" y="5248892"/>
            <a:ext cx="7277100" cy="1846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790702"/>
            <a:ext cx="7277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1" y="3431818"/>
            <a:ext cx="7277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691EDE2A-8B9A-EF21-8B0C-34472875793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00053" y="6133088"/>
            <a:ext cx="1366496" cy="41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779501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ive Topics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1"/>
            <a:ext cx="53721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213C59-7880-41D1-9DE5-B53FA71B4F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48401" y="609601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0BD0D78-FA9C-47FE-A8C5-A942C1A9A1E0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080809" y="609601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4D1B0561-72B3-4A7C-9434-B0EDE523688D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080809" y="1037805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FB88D30E-5998-42C2-BFDA-6C6AA1F33F7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48401" y="1647195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6D18BF23-F279-48A8-8AFF-AC70F73F091E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7080809" y="1647194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8445664B-F9E1-4D1D-9F6E-DA27AF43C21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7080809" y="207539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31F0F46D-89DF-46CA-934B-C124727D937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48401" y="2684789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8BB0DD2A-742F-4019-B2A6-6AC6CF3BEEA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080809" y="2684787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4D48E93A-11A3-45A0-961F-26062021432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080809" y="3112993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365D378F-8BFE-41E2-A048-4F1E113B408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48401" y="3722382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4681FE84-1510-4206-91AF-B290EF3C0E1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7080809" y="3722382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58EB90C9-03A7-449D-A8F3-B379B319950E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7080809" y="4150586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E3E332E3-41A2-4350-A7FE-20CB379706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1" y="475997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948A5A7B-49E0-4CF2-8080-E002145F2FF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09" y="4759974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B8F46644-76D3-4C51-9163-739A1F5F7650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09" y="5188180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7D1C11A-12D9-461B-A255-03DBC65A944A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EA8191E0-49D0-4036-B896-597B5FEF1388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3447770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Ten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1"/>
            <a:ext cx="53721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2875B737-D8C9-4B5A-A987-E648592F8AB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71501" y="2437943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1BC899D-37C3-4568-A4DF-0B0EDE20DC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403909" y="243794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B5D11EE-1D55-4041-81BF-2D405343AEB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1403909" y="286614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78F2AB5-8A22-4344-B743-464793BF69F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71501" y="3278623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2A1D5CE-6473-44B2-BC10-1AC73E1B795C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403909" y="327862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D8A733FF-648D-413A-A965-9380FF19EB3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403909" y="370682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C4EAFF18-13A5-4454-9A4E-50C9683A086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71501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3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5CFB554-4FA5-44FE-AD9D-94ADB8A1596B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403909" y="4118818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E82D60C9-C7E6-4DE4-8E8B-9A9D85E509A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1403909" y="4547022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1C81A21-CB5C-4EBA-AA54-D73A670B36B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71501" y="4959741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4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3D704AA8-F2E6-4E6E-BA0F-C73614C721D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1403909" y="4959741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66AE59D2-11F7-416C-B366-F23200F2C468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403909" y="5387945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898C6801-7507-4803-A711-42CEC857E56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1" y="2437943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5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7589C976-7FFB-4218-BF7E-1F78F2A1F02C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09" y="243794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0F3DDABD-EE25-49C3-9A53-2657DAD77A8C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09" y="286614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17167DB7-5308-42DC-AEE9-AAED2ED164D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248401" y="3278623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6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620B5D7B-672A-4FB9-9717-E785586DA30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7080809" y="327862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E23B210E-5C88-4516-A864-36247F88D733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7080809" y="370682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37DB0FAF-76DD-43D1-B897-9417F5B3AB7B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48401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7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B0C7BE68-E1A9-48A3-8ADD-8FDB96C02A40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7080809" y="4118818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5195D37A-ED4A-4E1F-A476-81831613075B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080809" y="4547022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62FE476F-78D3-4BBD-ADB0-A014E40BC384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48401" y="4959741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8</a:t>
            </a:r>
          </a:p>
        </p:txBody>
      </p:sp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D42D2D51-155D-4C35-BC5F-B8F1C46DC335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7080809" y="4959741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EBF4B885-D002-47D6-8922-12B72E21CACE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7080809" y="5387945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0EEB412-0CE0-4F00-8756-0957743AE431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2DB28A58-94F9-401A-ADF6-47C90FEA9566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7171969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564E15E-85C2-40F1-B654-E42DCFBA1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 marL="0" indent="0">
              <a:buNone/>
              <a:defRPr sz="1400"/>
            </a:lvl2pPr>
            <a:lvl3pPr marL="228594" indent="0">
              <a:buNone/>
              <a:defRPr sz="1200"/>
            </a:lvl3pPr>
            <a:lvl4pPr marL="406390" indent="0"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30370F4-DF08-4B4A-A3BB-EB8905622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3BE238-C084-4FBF-86DF-59C91AF8317F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1E1701B-4C10-476A-8FDF-6089699136E1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8415783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E1C715D-9112-4A01-AD63-361439BFB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E43F6E-A8D0-4155-BD27-8561034BB2B8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A02B8EA-12A2-4673-BF3F-8D4FB8234D27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4125918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8EE2313-2646-4E0B-B6B4-BA07574D2F8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30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594" indent="0">
              <a:buNone/>
              <a:defRPr/>
            </a:lvl3pPr>
            <a:lvl4pPr marL="406390" indent="0">
              <a:buNone/>
              <a:defRPr/>
            </a:lvl4pPr>
            <a:lvl5pPr marL="5714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572B255-D144-453C-90FA-BB07F680CF0A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D9DF569-2B30-EE4C-8D21-F21B97793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C61E8BE-7C30-466D-96E8-145E0409391E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0267222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49195570-1534-4F74-B303-B06313C227F6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66674A7-0DAD-C54D-BB6A-AB4B6F3D1CF2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48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594" indent="0">
              <a:buNone/>
              <a:defRPr/>
            </a:lvl3pPr>
            <a:lvl4pPr marL="406390" indent="0">
              <a:buNone/>
              <a:defRPr/>
            </a:lvl4pPr>
            <a:lvl5pPr marL="5714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4BFEFE0-97D7-B240-BC88-FC22052279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82028C6-D96F-A145-862B-ED80E5C5EF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600"/>
            </a:lvl1pPr>
            <a:lvl2pPr marL="0" indent="0">
              <a:buFontTx/>
              <a:buNone/>
              <a:defRPr sz="1400"/>
            </a:lvl2pPr>
            <a:lvl3pPr marL="228594" indent="0">
              <a:buFontTx/>
              <a:buNone/>
              <a:defRPr sz="1200"/>
            </a:lvl3pPr>
            <a:lvl4pPr marL="406390" indent="0">
              <a:buFontTx/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A8F312C-C046-4076-8AB0-7EBEDB950552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3120607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8C1C862-6F14-47C3-885D-12D6E1A99AA2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AD8007C-DE91-4E81-8041-976C5135CD04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5613566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6734A84-A20E-4265-848D-432FAF49C4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1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2236BEA-8B84-4433-AC6E-DE816054A44B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76FF25-9CEA-4D73-9CD8-BCF0613C55EA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7412019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4BE6003-571D-4817-A40A-6421214126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1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4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4156D67-C67F-41CF-BA17-0B2BFD535E25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92C7D0-4978-4D65-A39E-9CB076EFBCC3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0372781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CE8F80B-33FA-DB49-AAA8-D930036B92A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8D9F958-E741-3446-8F98-B8005D25B3B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2E6243C-8A78-4143-AEF0-3C6E6E0CC4F3}" type="datetimeFigureOut">
              <a:rPr lang="en-US" smtClean="0"/>
              <a:t>3/31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F95CE559-A5C1-9F43-9231-CFAFC5B3DF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475579A-4837-384B-B5A7-668D57B0051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8C798FE-E225-7E41-86D1-D70877E3A51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32006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1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10703F-CBA9-4296-B386-BA35019F8F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79EE8F-1900-4C5E-A4C1-BB6BE90235E1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3664428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1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10703F-CBA9-4296-B386-BA35019F8F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79EE8F-1900-4C5E-A4C1-BB6BE90235E1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5716920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-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1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10703F-CBA9-4296-B386-BA35019F8F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79EE8F-1900-4C5E-A4C1-BB6BE90235E1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6696996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-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1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10703F-CBA9-4296-B386-BA35019F8F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79EE8F-1900-4C5E-A4C1-BB6BE90235E1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7220289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-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1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10703F-CBA9-4296-B386-BA35019F8F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79EE8F-1900-4C5E-A4C1-BB6BE90235E1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4304062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-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1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10703F-CBA9-4296-B386-BA35019F8F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79EE8F-1900-4C5E-A4C1-BB6BE90235E1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0515328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6EE0FED-0F8F-1D4B-BDC6-134B0FE8D3AF}"/>
              </a:ext>
            </a:extLst>
          </p:cNvPr>
          <p:cNvSpPr/>
          <p:nvPr/>
        </p:nvSpPr>
        <p:spPr>
          <a:xfrm>
            <a:off x="3429001" y="0"/>
            <a:ext cx="8763001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00FA166-5D3F-4D89-9646-F16A985660E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1" y="2514601"/>
            <a:ext cx="25527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E9CD8F1-BCCB-4886-9A5C-6DBC2AED36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609600"/>
            <a:ext cx="25527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8F119A-0C2E-4A56-861D-52501224E767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8405138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488">
          <p15:clr>
            <a:srgbClr val="A4A3A4"/>
          </p15:clr>
        </p15:guide>
        <p15:guide id="3" orient="horz" pos="1584">
          <p15:clr>
            <a:srgbClr val="A4A3A4"/>
          </p15:clr>
        </p15:guide>
      </p15:sldGuideLst>
    </p:ext>
  </p:extLst>
</p:sldLayout>
</file>

<file path=ppt/slideLayouts/slideLayout1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97389CA-AA00-4146-B54D-B32C999B76FE}"/>
              </a:ext>
            </a:extLst>
          </p:cNvPr>
          <p:cNvSpPr/>
          <p:nvPr/>
        </p:nvSpPr>
        <p:spPr>
          <a:xfrm>
            <a:off x="4991101" y="0"/>
            <a:ext cx="72009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3852A25-25D6-4B6B-902F-93AEC433B73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1"/>
            <a:ext cx="38100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CC6C67FE-13C1-4F4C-8B7C-A596738753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609600"/>
            <a:ext cx="38100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74ED29-7748-494F-852C-C675DE7124A2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7712329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5F55B17-88C3-D348-889E-49139B7173C6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C55F65A-E884-4545-813B-8B12A150F0E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1"/>
            <a:ext cx="47244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C7E4F0C-628A-4B9F-8B0B-ACF8C8FB35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47244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B4C80E-343D-4240-BC0E-A777164C5872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931937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lo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8ECCB6B-46C4-4E71-97ED-219163FCE9B9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D938136-20C6-401D-BA2C-F3CC96E9757F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7523958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9693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4607" indent="219059">
              <a:lnSpc>
                <a:spcPct val="100000"/>
              </a:lnSpc>
              <a:spcBef>
                <a:spcPts val="148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tabLst/>
              <a:defRPr sz="2133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88910" indent="190486">
              <a:lnSpc>
                <a:spcPct val="100000"/>
              </a:lnSpc>
              <a:spcBef>
                <a:spcPts val="60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" panose="020B0503020201020303" pitchFamily="34" charset="0"/>
                <a:cs typeface="CiscoSansTT Thin" charset="0"/>
              </a:defRPr>
            </a:lvl2pPr>
            <a:lvl3pPr marL="914309" indent="-146035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592" indent="-228532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Char char="•"/>
              <a:defRPr sz="14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123" indent="-224298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Footer Placeholder 7">
            <a:extLst>
              <a:ext uri="{FF2B5EF4-FFF2-40B4-BE49-F238E27FC236}">
                <a16:creationId xmlns:a16="http://schemas.microsoft.com/office/drawing/2014/main" id="{4EF6B68D-0B38-B149-9386-D916514FB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6" y="6376761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pPr algn="l"/>
            <a:fld id="{07AB022D-6AB5-0742-A695-7213B7438632}" type="slidenum">
              <a:rPr lang="en-US" smtClean="0"/>
              <a:pPr algn="l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73EE3F-4F93-4D4B-9DE7-44ABAA578D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9" y="6448096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14086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o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20F9E4-16CA-4B30-ADCC-BD4809B439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0FB953B-93BA-45FD-AD0D-5A607DEF5ABD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4995596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o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D4C5D01-C630-4FFC-963D-B04C145573CD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348D590-B05C-4613-AFD1-D65C0ED502C6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236058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6" y="6326661"/>
            <a:ext cx="400565" cy="188441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92773B-7150-44D2-AFDB-DE60A8A0F625}"/>
              </a:ext>
            </a:extLst>
          </p:cNvPr>
          <p:cNvSpPr/>
          <p:nvPr/>
        </p:nvSpPr>
        <p:spPr>
          <a:xfrm>
            <a:off x="304800" y="6414274"/>
            <a:ext cx="2819400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BEBFBF78-0E90-472B-B2BB-48C8ECC3854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9586" y="2209800"/>
            <a:ext cx="2912831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38915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6" y="6431692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B8EB6A92-1A18-4242-B37B-061D783A1E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33354" y="6061499"/>
            <a:ext cx="1633196" cy="49932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79071DA-63B2-46A2-892F-B272FF3B2408}"/>
              </a:ext>
            </a:extLst>
          </p:cNvPr>
          <p:cNvSpPr/>
          <p:nvPr/>
        </p:nvSpPr>
        <p:spPr>
          <a:xfrm>
            <a:off x="525453" y="6410479"/>
            <a:ext cx="503249" cy="1503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</p:spTree>
    <p:extLst>
      <p:ext uri="{BB962C8B-B14F-4D97-AF65-F5344CB8AC3E}">
        <p14:creationId xmlns:p14="http://schemas.microsoft.com/office/powerpoint/2010/main" val="12132185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lf &amp; Half Title Slide Dark Layout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1" y="4869790"/>
            <a:ext cx="5372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1501" y="5248892"/>
            <a:ext cx="5372100" cy="1846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790702"/>
            <a:ext cx="5372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1" y="3431818"/>
            <a:ext cx="5372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73A75F9-B823-4C33-BC6A-70650FACD3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48400" y="0"/>
            <a:ext cx="5943600" cy="6858000"/>
          </a:xfrm>
          <a:noFill/>
        </p:spPr>
        <p:txBody>
          <a:bodyPr anchor="ctr" anchorCtr="0"/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78128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up to 5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7" y="993223"/>
            <a:ext cx="4518361" cy="205379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ontents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F3B1879A-B619-984E-82C7-4434B9F2A25C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5782531" y="1013366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1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4BD297AF-7D2D-D94D-B0E8-94538FF52057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6578192" y="2480483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EB822921-0C8E-3C44-A1CD-F57BC9505616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5782531" y="2088631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2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DA9D4E5-FBBF-994F-AA3B-A8FD8ADBD704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6578192" y="3556662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B03C4A2-7938-6849-8D46-277EC2DB2F8E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6578192" y="3135605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5E9B8D30-521D-864E-AAD2-9AB01D6BBF2E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5782531" y="3155431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3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CF377F4-3F0E-754A-84E9-8885433BCA73}"/>
              </a:ext>
            </a:extLst>
          </p:cNvPr>
          <p:cNvSpPr>
            <a:spLocks noGrp="1"/>
          </p:cNvSpPr>
          <p:nvPr>
            <p:ph type="body" sz="half" idx="33" hasCustomPrompt="1"/>
          </p:nvPr>
        </p:nvSpPr>
        <p:spPr>
          <a:xfrm>
            <a:off x="6578192" y="4623463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8B6D2346-F32B-6245-ABF4-0D656814BDAC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6578192" y="4202405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90907DA3-7813-1343-BE3E-5E4707F98652}"/>
              </a:ext>
            </a:extLst>
          </p:cNvPr>
          <p:cNvSpPr>
            <a:spLocks noGrp="1"/>
          </p:cNvSpPr>
          <p:nvPr>
            <p:ph type="body" sz="half" idx="35" hasCustomPrompt="1"/>
          </p:nvPr>
        </p:nvSpPr>
        <p:spPr>
          <a:xfrm>
            <a:off x="5782531" y="4222231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4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357F977-9E83-FB43-A933-EBF86645182F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6578192" y="5664862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43AE9062-3EA5-8441-A358-162479B3E4C4}"/>
              </a:ext>
            </a:extLst>
          </p:cNvPr>
          <p:cNvSpPr>
            <a:spLocks noGrp="1"/>
          </p:cNvSpPr>
          <p:nvPr>
            <p:ph type="body" sz="half" idx="37" hasCustomPrompt="1"/>
          </p:nvPr>
        </p:nvSpPr>
        <p:spPr>
          <a:xfrm>
            <a:off x="6578192" y="5243804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B32ED203-88E4-614B-AB16-C784FB6AAEC2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5782531" y="5263631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5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FB49C323-7C7D-804E-82D9-2045EA5F8DCA}"/>
              </a:ext>
            </a:extLst>
          </p:cNvPr>
          <p:cNvSpPr>
            <a:spLocks noGrp="1"/>
          </p:cNvSpPr>
          <p:nvPr>
            <p:ph type="body" sz="half" idx="39" hasCustomPrompt="1"/>
          </p:nvPr>
        </p:nvSpPr>
        <p:spPr>
          <a:xfrm>
            <a:off x="6578192" y="978559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36E9A218-B974-1D4F-81D6-6E343885F274}"/>
              </a:ext>
            </a:extLst>
          </p:cNvPr>
          <p:cNvSpPr>
            <a:spLocks noGrp="1"/>
          </p:cNvSpPr>
          <p:nvPr>
            <p:ph type="body" sz="half" idx="40" hasCustomPrompt="1"/>
          </p:nvPr>
        </p:nvSpPr>
        <p:spPr>
          <a:xfrm>
            <a:off x="6578192" y="2057083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4E0C9FA-1CEF-D442-805C-B1304D12773B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6578192" y="1401959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EA9F760-54C7-4D39-BFBE-CB5FEB9E61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71820893-9915-4BFA-B034-1C8F63FF81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100000"/>
              </a:lnSpc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FFD397-3600-4EC8-8694-6DE9A09E921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2467401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9CE094B7-A2CC-4860-A57D-F142C2E63FC6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4041160"/>
            <a:ext cx="3465576" cy="2169141"/>
          </a:xfrm>
        </p:spPr>
        <p:txBody>
          <a:bodyPr/>
          <a:lstStyle>
            <a:lvl3pPr marL="346066" indent="-171446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E2DCECB4-BB48-48B5-A871-A080DE20BDFF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500" y="4041160"/>
            <a:ext cx="3467099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Content Placeholder 4">
            <a:extLst>
              <a:ext uri="{FF2B5EF4-FFF2-40B4-BE49-F238E27FC236}">
                <a16:creationId xmlns:a16="http://schemas.microsoft.com/office/drawing/2014/main" id="{868F585C-1E6D-44C6-9295-9866846056CD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1" y="4038600"/>
            <a:ext cx="3467100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A1EBBB-1490-4A58-9FEB-3DAB9E66019A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577124" y="3429000"/>
            <a:ext cx="3465576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6C65CC39-4D00-45CB-AE15-8C3D3E976756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1" y="3429000"/>
            <a:ext cx="3467099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9291D51-BC1A-4ED4-8278-30B67F7C4AA7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8153401" y="3426441"/>
            <a:ext cx="3467100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42E7DBE-A450-4BC3-A3EC-3A1EE7839F65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94344F4-D05A-E24F-A679-CB39B058D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1084CAD-AB1E-47FC-A2EF-2D347CCE0718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6798062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A712B4B-CA11-4116-8559-6D5A2D1AD8D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2"/>
            <a:ext cx="5384800" cy="334378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  <a:p>
            <a:pPr marL="228589" lvl="3" indent="-228589"/>
            <a:r>
              <a:rPr lang="en-US"/>
              <a:t>Four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1"/>
            <a:ext cx="5390428" cy="1552303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D667F840-8562-40AC-BE3D-8404AB46E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2 Cisco and/or its affiliates. All rights reserved. Cisco Confidentia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3984B84-E026-4120-A200-04C1B3AFF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3ADC711-D282-4C9D-AD92-4B5C00C5CDD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791634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/>
          <p:cNvSpPr>
            <a:spLocks noGrp="1"/>
          </p:cNvSpPr>
          <p:nvPr>
            <p:ph type="body" sz="quarter" idx="42"/>
          </p:nvPr>
        </p:nvSpPr>
        <p:spPr>
          <a:xfrm>
            <a:off x="558800" y="339201"/>
            <a:ext cx="5384800" cy="267256"/>
          </a:xfrm>
        </p:spPr>
        <p:txBody>
          <a:bodyPr/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7E1761E9-AFC9-AD49-85CC-41DBCBA44A6D}"/>
              </a:ext>
            </a:extLst>
          </p:cNvPr>
          <p:cNvSpPr>
            <a:spLocks noGrp="1"/>
          </p:cNvSpPr>
          <p:nvPr>
            <p:ph type="ftr" sz="quarter" idx="43"/>
          </p:nvPr>
        </p:nvSpPr>
        <p:spPr/>
        <p:txBody>
          <a:bodyPr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/>
              <a:t>© 2022 Cisco and/or its affiliates. All rights reserved. Cisco Confidential</a:t>
            </a:r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FC169913-7D06-0E46-83B2-667F82BEE00C}"/>
              </a:ext>
            </a:extLst>
          </p:cNvPr>
          <p:cNvSpPr>
            <a:spLocks noGrp="1"/>
          </p:cNvSpPr>
          <p:nvPr>
            <p:ph type="sldNum" sz="quarter" idx="44"/>
          </p:nvPr>
        </p:nvSpPr>
        <p:spPr/>
        <p:txBody>
          <a:bodyPr>
            <a:noAutofit/>
          </a:bodyPr>
          <a:lstStyle>
            <a:lvl1pPr algn="r">
              <a:defRPr sz="800" smtClean="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6A931800-5710-AC40-8C31-E56EED6C116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084398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564E15E-85C2-40F1-B654-E42DCFBA1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 marL="0" indent="0">
              <a:buNone/>
              <a:defRPr sz="1400"/>
            </a:lvl2pPr>
            <a:lvl3pPr marL="228594" indent="0">
              <a:buNone/>
              <a:defRPr sz="1200"/>
            </a:lvl3pPr>
            <a:lvl4pPr marL="406390" indent="0"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30370F4-DF08-4B4A-A3BB-EB8905622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1E1701B-4C10-476A-8FDF-6089699136E1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A23C2995-F6D4-9758-2BB2-32F1B799647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30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594" indent="0">
              <a:buNone/>
              <a:defRPr/>
            </a:lvl3pPr>
            <a:lvl4pPr marL="406390" indent="0">
              <a:buNone/>
              <a:defRPr/>
            </a:lvl4pPr>
            <a:lvl5pPr marL="5714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9FE738C-9B5A-485D-F221-858F183EED14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1142756" y="6383797"/>
            <a:ext cx="4534733" cy="164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defTabSz="81429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33" b="0" i="0" spc="27" baseline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CiscoSansTT Light" panose="020B0503020201020303" pitchFamily="34" charset="0"/>
              </a:rPr>
              <a:t>© 2022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0516105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73EE3F-4F93-4D4B-9DE7-44ABAA578D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9" y="6448095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85362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A305123-92F2-4B89-A355-7539327F08C3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1500" y="2787408"/>
            <a:ext cx="3465576" cy="3420333"/>
          </a:xfrm>
        </p:spPr>
        <p:txBody>
          <a:bodyPr/>
          <a:lstStyle>
            <a:lvl3pPr>
              <a:defRPr/>
            </a:lvl3pPr>
            <a:lvl4pPr marL="514338" indent="-171446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1907560"/>
            <a:ext cx="3465576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2" name="Content Placeholder 4">
            <a:extLst>
              <a:ext uri="{FF2B5EF4-FFF2-40B4-BE49-F238E27FC236}">
                <a16:creationId xmlns:a16="http://schemas.microsoft.com/office/drawing/2014/main" id="{F96C995E-58E0-4A91-AA56-8759CFD3EA73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500" y="2787408"/>
            <a:ext cx="3467099" cy="3420333"/>
          </a:xfrm>
        </p:spPr>
        <p:txBody>
          <a:bodyPr/>
          <a:lstStyle>
            <a:lvl3pPr>
              <a:defRPr/>
            </a:lvl3pPr>
            <a:lvl4pPr marL="342891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071BF92C-4C07-4794-8CC8-D51F3173376C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1" y="1907560"/>
            <a:ext cx="3467099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4" name="Content Placeholder 4">
            <a:extLst>
              <a:ext uri="{FF2B5EF4-FFF2-40B4-BE49-F238E27FC236}">
                <a16:creationId xmlns:a16="http://schemas.microsoft.com/office/drawing/2014/main" id="{47F7CD6B-9884-4317-A0E7-31AE02F93993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1" y="2787408"/>
            <a:ext cx="3467100" cy="3420333"/>
          </a:xfrm>
        </p:spPr>
        <p:txBody>
          <a:bodyPr/>
          <a:lstStyle>
            <a:lvl3pPr marL="346066" indent="-171446">
              <a:buFont typeface="Arial" panose="020B0604020202020204" pitchFamily="34" charset="0"/>
              <a:buChar char="•"/>
              <a:defRPr/>
            </a:lvl3pPr>
            <a:lvl4pPr marL="512750" indent="-169858"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EECB8C3-35E8-4930-A0AE-3BA62609BFD9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8153401" y="1905001"/>
            <a:ext cx="3467100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1D46A44-801A-40B4-8117-1D09F7B03348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9A2394E-0E95-4850-A756-0015178A4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50DAF14-F79F-48F1-BCFF-1EC74CF6ED79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9469244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455086"/>
            <a:ext cx="11127319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A2B0D2A-2D5B-AA67-4208-3EE58173314E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1142756" y="6383797"/>
            <a:ext cx="4534733" cy="164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defTabSz="81429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33" b="0" i="0" spc="27" baseline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CiscoSansTT Light" panose="020B0503020201020303" pitchFamily="34" charset="0"/>
              </a:rPr>
              <a:t>© 2022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625840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84" indent="-228589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70" indent="-220122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54" indent="-146043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52" indent="-228542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195" indent="-224309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6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18399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29002" y="0"/>
            <a:ext cx="8762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5309CA-3E25-47B8-99B6-670FE796BB9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1" y="2971801"/>
            <a:ext cx="2552700" cy="3238500"/>
          </a:xfrm>
        </p:spPr>
        <p:txBody>
          <a:bodyPr/>
          <a:lstStyle>
            <a:lvl3pPr marL="346066" indent="-171446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8B3BBBD-95D5-473C-B5AA-4C86DA04A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0"/>
            <a:ext cx="2552700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6074A9E-3E44-8B47-A88F-5D9A8A1F15B7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917624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872">
          <p15:clr>
            <a:srgbClr val="A4A3A4"/>
          </p15:clr>
        </p15:guide>
        <p15:guide id="3" orient="horz" pos="1680">
          <p15:clr>
            <a:srgbClr val="A4A3A4"/>
          </p15:clr>
        </p15:guide>
      </p15:sldGuideLst>
    </p:ext>
  </p:extLst>
</p:sldLayout>
</file>

<file path=ppt/slideLayouts/slideLayout1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F60A532-8EEA-467C-8E7E-39CF1DB485A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9A0B76E-2F1E-4BD6-AA72-3682A69C9C34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553201" y="1910150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5818B49-B6BC-412E-A21D-631A69222221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71232" y="1910150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442FDF7C-40C4-4C20-819D-D8B06F0E8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1"/>
            <a:ext cx="5068699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7B14163-B0FE-4287-968A-93DE8034681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553199" y="2789967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891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50" marR="0" lvl="3" indent="-169858" algn="l" defTabSz="882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4927BC81-4C08-47F4-BA08-8F857CA477A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169908" y="2789967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891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50" marR="0" lvl="3" indent="-169858" algn="l" defTabSz="882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E009170-4223-4B7A-A077-F74B3DE36888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9852327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1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BC7AE7-158D-4519-8464-722F5EF35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2" y="990600"/>
            <a:ext cx="10796588" cy="105568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324A219-BAAE-44FA-9F17-70A08A4E4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C97-3033818-00 © 2023 Cisco and/or its affiliates. All rights reserved. Cisco Confidential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0F9371A-4233-460B-91A9-B91A8429B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631F93F1-F5D5-44EF-B435-0444DF40D6A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58696A-2388-495D-981D-050920BB5C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2" y="5698889"/>
            <a:ext cx="4993217" cy="585216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C009990-5F38-4F94-ABE2-44DA301BD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2" y="5698889"/>
            <a:ext cx="4993217" cy="585216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D01E734-4CA7-4CBD-A769-BCC20375564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8800" y="2870202"/>
            <a:ext cx="5029200" cy="2563284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E24BD1C9-BB6F-4B1A-B0AC-70FBFBAD0D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48400" y="2870202"/>
            <a:ext cx="5029200" cy="2563284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7E62B0A-EF1F-854D-A9F9-BF31256EA55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5792398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D6DF483-DD51-444D-AF16-AF31E72FDD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1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514338" indent="-171446">
              <a:buFont typeface="Arial" panose="020B0604020202020204" pitchFamily="34" charset="0"/>
              <a:buChar char="•"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0BAC715-F543-452A-80B1-3A07B10B2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1"/>
            <a:ext cx="50673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F48862-22C1-482F-B821-3D8CC682DAB1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524910-4FFE-49EA-99DE-65BFB724546B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2236270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1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7" y="990602"/>
            <a:ext cx="11080025" cy="127000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pc="-240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5871547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Four Data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067269" y="3539749"/>
            <a:ext cx="2551216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9067185" y="4298129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9067801" y="1778381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067801" y="1020001"/>
            <a:ext cx="25527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E4E13D-43FB-4287-8055-FE35994AA77F}"/>
              </a:ext>
            </a:extLst>
          </p:cNvPr>
          <p:cNvCxnSpPr>
            <a:cxnSpLocks/>
          </p:cNvCxnSpPr>
          <p:nvPr/>
        </p:nvCxnSpPr>
        <p:spPr>
          <a:xfrm>
            <a:off x="9069806" y="9144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F04E06-6C46-46FE-9956-F0E8ED6633DF}"/>
              </a:ext>
            </a:extLst>
          </p:cNvPr>
          <p:cNvCxnSpPr>
            <a:cxnSpLocks/>
          </p:cNvCxnSpPr>
          <p:nvPr/>
        </p:nvCxnSpPr>
        <p:spPr>
          <a:xfrm>
            <a:off x="9069806" y="342899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13425D7-1452-4F87-AE64-7C2F048C2469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248485" y="3539749"/>
            <a:ext cx="2551216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806E283-8E77-44C1-84BC-00B971D42EBD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248401" y="4298129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BDD5CD07-CCF1-451E-8B13-2BE3821C220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249017" y="1778386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sz="1600">
                <a:latin typeface="+mj-lt"/>
              </a:defRPr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DD3D7F-C0BF-415A-9378-D8759CED06B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9017" y="1020001"/>
            <a:ext cx="25527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B67A14D-E25C-4D75-8D2E-0D450CE9656D}"/>
              </a:ext>
            </a:extLst>
          </p:cNvPr>
          <p:cNvCxnSpPr>
            <a:cxnSpLocks/>
          </p:cNvCxnSpPr>
          <p:nvPr/>
        </p:nvCxnSpPr>
        <p:spPr>
          <a:xfrm>
            <a:off x="6251020" y="91440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9FFCD6B-6781-45B9-A0FF-441B99A220B5}"/>
              </a:ext>
            </a:extLst>
          </p:cNvPr>
          <p:cNvCxnSpPr>
            <a:cxnSpLocks/>
          </p:cNvCxnSpPr>
          <p:nvPr/>
        </p:nvCxnSpPr>
        <p:spPr>
          <a:xfrm>
            <a:off x="6251020" y="34290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58239EE2-4739-4DF9-A78C-6994DD9D6E29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8EBC35A6-C3F6-4CAA-B6FE-77A0C0F6904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1" y="2514601"/>
            <a:ext cx="53721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367F26D2-980E-498C-9B01-AEF3F1821C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53721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1DE9A97B-CB1E-4FA3-9806-5D1E1D446DEE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6880803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2: SPLIT TITLE ONLY + ROOM FOR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B15451E-AF4B-4B3A-B376-2003DB48C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1161290"/>
            <a:ext cx="5068699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8B9E3B-633E-7342-78FE-43C6E072402A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32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DA6E23-0DF9-A10C-8880-72213B24EF71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931061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no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9D07771-4768-CA4B-89DD-AED838DEA9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5" y="5745270"/>
            <a:ext cx="11061895" cy="384175"/>
          </a:xfrm>
          <a:prstGeom prst="rect">
            <a:avLst/>
          </a:prstGeom>
        </p:spPr>
        <p:txBody>
          <a:bodyPr lIns="0" tIns="45710" rIns="91420" bIns="45710" anchor="t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06001" y="4376433"/>
            <a:ext cx="6262488" cy="889615"/>
          </a:xfrm>
          <a:prstGeom prst="rect">
            <a:avLst/>
          </a:prstGeom>
        </p:spPr>
        <p:txBody>
          <a:bodyPr lIns="0" tIns="45710" rIns="91420" bIns="45710"/>
          <a:lstStyle>
            <a:lvl1pPr marL="0" indent="0">
              <a:buFont typeface="Arial" panose="020B0604020202020204" pitchFamily="34" charset="0"/>
              <a:buNone/>
              <a:defRPr sz="2400" b="0" i="0" baseline="0">
                <a:solidFill>
                  <a:schemeClr val="tx1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94780" y="2149234"/>
            <a:ext cx="6281936" cy="2198596"/>
          </a:xfrm>
          <a:prstGeom prst="rect">
            <a:avLst/>
          </a:prstGeom>
        </p:spPr>
        <p:txBody>
          <a:bodyPr lIns="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3733" b="0" i="0" spc="0" baseline="0">
                <a:solidFill>
                  <a:schemeClr val="tx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E7FBE17-7DE2-184F-BADA-74193991090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94331" y="6037383"/>
            <a:ext cx="793559" cy="414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9453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3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9BAE1B1-9A80-DE77-4641-CF9F922B7DD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NO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11298F-EBD1-3457-3231-7A3F7F91157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O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4BEB1A4-5331-FDF1-B43E-A29F3C8066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06FD5F8-127C-F344-8AF1-5B80426C621A}" type="datetimeFigureOut">
              <a:rPr lang="en-NO" smtClean="0"/>
              <a:t>03/31/2025</a:t>
            </a:fld>
            <a:endParaRPr lang="en-NO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32DE9BB-6F3B-1BF9-7A21-4C6829F779E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NO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9971F03-D66C-AB06-7584-E41C2F627F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F725971-93DF-164C-83B3-F38004E1A908}" type="slidenum">
              <a:rPr lang="en-NO" smtClean="0"/>
              <a:t>‹#›</a:t>
            </a:fld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41935448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1E1BB935-C530-47D2-883E-00828E3A8FC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201" y="609602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D970870-8847-48D6-ACCA-B0F7D662F2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1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66" indent="-171446">
              <a:buFont typeface="Arial" panose="020B0604020202020204" pitchFamily="34" charset="0"/>
              <a:buChar char="•"/>
              <a:defRPr sz="1200"/>
            </a:lvl3pPr>
            <a:lvl4pPr marL="514338" indent="-171446">
              <a:buFont typeface="Arial" panose="020B0604020202020204" pitchFamily="34" charset="0"/>
              <a:buChar char="•"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8CEBD18-98E9-4568-A90A-5715A834E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1"/>
            <a:ext cx="50673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38F8A1A-3A97-4C8E-9550-2C62BC10A83F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0516354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1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2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689F426-4C63-454D-B133-BC94D9D160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1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B15451E-AF4B-4B3A-B376-2003DB48C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5068699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355118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609807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hdr="0" dt="0"/>
</p:sldLayout>
</file>

<file path=ppt/slideLayouts/slideLayout1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2441477-13D0-4DAF-BFCF-92EDFB2CE56C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/>
          </a:p>
        </p:txBody>
      </p:sp>
      <p:pic>
        <p:nvPicPr>
          <p:cNvPr id="8" name="Picture 7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C2D43C02-732C-4374-A293-6B6EED828B5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68" t="16577" r="19683" b="16944"/>
          <a:stretch/>
        </p:blipFill>
        <p:spPr>
          <a:xfrm>
            <a:off x="2849011" y="788893"/>
            <a:ext cx="9342991" cy="5394456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941346" y="1482180"/>
            <a:ext cx="5719729" cy="3817185"/>
          </a:xfrm>
          <a:prstGeom prst="roundRect">
            <a:avLst>
              <a:gd name="adj" fmla="val 1813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49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0601"/>
            <a:ext cx="2501421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3" y="3051160"/>
            <a:ext cx="2496125" cy="342584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>
              <a:defRPr sz="933"/>
            </a:lvl2pPr>
            <a:lvl3pPr>
              <a:defRPr sz="667"/>
            </a:lvl3pPr>
            <a:lvl4pPr>
              <a:defRPr sz="267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D5595A6-D46E-43B4-94A2-E3A6720BA94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2" y="339201"/>
            <a:ext cx="2655455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84C20AAF-DB2E-2C46-92D6-BF7375063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521068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Quot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6A164E9-1234-4BC2-B8E7-F3047AC35998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9BFEE4A-F2C6-4F21-8071-313D1B3C613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1"/>
            <a:ext cx="7239000" cy="21544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361C734-A636-4E0E-A708-B9C530351863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2"/>
            <a:ext cx="7239000" cy="18466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DDA5770-9471-B746-BDC8-3306A09120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594" indent="-457189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68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2453D8B-1785-4D30-B87D-91AEE8A23A98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2863156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eature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6109FABB-685C-064C-97C0-CDEBA83E6A90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75129" y="1681972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867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A94773F4-AAB7-E940-B2A8-EFEBE8948C45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575129" y="3237203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867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67" name="Text Placeholder 3">
            <a:extLst>
              <a:ext uri="{FF2B5EF4-FFF2-40B4-BE49-F238E27FC236}">
                <a16:creationId xmlns:a16="http://schemas.microsoft.com/office/drawing/2014/main" id="{282895ED-6050-3747-8F02-64EC64223ADF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575129" y="4792432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867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87" name="Picture Placeholder 2">
            <a:extLst>
              <a:ext uri="{FF2B5EF4-FFF2-40B4-BE49-F238E27FC236}">
                <a16:creationId xmlns:a16="http://schemas.microsoft.com/office/drawing/2014/main" id="{323133DF-7BD6-514D-BEB7-88A3F593064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803160" y="831958"/>
            <a:ext cx="6603168" cy="5321508"/>
          </a:xfrm>
          <a:prstGeom prst="rect">
            <a:avLst/>
          </a:prstGeom>
          <a:solidFill>
            <a:srgbClr val="121212"/>
          </a:solidFill>
        </p:spPr>
        <p:txBody>
          <a:bodyPr anchor="t" anchorCtr="0">
            <a:noAutofit/>
          </a:bodyPr>
          <a:lstStyle>
            <a:lvl1pPr marL="0" indent="0" algn="ctr">
              <a:buNone/>
              <a:defRPr sz="2509" spc="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1" name="Slide Number Placeholder 4">
            <a:extLst>
              <a:ext uri="{FF2B5EF4-FFF2-40B4-BE49-F238E27FC236}">
                <a16:creationId xmlns:a16="http://schemas.microsoft.com/office/drawing/2014/main" id="{1D2CC720-C5B4-48FE-A1CD-BA2700675B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2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825B61A-3A85-4882-BBB1-5D9D49DE8B11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5129" y="2033027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33" dirty="0">
                <a:solidFill>
                  <a:schemeClr val="tx2"/>
                </a:solidFill>
              </a:defRPr>
            </a:lvl2pPr>
          </a:lstStyle>
          <a:p>
            <a:pPr marL="302668" lvl="0" indent="-302668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77C9AC3-9E3A-4EA8-B187-A1C1A3FCF4EC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75129" y="3586888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302668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33" dirty="0">
                <a:solidFill>
                  <a:schemeClr val="tx2"/>
                </a:solidFill>
              </a:defRPr>
            </a:lvl2pPr>
          </a:lstStyle>
          <a:p>
            <a:pPr marL="302668" lvl="0" indent="-302668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5D3C119-BE92-4F78-B40B-2CD0BA25798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75129" y="5140752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33" dirty="0">
                <a:solidFill>
                  <a:schemeClr val="tx2"/>
                </a:solidFill>
              </a:defRPr>
            </a:lvl2pPr>
          </a:lstStyle>
          <a:p>
            <a:pPr marL="302668" lvl="0" indent="-302668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85E9FFB8-448F-4BEB-9062-AE6453AC476B}"/>
              </a:ext>
            </a:extLst>
          </p:cNvPr>
          <p:cNvSpPr>
            <a:spLocks noGrp="1"/>
          </p:cNvSpPr>
          <p:nvPr>
            <p:ph type="body" sz="half" idx="48" hasCustomPrompt="1"/>
          </p:nvPr>
        </p:nvSpPr>
        <p:spPr>
          <a:xfrm>
            <a:off x="9742445" y="1682132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867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490D1BE3-656B-4816-8D7F-6B972EE99B30}"/>
              </a:ext>
            </a:extLst>
          </p:cNvPr>
          <p:cNvSpPr>
            <a:spLocks noGrp="1"/>
          </p:cNvSpPr>
          <p:nvPr>
            <p:ph type="body" sz="half" idx="50" hasCustomPrompt="1"/>
          </p:nvPr>
        </p:nvSpPr>
        <p:spPr>
          <a:xfrm>
            <a:off x="9742445" y="3237363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867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08A5BB13-4AE6-4F94-B95C-2999ADC2964E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9742445" y="4792591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867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D5A01B2D-2DD4-48BE-9168-CD41BD2A052C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9742445" y="2033187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33" dirty="0">
                <a:solidFill>
                  <a:schemeClr val="tx2"/>
                </a:solidFill>
              </a:defRPr>
            </a:lvl2pPr>
          </a:lstStyle>
          <a:p>
            <a:pPr marL="302668" lvl="0" indent="-302668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E50C3374-25F2-4497-910F-A7F20424C332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9742445" y="3587048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33" dirty="0">
                <a:solidFill>
                  <a:schemeClr val="tx2"/>
                </a:solidFill>
              </a:defRPr>
            </a:lvl2pPr>
          </a:lstStyle>
          <a:p>
            <a:pPr marL="302668" lvl="0" indent="-302668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7280B0E9-BE28-4C9B-8368-AB8CBD61305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9742445" y="5140912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None/>
              <a:defRPr lang="en-US" sz="933" spc="0" dirty="0">
                <a:solidFill>
                  <a:schemeClr val="tx2"/>
                </a:solidFill>
              </a:defRPr>
            </a:lvl2pPr>
          </a:lstStyle>
          <a:p>
            <a:pPr marL="302668" lvl="0" indent="-302668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68" lvl="1" indent="-302668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DB88346-186B-44A2-ACB8-13C6075E17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9008" y="128213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423CEAC7-9351-44C0-8650-685B42C7DB3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69008" y="2833652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92DA7B38-9444-4EC2-8018-21FD1A285F3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569008" y="4385169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9E1862F-9EB8-4655-8F44-7F8EAF7C5A2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742447" y="1296069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09882002-4CDE-4869-868F-E43E999F39D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742447" y="2847585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72D80060-E102-442A-9C04-C7B7F0A30E6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742447" y="43991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5EB31E36-A45C-4CA4-BAD6-608235E681A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BA87D479-30B1-45F9-9188-C9837378F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390197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8D3B3576-E092-44AC-9525-9DA3161E6EEC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C21223BB-13C2-46FE-9733-BCC3C77A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2102BF9D-05AF-4C40-AEC2-376EE9F4E666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577124" y="4041160"/>
            <a:ext cx="2514600" cy="2169141"/>
          </a:xfrm>
        </p:spPr>
        <p:txBody>
          <a:bodyPr/>
          <a:lstStyle>
            <a:lvl3pPr>
              <a:defRPr/>
            </a:lvl3pPr>
            <a:lvl4pPr marL="342891" indent="0">
              <a:buNone/>
              <a:defRPr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50" marR="0" lvl="3" indent="-169858" algn="l" defTabSz="882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F548FAB6-7AFF-4D5A-A1E9-06C746623E4C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429001" y="4041160"/>
            <a:ext cx="2510731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50" marR="0" lvl="3" indent="-169858" algn="l" defTabSz="882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FB91503-30B7-4FD7-846E-47F4CF9F474A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6244533" y="4041160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50" marR="0" lvl="3" indent="-169858" algn="l" defTabSz="882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E14F77AB-427A-46FA-9A58-62890F9733C1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9088317" y="4041160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50" marR="0" lvl="3" indent="-169858" algn="l" defTabSz="8821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72B32549-6990-4E43-A843-9EEA9CC29CF0}"/>
              </a:ext>
            </a:extLst>
          </p:cNvPr>
          <p:cNvSpPr>
            <a:spLocks noGrp="1"/>
          </p:cNvSpPr>
          <p:nvPr>
            <p:ph type="body" sz="half" idx="77" hasCustomPrompt="1"/>
          </p:nvPr>
        </p:nvSpPr>
        <p:spPr>
          <a:xfrm>
            <a:off x="577124" y="3429000"/>
            <a:ext cx="25146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A54DA02-E155-45D5-B886-1EDF7135C93F}"/>
              </a:ext>
            </a:extLst>
          </p:cNvPr>
          <p:cNvSpPr>
            <a:spLocks noGrp="1"/>
          </p:cNvSpPr>
          <p:nvPr>
            <p:ph type="body" sz="half" idx="78" hasCustomPrompt="1"/>
          </p:nvPr>
        </p:nvSpPr>
        <p:spPr>
          <a:xfrm>
            <a:off x="3429002" y="3429000"/>
            <a:ext cx="2514599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EC4E001-5A82-4221-8FE3-9B25D98B0EA9}"/>
              </a:ext>
            </a:extLst>
          </p:cNvPr>
          <p:cNvSpPr>
            <a:spLocks noGrp="1"/>
          </p:cNvSpPr>
          <p:nvPr>
            <p:ph type="body" sz="half" idx="79" hasCustomPrompt="1"/>
          </p:nvPr>
        </p:nvSpPr>
        <p:spPr>
          <a:xfrm>
            <a:off x="6244533" y="3426442"/>
            <a:ext cx="2511833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E779C7D-755B-428C-BB0F-6496238D6D83}"/>
              </a:ext>
            </a:extLst>
          </p:cNvPr>
          <p:cNvSpPr>
            <a:spLocks noGrp="1"/>
          </p:cNvSpPr>
          <p:nvPr>
            <p:ph type="body" sz="half" idx="80" hasCustomPrompt="1"/>
          </p:nvPr>
        </p:nvSpPr>
        <p:spPr>
          <a:xfrm>
            <a:off x="9088317" y="3426442"/>
            <a:ext cx="2511833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A758410-2F69-431F-99F7-B6259194CBFF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6028202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3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Blank">
    <p:bg>
      <p:bgPr>
        <a:solidFill>
          <a:srgbClr val="F7F7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8" name="Content"/>
          <p:cNvSpPr txBox="1">
            <a:spLocks noGrp="1"/>
          </p:cNvSpPr>
          <p:nvPr>
            <p:ph type="body" sz="quarter" idx="27"/>
          </p:nvPr>
        </p:nvSpPr>
        <p:spPr>
          <a:xfrm>
            <a:off x="594081" y="587356"/>
            <a:ext cx="1675139" cy="553998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defTabSz="1219139">
              <a:defRPr sz="3600" b="0">
                <a:solidFill>
                  <a:srgbClr val="38393A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9" name="Document title"/>
          <p:cNvSpPr txBox="1">
            <a:spLocks noGrp="1"/>
          </p:cNvSpPr>
          <p:nvPr>
            <p:ph type="body" sz="quarter" idx="28"/>
          </p:nvPr>
        </p:nvSpPr>
        <p:spPr>
          <a:xfrm>
            <a:off x="609001" y="1310992"/>
            <a:ext cx="1021113" cy="184666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algn="ctr" defTabSz="1219139">
              <a:defRPr sz="1200" b="0">
                <a:solidFill>
                  <a:srgbClr val="38393A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560886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  <p15:guide id="2" pos="7680">
          <p15:clr>
            <a:srgbClr val="FBAE40"/>
          </p15:clr>
        </p15:guide>
      </p15:sldGuideLst>
    </p:ext>
  </p:extLst>
</p:sldLayout>
</file>

<file path=ppt/slideLayouts/slideLayout1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AEEE0BE-B874-4CB1-92B1-404602B5CA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1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66" indent="-171446">
              <a:buFont typeface="Arial" panose="020B0604020202020204" pitchFamily="34" charset="0"/>
              <a:buChar char="•"/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B74128E-BA5E-4242-8B4E-D1F742670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1"/>
            <a:ext cx="5068699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613D29C-0961-4A3D-8A56-1E1B5BC7445C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1F61BA1-F848-4E08-8C07-5D6D5E6C0A8C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0308951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Slide_no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52A4EB7-82B0-CF4E-83D0-CC7D3CE82D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761FE31-6117-DE46-B84E-1A67E9C587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780" y="1063718"/>
            <a:ext cx="3131152" cy="386032"/>
          </a:xfrm>
          <a:prstGeom prst="rect">
            <a:avLst/>
          </a:prstGeom>
        </p:spPr>
      </p:pic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5" y="5745270"/>
            <a:ext cx="11061895" cy="384175"/>
          </a:xfrm>
          <a:prstGeom prst="rect">
            <a:avLst/>
          </a:prstGeom>
        </p:spPr>
        <p:txBody>
          <a:bodyPr lIns="0" tIns="45710" rIns="91420" bIns="45710" anchor="t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06001" y="4376433"/>
            <a:ext cx="6262488" cy="889615"/>
          </a:xfrm>
          <a:prstGeom prst="rect">
            <a:avLst/>
          </a:prstGeom>
        </p:spPr>
        <p:txBody>
          <a:bodyPr lIns="0" tIns="45710" rIns="91420" bIns="45710"/>
          <a:lstStyle>
            <a:lvl1pPr marL="0" indent="0">
              <a:buFont typeface="Arial" panose="020B0604020202020204" pitchFamily="34" charset="0"/>
              <a:buNone/>
              <a:defRPr sz="2400" b="0" i="0" baseline="0">
                <a:solidFill>
                  <a:schemeClr val="tx1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94780" y="2149234"/>
            <a:ext cx="6281936" cy="2198596"/>
          </a:xfrm>
          <a:prstGeom prst="rect">
            <a:avLst/>
          </a:prstGeom>
        </p:spPr>
        <p:txBody>
          <a:bodyPr lIns="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3733" b="0" i="0" spc="0" baseline="0">
                <a:solidFill>
                  <a:schemeClr val="tx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E7FBE17-7DE2-184F-BADA-7419399109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94331" y="6037383"/>
            <a:ext cx="793559" cy="414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72013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1199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769" indent="-156591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128" indent="-15235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399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485" indent="-152359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89844" indent="-152359"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202" indent="-152359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41155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769" indent="-156591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7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128" indent="-152359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399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485" indent="-152359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89844" indent="-152359"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202" indent="-152359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9" y="455086"/>
            <a:ext cx="11127319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FA0671BF-ADA2-8E47-387E-08AD816BAF9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067399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DDEF7496-FB76-482F-B4DC-5B78B30B1B0A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054F9D6-4889-4D51-9ADF-D453DFF1E8E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905001"/>
            <a:ext cx="12192000" cy="43053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algn="ctr"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3476B1-5604-4136-9D0F-58F8AF89B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CDEE37D-020A-4A22-922F-31441A6C8745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07532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A041BB60-92E2-E24D-A7E4-A3567C28152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63904" y="2518232"/>
            <a:ext cx="3501661" cy="1294891"/>
          </a:xfrm>
          <a:prstGeom prst="rect">
            <a:avLst/>
          </a:prstGeom>
          <a:solidFill>
            <a:srgbClr val="F2F2F2"/>
          </a:solidFill>
        </p:spPr>
        <p:txBody>
          <a:bodyPr anchor="t" anchorCtr="0">
            <a:noAutofit/>
          </a:bodyPr>
          <a:lstStyle>
            <a:lvl1pPr marL="0" indent="0" algn="ctr">
              <a:buNone/>
              <a:defRPr sz="2509" spc="-96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EDAD314-6F73-5C4E-93D2-9F6E7C78F6D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6" y="3857639"/>
            <a:ext cx="3363063" cy="51663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E5D9876C-926F-4148-B388-37AF2EC91BA9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5" y="3857643"/>
            <a:ext cx="3363063" cy="52199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A0EB0E0-8003-1149-85CF-5D63FB41C1C8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91" y="3853195"/>
            <a:ext cx="3363063" cy="52199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5C20FC9A-2038-AF44-9486-38D2103687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48115" y="2518232"/>
            <a:ext cx="3501661" cy="1294891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509" spc="-96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Insert image</a:t>
            </a:r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14AE4050-3A50-CC40-A2F2-6040AFDD5C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32320" y="2518232"/>
            <a:ext cx="3494627" cy="1294891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509" spc="-96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Insert imag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664EEB71-E7FA-45C6-8549-2F56C38185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0604"/>
            <a:ext cx="5390428" cy="143386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images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AD169A5A-D278-4C7A-80C6-4AAAFCE2E1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77CC832-63CA-4131-ABA9-356B02B9073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6" y="4605097"/>
            <a:ext cx="3363063" cy="16172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28" lvl="0" indent="-228528"/>
            <a:r>
              <a:rPr lang="en-US"/>
              <a:t>Click to edit Master text styles</a:t>
            </a:r>
          </a:p>
          <a:p>
            <a:pPr marL="228528" lvl="1" indent="-228528"/>
            <a:r>
              <a:rPr lang="en-US"/>
              <a:t>Second level</a:t>
            </a:r>
          </a:p>
          <a:p>
            <a:pPr marL="228528" lvl="2" indent="-228528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CD16B98-DFE6-42E9-983E-5855355500F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48115" y="4605097"/>
            <a:ext cx="3363063" cy="16172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28" lvl="0" indent="-228528"/>
            <a:r>
              <a:rPr lang="en-US"/>
              <a:t>Click to edit Master text styles</a:t>
            </a:r>
          </a:p>
          <a:p>
            <a:pPr marL="228528" lvl="1" indent="-228528"/>
            <a:r>
              <a:rPr lang="en-US"/>
              <a:t>Second level</a:t>
            </a:r>
          </a:p>
          <a:p>
            <a:pPr marL="228528" lvl="2" indent="-228528"/>
            <a:r>
              <a:rPr lang="en-US"/>
              <a:t>Thir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43A5D85-76F0-4FEF-A17F-4532934D5A5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25290" y="4605097"/>
            <a:ext cx="3363063" cy="16172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28" lvl="0" indent="-228528"/>
            <a:r>
              <a:rPr lang="en-US"/>
              <a:t>Click to edit Master text styles</a:t>
            </a:r>
          </a:p>
          <a:p>
            <a:pPr marL="228528" lvl="1" indent="-228528"/>
            <a:r>
              <a:rPr lang="en-US"/>
              <a:t>Second level</a:t>
            </a:r>
          </a:p>
          <a:p>
            <a:pPr marL="228528" lvl="2" indent="-228528"/>
            <a:r>
              <a:rPr lang="en-US"/>
              <a:t>Thir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B14B9EC-8559-42D6-A40F-F7BF924ADBA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460E3E07-D8B1-C822-FA62-D9A19AA39ACE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1142756" y="6383797"/>
            <a:ext cx="4534733" cy="164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defTabSz="8142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33" b="0" i="0" spc="27" baseline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CiscoSansTT Light" panose="020B0503020201020303" pitchFamily="34" charset="0"/>
              </a:rPr>
              <a:t>© 2022  Cisco and/or its affiliates. All rights reserved.   Cisco Confidential</a:t>
            </a:r>
          </a:p>
        </p:txBody>
      </p:sp>
      <p:pic>
        <p:nvPicPr>
          <p:cNvPr id="4" name="Picture 7">
            <a:extLst>
              <a:ext uri="{FF2B5EF4-FFF2-40B4-BE49-F238E27FC236}">
                <a16:creationId xmlns:a16="http://schemas.microsoft.com/office/drawing/2014/main" id="{8F91235C-4FF4-522A-5F10-729AFEB17F33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09605" y="6342699"/>
            <a:ext cx="396305" cy="2082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5091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>
                <a:solidFill>
                  <a:schemeClr val="tx1"/>
                </a:solidFill>
              </a:defRPr>
            </a:lvl1pPr>
          </a:lstStyle>
          <a:p>
            <a:pPr marL="0" lvl="0" indent="0" algn="ctr" defTabSz="926326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BA091B5-A806-4305-BC24-7E50D3D4B3A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5029200" cy="342228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/>
            </a:lvl1pPr>
            <a:lvl2pPr>
              <a:defRPr lang="en-US" sz="1067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84" lvl="0" indent="-228584"/>
            <a:r>
              <a:rPr lang="en-US"/>
              <a:t>Click to edit Master text styles</a:t>
            </a:r>
          </a:p>
          <a:p>
            <a:pPr marL="228584" lvl="1" indent="-228584"/>
            <a:r>
              <a:rPr lang="en-US"/>
              <a:t>Second level</a:t>
            </a:r>
          </a:p>
          <a:p>
            <a:pPr marL="228584" lvl="2" indent="-228584"/>
            <a:r>
              <a:rPr lang="en-US"/>
              <a:t>Third level</a:t>
            </a:r>
          </a:p>
          <a:p>
            <a:pPr marL="228584" lvl="3" indent="-228584"/>
            <a:r>
              <a:rPr lang="en-US"/>
              <a:t>Four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848DCA2-1B24-46EE-95C8-6D3E57E0DD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7" y="990601"/>
            <a:ext cx="5034827" cy="168467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99F7D69-A9F4-4F01-BFAC-42E7473B3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FBA21EC-AAEF-294C-876E-4C525D7D09F2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70E4E8C-5C8A-4A5C-9CB6-21983AE4806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174B9545-8347-4FBE-AFB1-341783CD0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978383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8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783270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13E34AB2-EB40-45F2-BAE7-A8136E51FF6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714582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  <a:p>
            <a:pPr marL="228594" lvl="3" indent="-228594">
              <a:lnSpc>
                <a:spcPct val="100000"/>
              </a:lnSpc>
            </a:pPr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2616182"/>
            <a:ext cx="3357020" cy="80327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EA591F5-58AE-D343-A6EB-87F69740E76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2620628"/>
            <a:ext cx="3357020" cy="80327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B8558003-6140-3442-986E-2C60FA775A53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2616182"/>
            <a:ext cx="3357020" cy="80327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FBBB06B7-9478-4C6F-9560-109718AC49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965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50389FDF-392D-4049-AC2A-1E9DF18496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4FBA21EC-AAEF-294C-876E-4C525D7D09F2}" type="slidenum">
              <a:rPr lang="nb-NO" smtClean="0"/>
              <a:t>‹#›</a:t>
            </a:fld>
            <a:endParaRPr lang="nb-NO"/>
          </a:p>
        </p:txBody>
      </p:sp>
      <p:sp>
        <p:nvSpPr>
          <p:cNvPr id="23" name="Content Placeholder 6">
            <a:extLst>
              <a:ext uri="{FF2B5EF4-FFF2-40B4-BE49-F238E27FC236}">
                <a16:creationId xmlns:a16="http://schemas.microsoft.com/office/drawing/2014/main" id="{5CF71C16-241D-4C12-986F-49C011B6FB62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111" y="3714582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  <a:p>
            <a:pPr marL="228594" lvl="3" indent="-228594">
              <a:lnSpc>
                <a:spcPct val="100000"/>
              </a:lnSpc>
            </a:pPr>
            <a:r>
              <a:rPr lang="en-US"/>
              <a:t>Fourth level</a:t>
            </a:r>
          </a:p>
        </p:txBody>
      </p:sp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DF591020-88DC-4E7B-BD72-36E6EB59E14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126438" y="3714582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  <a:p>
            <a:pPr marL="228594" lvl="3" indent="-228594">
              <a:lnSpc>
                <a:spcPct val="100000"/>
              </a:lnSpc>
            </a:pPr>
            <a:r>
              <a:rPr lang="en-US"/>
              <a:t>Four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383FF70-E831-4747-A153-F9977C8D40C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1ACA0FBF-BD85-4A2B-857C-5FEA45B4C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595044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_no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18B6A9C-4C1C-5C43-AB04-1CF5E247CF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761FE31-6117-DE46-B84E-1A67E9C587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780" y="1063718"/>
            <a:ext cx="3131152" cy="386032"/>
          </a:xfrm>
          <a:prstGeom prst="rect">
            <a:avLst/>
          </a:prstGeom>
        </p:spPr>
      </p:pic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5" y="5745270"/>
            <a:ext cx="11061895" cy="384175"/>
          </a:xfrm>
          <a:prstGeom prst="rect">
            <a:avLst/>
          </a:prstGeom>
        </p:spPr>
        <p:txBody>
          <a:bodyPr lIns="0" tIns="45710" rIns="91420" bIns="45710" anchor="t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06001" y="4376433"/>
            <a:ext cx="6262488" cy="889615"/>
          </a:xfrm>
          <a:prstGeom prst="rect">
            <a:avLst/>
          </a:prstGeom>
        </p:spPr>
        <p:txBody>
          <a:bodyPr lIns="0" tIns="45710" rIns="91420" bIns="45710"/>
          <a:lstStyle>
            <a:lvl1pPr marL="0" indent="0">
              <a:buFont typeface="Arial" panose="020B0604020202020204" pitchFamily="34" charset="0"/>
              <a:buNone/>
              <a:defRPr sz="2400" b="0" i="0" baseline="0">
                <a:solidFill>
                  <a:schemeClr val="tx1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94780" y="2149234"/>
            <a:ext cx="6281936" cy="2198596"/>
          </a:xfrm>
          <a:prstGeom prst="rect">
            <a:avLst/>
          </a:prstGeom>
        </p:spPr>
        <p:txBody>
          <a:bodyPr lIns="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3733" b="0" i="0" spc="0" baseline="0">
                <a:solidFill>
                  <a:schemeClr val="tx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E7FBE17-7DE2-184F-BADA-7419399109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94331" y="6037383"/>
            <a:ext cx="793559" cy="414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313250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7" y="1435770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A832AD-9020-43CC-9118-CF9573E3613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9C3388C-D351-41C3-8A5A-719088525C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bg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8FF48E17-5F97-4F10-BA4E-743A412EE4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78C9D1-477C-4088-B4A6-993E397641F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35105662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_no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A62BA1DC-6A43-5E4C-B13B-6F26211CD4B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761FE31-6117-DE46-B84E-1A67E9C587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780" y="1063718"/>
            <a:ext cx="3131152" cy="386032"/>
          </a:xfrm>
          <a:prstGeom prst="rect">
            <a:avLst/>
          </a:prstGeom>
        </p:spPr>
      </p:pic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5" y="5745270"/>
            <a:ext cx="11061895" cy="384175"/>
          </a:xfrm>
          <a:prstGeom prst="rect">
            <a:avLst/>
          </a:prstGeom>
        </p:spPr>
        <p:txBody>
          <a:bodyPr lIns="0" tIns="45710" rIns="91420" bIns="45710" anchor="t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06001" y="4376433"/>
            <a:ext cx="6262488" cy="889615"/>
          </a:xfrm>
          <a:prstGeom prst="rect">
            <a:avLst/>
          </a:prstGeom>
        </p:spPr>
        <p:txBody>
          <a:bodyPr lIns="0" tIns="45710" rIns="91420" bIns="45710"/>
          <a:lstStyle>
            <a:lvl1pPr marL="0" indent="0">
              <a:buFont typeface="Arial" panose="020B0604020202020204" pitchFamily="34" charset="0"/>
              <a:buNone/>
              <a:defRPr sz="2400" b="0" i="0" baseline="0">
                <a:solidFill>
                  <a:schemeClr val="tx1"/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94780" y="2149234"/>
            <a:ext cx="6281936" cy="2198596"/>
          </a:xfrm>
          <a:prstGeom prst="rect">
            <a:avLst/>
          </a:prstGeom>
        </p:spPr>
        <p:txBody>
          <a:bodyPr lIns="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3733" b="0" i="0" spc="0" baseline="0">
                <a:solidFill>
                  <a:schemeClr val="tx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E7FBE17-7DE2-184F-BADA-7419399109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94331" y="6037383"/>
            <a:ext cx="793559" cy="414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24758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9692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4613" indent="219075">
              <a:lnSpc>
                <a:spcPct val="100000"/>
              </a:lnSpc>
              <a:spcBef>
                <a:spcPts val="148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tabLst/>
              <a:defRPr sz="2133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88938" indent="190500">
              <a:lnSpc>
                <a:spcPct val="100000"/>
              </a:lnSpc>
              <a:spcBef>
                <a:spcPts val="60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tx1"/>
                </a:solidFill>
                <a:latin typeface="+mn-lt"/>
                <a:ea typeface="CiscoSansTT" panose="020B0503020201020303" pitchFamily="34" charset="0"/>
                <a:cs typeface="CiscoSansTT Thin" charset="0"/>
              </a:defRPr>
            </a:lvl2pPr>
            <a:lvl3pPr marL="914377" indent="-146047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Char char="•"/>
              <a:defRPr sz="14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Char char="•"/>
              <a:defRPr sz="1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Footer Placeholder 7">
            <a:extLst>
              <a:ext uri="{FF2B5EF4-FFF2-40B4-BE49-F238E27FC236}">
                <a16:creationId xmlns:a16="http://schemas.microsoft.com/office/drawing/2014/main" id="{4EF6B68D-0B38-B149-9386-D916514FB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2" y="6376757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73EE3F-4F93-4D4B-9DE7-44ABAA578D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8" y="6448093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9774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Footer Placeholder 7">
            <a:extLst>
              <a:ext uri="{FF2B5EF4-FFF2-40B4-BE49-F238E27FC236}">
                <a16:creationId xmlns:a16="http://schemas.microsoft.com/office/drawing/2014/main" id="{4EF6B68D-0B38-B149-9386-D916514FB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2" y="6376757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73EE3F-4F93-4D4B-9DE7-44ABAA578D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8" y="6448093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0178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7">
            <a:extLst>
              <a:ext uri="{FF2B5EF4-FFF2-40B4-BE49-F238E27FC236}">
                <a16:creationId xmlns:a16="http://schemas.microsoft.com/office/drawing/2014/main" id="{4EF6B68D-0B38-B149-9386-D916514FB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2" y="6376757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73EE3F-4F93-4D4B-9DE7-44ABAA578D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8" y="6448093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8611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_no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 descr="Icon&#10;&#10;Description automatically generated">
            <a:extLst>
              <a:ext uri="{FF2B5EF4-FFF2-40B4-BE49-F238E27FC236}">
                <a16:creationId xmlns:a16="http://schemas.microsoft.com/office/drawing/2014/main" id="{4D06C2B4-BC03-9044-962E-9FB96E77F54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4780" y="5456055"/>
            <a:ext cx="522677" cy="522677"/>
          </a:xfrm>
          <a:prstGeom prst="rect">
            <a:avLst/>
          </a:prstGeom>
        </p:spPr>
      </p:pic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06002" y="4376433"/>
            <a:ext cx="7388357" cy="889615"/>
          </a:xfrm>
          <a:prstGeom prst="rect">
            <a:avLst/>
          </a:prstGeom>
        </p:spPr>
        <p:txBody>
          <a:bodyPr lIns="0" tIns="45710" rIns="0" bIns="45710"/>
          <a:lstStyle>
            <a:lvl1pPr marL="0" indent="0">
              <a:buFont typeface="Arial" panose="020B0604020202020204" pitchFamily="34" charset="0"/>
              <a:buNone/>
              <a:defRPr sz="2400" b="0" i="0" baseline="0">
                <a:solidFill>
                  <a:schemeClr val="bg2">
                    <a:lumMod val="75000"/>
                  </a:schemeClr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94780" y="2149234"/>
            <a:ext cx="7411301" cy="2198596"/>
          </a:xfrm>
          <a:prstGeom prst="rect">
            <a:avLst/>
          </a:prstGeom>
        </p:spPr>
        <p:txBody>
          <a:bodyPr lIns="0" rIns="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3733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6BF9FD0-92B7-B345-8C16-CD73AABE9EE0}"/>
              </a:ext>
            </a:extLst>
          </p:cNvPr>
          <p:cNvSpPr/>
          <p:nvPr/>
        </p:nvSpPr>
        <p:spPr>
          <a:xfrm>
            <a:off x="1117457" y="5512208"/>
            <a:ext cx="3526152" cy="379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1867">
                <a:solidFill>
                  <a:schemeClr val="bg2"/>
                </a:solidFill>
                <a:latin typeface="CiscoSans" panose="020B0503020201020303" pitchFamily="34" charset="0"/>
              </a:rPr>
              <a:t>Channel Partners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EB612D1-AE41-A44B-94A6-E2865374ED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780" y="1063718"/>
            <a:ext cx="3131152" cy="38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68512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_no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06002" y="4376433"/>
            <a:ext cx="7388357" cy="889615"/>
          </a:xfrm>
          <a:prstGeom prst="rect">
            <a:avLst/>
          </a:prstGeom>
        </p:spPr>
        <p:txBody>
          <a:bodyPr lIns="0" tIns="45710" rIns="91420" bIns="45710"/>
          <a:lstStyle>
            <a:lvl1pPr marL="0" indent="0">
              <a:buFont typeface="Arial" panose="020B0604020202020204" pitchFamily="34" charset="0"/>
              <a:buNone/>
              <a:defRPr sz="2400" b="0" i="0" baseline="0">
                <a:solidFill>
                  <a:schemeClr val="bg2">
                    <a:lumMod val="75000"/>
                  </a:schemeClr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94780" y="2149234"/>
            <a:ext cx="7411301" cy="2198596"/>
          </a:xfrm>
          <a:prstGeom prst="rect">
            <a:avLst/>
          </a:prstGeom>
        </p:spPr>
        <p:txBody>
          <a:bodyPr lIns="0" rIns="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3733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1BBE2ADD-D4FD-0E44-B668-D2B9B9CE362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06002" y="5444342"/>
            <a:ext cx="522677" cy="522677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4D0594E1-7B5B-A641-ABAC-FD37E03337C3}"/>
              </a:ext>
            </a:extLst>
          </p:cNvPr>
          <p:cNvSpPr/>
          <p:nvPr/>
        </p:nvSpPr>
        <p:spPr>
          <a:xfrm>
            <a:off x="1117457" y="5512209"/>
            <a:ext cx="3526152" cy="379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1867">
                <a:solidFill>
                  <a:schemeClr val="bg2"/>
                </a:solidFill>
                <a:latin typeface="CiscoSans" panose="020B0503020201020303" pitchFamily="34" charset="0"/>
              </a:rPr>
              <a:t>Seamless Collaboration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FD74373-4504-5949-A095-9F5A6E1B8F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780" y="1063718"/>
            <a:ext cx="3131152" cy="38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61980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Slide_no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>
            <a:extLst>
              <a:ext uri="{FF2B5EF4-FFF2-40B4-BE49-F238E27FC236}">
                <a16:creationId xmlns:a16="http://schemas.microsoft.com/office/drawing/2014/main" id="{C52A4EB7-82B0-CF4E-83D0-CC7D3CE82D0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94780" y="2329702"/>
            <a:ext cx="6281936" cy="2198596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3733" b="0" i="0" spc="0" baseline="0">
                <a:solidFill>
                  <a:schemeClr val="tx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Segue slide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56594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Title Slide_no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418B6A9C-4C1C-5C43-AB04-1CF5E247CF9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94780" y="2329702"/>
            <a:ext cx="6281936" cy="2198596"/>
          </a:xfrm>
          <a:prstGeom prst="rect">
            <a:avLst/>
          </a:prstGeom>
        </p:spPr>
        <p:txBody>
          <a:bodyPr lIns="0" anchor="ctr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3733" b="0" i="0" spc="0" baseline="0">
                <a:solidFill>
                  <a:schemeClr val="tx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Segue slide tit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249961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Hero Slide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7C5D9BEC-BDB6-4847-ABF5-48B2722112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04E3CF6-D789-5144-8251-15FA1A467F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99221" y="6037383"/>
            <a:ext cx="793559" cy="41498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9FD3DE6-4734-4244-8353-986F5D1718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41796" y="2971800"/>
            <a:ext cx="3708408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21921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_no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6D6B4FF0-7568-9041-A005-67D3FA343797}"/>
              </a:ext>
            </a:extLst>
          </p:cNvPr>
          <p:cNvSpPr/>
          <p:nvPr/>
        </p:nvSpPr>
        <p:spPr>
          <a:xfrm>
            <a:off x="-1" y="0"/>
            <a:ext cx="2900856" cy="6858000"/>
          </a:xfrm>
          <a:prstGeom prst="rect">
            <a:avLst/>
          </a:prstGeom>
          <a:gradFill>
            <a:gsLst>
              <a:gs pos="0">
                <a:srgbClr val="151826">
                  <a:alpha val="20000"/>
                </a:srgbClr>
              </a:gs>
              <a:gs pos="100000">
                <a:srgbClr val="151826">
                  <a:alpha val="0"/>
                </a:srgbClr>
              </a:gs>
            </a:gsLst>
            <a:lin ang="0" scaled="0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pic>
        <p:nvPicPr>
          <p:cNvPr id="11" name="Picture 10" descr="Icon&#10;&#10;Description automatically generated">
            <a:extLst>
              <a:ext uri="{FF2B5EF4-FFF2-40B4-BE49-F238E27FC236}">
                <a16:creationId xmlns:a16="http://schemas.microsoft.com/office/drawing/2014/main" id="{57A04E94-21CD-6D41-A851-2ECE695BDD7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94780" y="5444342"/>
            <a:ext cx="522677" cy="522677"/>
          </a:xfrm>
          <a:prstGeom prst="rect">
            <a:avLst/>
          </a:prstGeom>
        </p:spPr>
      </p:pic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06002" y="4376433"/>
            <a:ext cx="7388357" cy="889615"/>
          </a:xfrm>
          <a:prstGeom prst="rect">
            <a:avLst/>
          </a:prstGeom>
        </p:spPr>
        <p:txBody>
          <a:bodyPr lIns="0" tIns="45710" rIns="91420" bIns="45710"/>
          <a:lstStyle>
            <a:lvl1pPr marL="0" indent="0">
              <a:buFont typeface="Arial" panose="020B0604020202020204" pitchFamily="34" charset="0"/>
              <a:buNone/>
              <a:defRPr sz="2400" b="0" i="0" baseline="0">
                <a:solidFill>
                  <a:schemeClr val="bg2">
                    <a:lumMod val="75000"/>
                  </a:schemeClr>
                </a:solidFill>
                <a:latin typeface="+mj-lt"/>
                <a:cs typeface="CiscoSansTT ExtraLight"/>
              </a:defRPr>
            </a:lvl1pPr>
            <a:lvl2pPr marL="406365" indent="0">
              <a:buNone/>
              <a:defRPr/>
            </a:lvl2pPr>
            <a:lvl3pPr marL="569854" indent="0">
              <a:buNone/>
              <a:defRPr/>
            </a:lvl3pPr>
            <a:lvl4pPr marL="688908" indent="0">
              <a:buNone/>
              <a:defRPr/>
            </a:lvl4pPr>
            <a:lvl5pPr marL="80160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94780" y="2149234"/>
            <a:ext cx="7411301" cy="2198596"/>
          </a:xfrm>
          <a:prstGeom prst="rect">
            <a:avLst/>
          </a:prstGeom>
        </p:spPr>
        <p:txBody>
          <a:bodyPr lIns="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3733" b="0" i="0" spc="0" baseline="0">
                <a:solidFill>
                  <a:schemeClr val="bg2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E130F2AA-145A-3644-BB11-2C3E92E6D792}"/>
              </a:ext>
            </a:extLst>
          </p:cNvPr>
          <p:cNvSpPr/>
          <p:nvPr/>
        </p:nvSpPr>
        <p:spPr>
          <a:xfrm>
            <a:off x="1117457" y="5512208"/>
            <a:ext cx="3526152" cy="37965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l"/>
            <a:r>
              <a:rPr lang="en-US" sz="1867">
                <a:solidFill>
                  <a:schemeClr val="bg2"/>
                </a:solidFill>
                <a:latin typeface="CiscoSans" panose="020B0503020201020303" pitchFamily="34" charset="0"/>
              </a:rPr>
              <a:t>Customer Experience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F58D302A-4F5F-DD4F-AA5B-26EB6061D9F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780" y="1063718"/>
            <a:ext cx="3131152" cy="38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04983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R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7" y="1435770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568E111-65BF-4A46-8EAE-312C901D58C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99EEAE5F-ECFF-4F72-96BB-3224A53463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bg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0D416E35-5B7F-4B60-AA20-B7D96C3AAF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1D93D2D-5BCB-4781-AF52-A821F4FEE7E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740083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hannel_partn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24BBD296-8250-004C-A2AD-0E1B5245BFC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681490" y="6488066"/>
            <a:ext cx="1115568" cy="137536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71B889C9-8957-E644-A85F-E7B324762F3F}"/>
              </a:ext>
            </a:extLst>
          </p:cNvPr>
          <p:cNvSpPr/>
          <p:nvPr/>
        </p:nvSpPr>
        <p:spPr>
          <a:xfrm>
            <a:off x="866037" y="3877327"/>
            <a:ext cx="522996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>
                <a:solidFill>
                  <a:schemeClr val="bg2"/>
                </a:solidFill>
                <a:latin typeface="CiscoSans" panose="020B0503020201020303" pitchFamily="34" charset="0"/>
              </a:rPr>
              <a:t>Channel Partners</a:t>
            </a:r>
          </a:p>
        </p:txBody>
      </p:sp>
      <p:pic>
        <p:nvPicPr>
          <p:cNvPr id="12" name="Picture 11" descr="Icon&#10;&#10;Description automatically generated">
            <a:extLst>
              <a:ext uri="{FF2B5EF4-FFF2-40B4-BE49-F238E27FC236}">
                <a16:creationId xmlns:a16="http://schemas.microsoft.com/office/drawing/2014/main" id="{63E51C5A-D6E6-EB4B-A61A-5B1E08DA8D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993337" y="2375753"/>
            <a:ext cx="975360" cy="97536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34759906-3429-494D-8FB2-6A06D32D02BD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786132" y="6453822"/>
            <a:ext cx="5610304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ctr">
            <a:spAutoFit/>
          </a:bodyPr>
          <a:lstStyle/>
          <a:p>
            <a:pPr algn="l"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0" baseline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|        © 2020  Cisco and/or its affiliates. All rights reserved. Cisco Confidential</a:t>
            </a:r>
          </a:p>
        </p:txBody>
      </p:sp>
      <p:sp>
        <p:nvSpPr>
          <p:cNvPr id="13" name="Footer Placeholder 7">
            <a:extLst>
              <a:ext uri="{FF2B5EF4-FFF2-40B4-BE49-F238E27FC236}">
                <a16:creationId xmlns:a16="http://schemas.microsoft.com/office/drawing/2014/main" id="{328F27B9-EA60-ED48-8C1F-BA79DBDD4B8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2" y="6376757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8284676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hannel_collabora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icture 13" descr="Icon&#10;&#10;Description automatically generated">
            <a:extLst>
              <a:ext uri="{FF2B5EF4-FFF2-40B4-BE49-F238E27FC236}">
                <a16:creationId xmlns:a16="http://schemas.microsoft.com/office/drawing/2014/main" id="{FB074358-1754-4247-99CA-4F8C1B2DCB3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93337" y="2375753"/>
            <a:ext cx="975360" cy="975360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B4511BA2-87CA-DA43-8805-A30BD78EE9E8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786132" y="6453822"/>
            <a:ext cx="5610304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ctr">
            <a:spAutoFit/>
          </a:bodyPr>
          <a:lstStyle/>
          <a:p>
            <a:pPr algn="l"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0" baseline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|        © 2020  Cisco and/or its affiliates. All rights reserved. Cisco Confidential</a:t>
            </a:r>
          </a:p>
        </p:txBody>
      </p:sp>
      <p:sp>
        <p:nvSpPr>
          <p:cNvPr id="13" name="Footer Placeholder 7">
            <a:extLst>
              <a:ext uri="{FF2B5EF4-FFF2-40B4-BE49-F238E27FC236}">
                <a16:creationId xmlns:a16="http://schemas.microsoft.com/office/drawing/2014/main" id="{515B10BF-10C4-FA4E-B679-ACA2CF6ADF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2" y="6376757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8BB4E6DF-3C01-9943-AA27-E8E714EE2037}"/>
              </a:ext>
            </a:extLst>
          </p:cNvPr>
          <p:cNvSpPr/>
          <p:nvPr/>
        </p:nvSpPr>
        <p:spPr>
          <a:xfrm>
            <a:off x="866037" y="3877327"/>
            <a:ext cx="522996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>
                <a:solidFill>
                  <a:schemeClr val="bg2"/>
                </a:solidFill>
                <a:latin typeface="CiscoSans" panose="020B0503020201020303" pitchFamily="34" charset="0"/>
              </a:rPr>
              <a:t>Seamless Collaboration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BF95693-8533-F440-A962-A454A816340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25458" y="6448093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4704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Channel_customer ex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AE42B0CE-6CDC-C14A-B9C0-5CBCA38C9FD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93337" y="2375753"/>
            <a:ext cx="975360" cy="975360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4191656-8EAC-854F-A77A-F8043DF053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2" y="6376757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FAFBA5B-51F5-7146-8631-9D24BA43BAC5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786132" y="6453822"/>
            <a:ext cx="5610304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ctr">
            <a:spAutoFit/>
          </a:bodyPr>
          <a:lstStyle/>
          <a:p>
            <a:pPr algn="l"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0" baseline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|        © 2020  Cisco and/or its affiliates. All rights reserved. Cisco Confidential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9B7EAE12-7451-5543-9BF4-19D2D9B7D34C}"/>
              </a:ext>
            </a:extLst>
          </p:cNvPr>
          <p:cNvSpPr/>
          <p:nvPr/>
        </p:nvSpPr>
        <p:spPr>
          <a:xfrm>
            <a:off x="866037" y="3877327"/>
            <a:ext cx="5229964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>
                <a:solidFill>
                  <a:schemeClr val="bg2"/>
                </a:solidFill>
                <a:latin typeface="CiscoSans" panose="020B0503020201020303" pitchFamily="34" charset="0"/>
              </a:rPr>
              <a:t>Customer Experienc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E919BC9C-78BB-1546-873D-BDB27925915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425458" y="6448093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22634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666751" y="5233661"/>
            <a:ext cx="10852149" cy="663195"/>
          </a:xfrm>
          <a:prstGeom prst="rect">
            <a:avLst/>
          </a:prstGeom>
          <a:noFill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3867"/>
              </a:lnSpc>
              <a:spcBef>
                <a:spcPts val="0"/>
              </a:spcBef>
              <a:buNone/>
              <a:defRPr sz="3200" i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71F19A2-04FD-5B43-ACB4-E16660D3C59A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786132" y="6453822"/>
            <a:ext cx="5610304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ctr">
            <a:spAutoFit/>
          </a:bodyPr>
          <a:lstStyle/>
          <a:p>
            <a:pPr algn="l"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0" baseline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|        © 2020  Cisco and/or its affiliates. All rights reserved. Cisco Confidentia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92C7A98-06DA-5F4C-811C-C046EE87617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2" y="6376757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pPr algn="l"/>
            <a:fld id="{07AB022D-6AB5-0742-A695-7213B7438632}" type="slidenum">
              <a:rPr lang="en-US" smtClean="0"/>
              <a:pPr algn="l"/>
              <a:t>‹#›</a:t>
            </a:fld>
            <a:endParaRPr lang="en-US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FF09692-FC98-2441-85DC-6735300B453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8" y="6448093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03741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6464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1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D35D5DC3-9676-AC4C-AEE9-33B7289A3252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786132" y="6453822"/>
            <a:ext cx="5610304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ctr">
            <a:spAutoFit/>
          </a:bodyPr>
          <a:lstStyle/>
          <a:p>
            <a:pPr algn="l"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0" baseline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CiscoSans Thin"/>
              </a:rPr>
              <a:t>|        © 2020  Cisco and/or its affiliates. All rights reserved. Cisco Confidential</a:t>
            </a:r>
          </a:p>
        </p:txBody>
      </p:sp>
      <p:sp>
        <p:nvSpPr>
          <p:cNvPr id="6" name="Footer Placeholder 7">
            <a:extLst>
              <a:ext uri="{FF2B5EF4-FFF2-40B4-BE49-F238E27FC236}">
                <a16:creationId xmlns:a16="http://schemas.microsoft.com/office/drawing/2014/main" id="{10216F25-DA74-A044-81B0-73B555DEDE7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2" y="6376757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38FFFD5-B420-AB4A-825C-B8D94FC067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8" y="6448093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8849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9692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8" indent="0">
              <a:lnSpc>
                <a:spcPct val="100000"/>
              </a:lnSpc>
              <a:spcBef>
                <a:spcPts val="148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2133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89457" indent="0">
              <a:lnSpc>
                <a:spcPct val="100000"/>
              </a:lnSpc>
              <a:spcBef>
                <a:spcPts val="60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377EFF"/>
                </a:solidFill>
                <a:latin typeface="CiscoSansTT" panose="020B0503020201020303" pitchFamily="34" charset="0"/>
                <a:ea typeface="CiscoSansTT" panose="020B0503020201020303" pitchFamily="34" charset="0"/>
                <a:cs typeface="CiscoSansTT Thin" charset="0"/>
              </a:defRPr>
            </a:lvl2pPr>
            <a:lvl3pPr marL="914377" indent="-146047">
              <a:lnSpc>
                <a:spcPct val="100000"/>
              </a:lnSpc>
              <a:spcAft>
                <a:spcPts val="267"/>
              </a:spcAft>
              <a:buClr>
                <a:schemeClr val="bg2"/>
              </a:buClr>
              <a:buSzPct val="80000"/>
              <a:buFont typeface="Arial"/>
              <a:buChar char="•"/>
              <a:defRPr sz="1600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lnSpc>
                <a:spcPct val="100000"/>
              </a:lnSpc>
              <a:spcAft>
                <a:spcPts val="267"/>
              </a:spcAft>
              <a:buClr>
                <a:schemeClr val="bg2"/>
              </a:buClr>
              <a:buSzPct val="80000"/>
              <a:buFont typeface="Arial"/>
              <a:buChar char="•"/>
              <a:defRPr sz="1467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lnSpc>
                <a:spcPct val="100000"/>
              </a:lnSpc>
              <a:spcAft>
                <a:spcPts val="267"/>
              </a:spcAft>
              <a:buClr>
                <a:schemeClr val="bg2"/>
              </a:buClr>
              <a:buSzPct val="80000"/>
              <a:buFont typeface="Arial"/>
              <a:buChar char="•"/>
              <a:defRPr sz="1400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Footer Placeholder 7">
            <a:extLst>
              <a:ext uri="{FF2B5EF4-FFF2-40B4-BE49-F238E27FC236}">
                <a16:creationId xmlns:a16="http://schemas.microsoft.com/office/drawing/2014/main" id="{4EF6B68D-0B38-B149-9386-D916514FB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2" y="6376757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BC50E78-6603-8946-B0C7-9E6DEF02FC9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8" y="6448093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89746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9693" y="1602317"/>
            <a:ext cx="5536308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8" indent="0">
              <a:lnSpc>
                <a:spcPct val="100000"/>
              </a:lnSpc>
              <a:spcBef>
                <a:spcPts val="148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2133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89457" indent="0">
              <a:lnSpc>
                <a:spcPct val="100000"/>
              </a:lnSpc>
              <a:spcBef>
                <a:spcPts val="60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377EFF"/>
                </a:solidFill>
                <a:latin typeface="CiscoSansTT" panose="020B0503020201020303" pitchFamily="34" charset="0"/>
                <a:ea typeface="CiscoSansTT" panose="020B0503020201020303" pitchFamily="34" charset="0"/>
                <a:cs typeface="CiscoSansTT Thin" charset="0"/>
              </a:defRPr>
            </a:lvl2pPr>
            <a:lvl3pPr marL="914377" indent="-146047">
              <a:lnSpc>
                <a:spcPct val="100000"/>
              </a:lnSpc>
              <a:spcAft>
                <a:spcPts val="267"/>
              </a:spcAft>
              <a:buClrTx/>
              <a:buSzPct val="80000"/>
              <a:buFont typeface="Arial"/>
              <a:buChar char="•"/>
              <a:defRPr sz="1600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lnSpc>
                <a:spcPct val="100000"/>
              </a:lnSpc>
              <a:spcAft>
                <a:spcPts val="267"/>
              </a:spcAft>
              <a:buClrTx/>
              <a:buSzPct val="80000"/>
              <a:buFont typeface="Arial"/>
              <a:buChar char="•"/>
              <a:defRPr sz="1467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lnSpc>
                <a:spcPct val="100000"/>
              </a:lnSpc>
              <a:spcAft>
                <a:spcPts val="267"/>
              </a:spcAft>
              <a:buClrTx/>
              <a:buSzPct val="80000"/>
              <a:buFont typeface="Arial"/>
              <a:buChar char="•"/>
              <a:defRPr sz="1400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3FA85750-0F54-384A-A770-E5D82BB4ED0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178615" y="1602317"/>
            <a:ext cx="5536308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8" indent="0">
              <a:lnSpc>
                <a:spcPct val="100000"/>
              </a:lnSpc>
              <a:spcBef>
                <a:spcPts val="148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2133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89457" indent="0">
              <a:lnSpc>
                <a:spcPct val="100000"/>
              </a:lnSpc>
              <a:spcBef>
                <a:spcPts val="60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377EFF"/>
                </a:solidFill>
                <a:latin typeface="CiscoSansTT" panose="020B0503020201020303" pitchFamily="34" charset="0"/>
                <a:ea typeface="CiscoSansTT" panose="020B0503020201020303" pitchFamily="34" charset="0"/>
                <a:cs typeface="CiscoSansTT Thin" charset="0"/>
              </a:defRPr>
            </a:lvl2pPr>
            <a:lvl3pPr marL="914377" indent="-146047">
              <a:lnSpc>
                <a:spcPct val="100000"/>
              </a:lnSpc>
              <a:spcAft>
                <a:spcPts val="267"/>
              </a:spcAft>
              <a:buClrTx/>
              <a:buSzPct val="80000"/>
              <a:buFont typeface="Arial"/>
              <a:buChar char="•"/>
              <a:defRPr sz="1600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>
              <a:lnSpc>
                <a:spcPct val="100000"/>
              </a:lnSpc>
              <a:spcAft>
                <a:spcPts val="267"/>
              </a:spcAft>
              <a:buClrTx/>
              <a:buSzPct val="80000"/>
              <a:buFont typeface="Arial"/>
              <a:buChar char="•"/>
              <a:defRPr sz="1467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>
              <a:lnSpc>
                <a:spcPct val="100000"/>
              </a:lnSpc>
              <a:spcAft>
                <a:spcPts val="267"/>
              </a:spcAft>
              <a:buClrTx/>
              <a:buSzPct val="80000"/>
              <a:buFont typeface="Arial"/>
              <a:buChar char="•"/>
              <a:defRPr sz="1400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0A2155F-0D52-3448-8C40-A95DC29C29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2" y="6376757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FB765AE-A58B-6144-B40A-EA3ED83A377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8" y="6448093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85085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hart Placeholder 2">
            <a:extLst>
              <a:ext uri="{FF2B5EF4-FFF2-40B4-BE49-F238E27FC236}">
                <a16:creationId xmlns:a16="http://schemas.microsoft.com/office/drawing/2014/main" id="{13F0808E-84F3-4740-B2E5-C498F16766A2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711200" y="1602318"/>
            <a:ext cx="10820400" cy="3744383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A6DE04EB-9E12-6049-A6BE-E7E09EB4958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83690" y="5530961"/>
            <a:ext cx="9573749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67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EDA27A-A392-5342-A1B3-CEAB52717D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3688" y="455085"/>
            <a:ext cx="10947912" cy="975783"/>
          </a:xfrm>
        </p:spPr>
        <p:txBody>
          <a:bodyPr lIns="9144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Footer Placeholder 7">
            <a:extLst>
              <a:ext uri="{FF2B5EF4-FFF2-40B4-BE49-F238E27FC236}">
                <a16:creationId xmlns:a16="http://schemas.microsoft.com/office/drawing/2014/main" id="{5A3156D6-23FC-6742-9B5E-6DF94EEC539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2" y="6376757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11212F2-FF77-2440-A190-709AA6C31E8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8" y="6448093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58277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EDA27A-A392-5342-A1B3-CEAB52717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0DD85D7D-8014-EE4B-8539-D9E68001CE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59694" y="1659117"/>
            <a:ext cx="3381241" cy="44622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60958" indent="0">
              <a:lnSpc>
                <a:spcPct val="114000"/>
              </a:lnSpc>
              <a:spcBef>
                <a:spcPts val="1480"/>
              </a:spcBef>
              <a:spcAft>
                <a:spcPts val="533"/>
              </a:spcAft>
              <a:buClr>
                <a:schemeClr val="tx1"/>
              </a:buClr>
              <a:buSzPct val="80000"/>
              <a:buFont typeface="Arial"/>
              <a:buNone/>
              <a:defRPr sz="2133" b="0" i="0">
                <a:solidFill>
                  <a:schemeClr val="bg2"/>
                </a:solidFill>
                <a:latin typeface="+mn-lt"/>
                <a:ea typeface="CiscoSansTT" panose="020B0503020201020303" pitchFamily="34" charset="0"/>
                <a:cs typeface="CiscoSansTT Thin" charset="0"/>
              </a:defRPr>
            </a:lvl1pPr>
            <a:lvl2pPr marL="60958" indent="0">
              <a:lnSpc>
                <a:spcPct val="114000"/>
              </a:lnSpc>
              <a:spcBef>
                <a:spcPts val="600"/>
              </a:spcBef>
              <a:spcAft>
                <a:spcPts val="533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chemeClr val="bg2">
                    <a:lumMod val="75000"/>
                  </a:schemeClr>
                </a:solidFill>
                <a:latin typeface="+mn-lt"/>
                <a:ea typeface="CiscoSansTT Light" panose="020B0503020201020303" pitchFamily="34" charset="0"/>
                <a:cs typeface="CiscoSansTT Thin" charset="0"/>
              </a:defRPr>
            </a:lvl2pPr>
            <a:lvl3pPr marL="768330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2133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86135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867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218916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Section headline</a:t>
            </a:r>
          </a:p>
          <a:p>
            <a:pPr lvl="1"/>
            <a:r>
              <a:rPr lang="en-GB"/>
              <a:t>Description copy goes here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0DEAE0E-1AB7-3344-BDC1-90D4D011F76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41289" y="1659117"/>
            <a:ext cx="3381241" cy="44622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60958" indent="0">
              <a:lnSpc>
                <a:spcPct val="114000"/>
              </a:lnSpc>
              <a:spcBef>
                <a:spcPts val="1480"/>
              </a:spcBef>
              <a:spcAft>
                <a:spcPts val="533"/>
              </a:spcAft>
              <a:buClr>
                <a:schemeClr val="tx1"/>
              </a:buClr>
              <a:buSzPct val="80000"/>
              <a:buFont typeface="Arial"/>
              <a:buNone/>
              <a:defRPr sz="2133" b="0" i="0">
                <a:solidFill>
                  <a:schemeClr val="bg2"/>
                </a:solidFill>
                <a:latin typeface="+mj-lt"/>
                <a:ea typeface="CiscoSansTT" panose="020B0503020201020303" pitchFamily="34" charset="0"/>
                <a:cs typeface="CiscoSansTT Thin" charset="0"/>
              </a:defRPr>
            </a:lvl1pPr>
            <a:lvl2pPr marL="60958" indent="0">
              <a:lnSpc>
                <a:spcPct val="114000"/>
              </a:lnSpc>
              <a:spcBef>
                <a:spcPts val="600"/>
              </a:spcBef>
              <a:spcAft>
                <a:spcPts val="533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chemeClr val="bg2">
                    <a:lumMod val="75000"/>
                  </a:schemeClr>
                </a:solidFill>
                <a:latin typeface="+mn-lt"/>
                <a:ea typeface="CiscoSansTT Light" panose="020B0503020201020303" pitchFamily="34" charset="0"/>
                <a:cs typeface="CiscoSansTT Thin" charset="0"/>
              </a:defRPr>
            </a:lvl2pPr>
            <a:lvl3pPr marL="768330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2133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86135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867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218916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Section headline</a:t>
            </a:r>
          </a:p>
          <a:p>
            <a:pPr lvl="1"/>
            <a:r>
              <a:rPr lang="en-GB"/>
              <a:t>Description copy goes her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162E090C-AADF-DD41-8499-7A0E131566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36022" y="1659117"/>
            <a:ext cx="3381241" cy="44622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60958" indent="0">
              <a:lnSpc>
                <a:spcPct val="114000"/>
              </a:lnSpc>
              <a:spcBef>
                <a:spcPts val="1480"/>
              </a:spcBef>
              <a:spcAft>
                <a:spcPts val="533"/>
              </a:spcAft>
              <a:buClr>
                <a:schemeClr val="tx1"/>
              </a:buClr>
              <a:buSzPct val="80000"/>
              <a:buFont typeface="Arial"/>
              <a:buNone/>
              <a:defRPr sz="2000" b="0" i="0">
                <a:solidFill>
                  <a:schemeClr val="bg2"/>
                </a:solidFill>
                <a:latin typeface="CiscoSansTT ExtraLight" panose="020B0303020201020303" pitchFamily="34" charset="0"/>
                <a:ea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 marL="60958" indent="0">
              <a:lnSpc>
                <a:spcPct val="114000"/>
              </a:lnSpc>
              <a:spcBef>
                <a:spcPts val="600"/>
              </a:spcBef>
              <a:spcAft>
                <a:spcPts val="533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chemeClr val="bg2">
                    <a:lumMod val="75000"/>
                  </a:schemeClr>
                </a:solidFill>
                <a:latin typeface="+mn-lt"/>
                <a:ea typeface="CiscoSansTT Light" panose="020B0503020201020303" pitchFamily="34" charset="0"/>
                <a:cs typeface="CiscoSansTT Thin" charset="0"/>
              </a:defRPr>
            </a:lvl2pPr>
            <a:lvl3pPr marL="768330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2133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86135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867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218916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Section headline</a:t>
            </a:r>
          </a:p>
          <a:p>
            <a:pPr lvl="1"/>
            <a:r>
              <a:rPr lang="en-GB"/>
              <a:t>Description copy goes here</a:t>
            </a:r>
          </a:p>
        </p:txBody>
      </p:sp>
      <p:sp>
        <p:nvSpPr>
          <p:cNvPr id="10" name="Footer Placeholder 7">
            <a:extLst>
              <a:ext uri="{FF2B5EF4-FFF2-40B4-BE49-F238E27FC236}">
                <a16:creationId xmlns:a16="http://schemas.microsoft.com/office/drawing/2014/main" id="{1E1BA4C2-B3A3-414A-A68C-0C0FA5AC181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2" y="6376757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AD29314-5551-E74C-9F95-5E3B5D02465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8" y="6448093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3223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FEDA27A-A392-5342-A1B3-CEAB52717D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91440"/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3">
            <a:extLst>
              <a:ext uri="{FF2B5EF4-FFF2-40B4-BE49-F238E27FC236}">
                <a16:creationId xmlns:a16="http://schemas.microsoft.com/office/drawing/2014/main" id="{0DD85D7D-8014-EE4B-8539-D9E68001CE72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62688" y="1602318"/>
            <a:ext cx="3381241" cy="572132"/>
          </a:xfrm>
          <a:prstGeom prst="rect">
            <a:avLst/>
          </a:prstGeom>
        </p:spPr>
        <p:txBody>
          <a:bodyPr lIns="0" tIns="45710" rIns="91420" bIns="45710" anchor="ctr">
            <a:noAutofit/>
          </a:bodyPr>
          <a:lstStyle>
            <a:lvl1pPr marL="76198" indent="0" algn="l">
              <a:lnSpc>
                <a:spcPct val="100000"/>
              </a:lnSpc>
              <a:spcBef>
                <a:spcPts val="148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2133" b="0" i="0">
                <a:solidFill>
                  <a:schemeClr val="bg2"/>
                </a:solidFill>
                <a:latin typeface="CiscoSansTT ExtraLight" panose="020B0303020201020303" pitchFamily="34" charset="0"/>
                <a:ea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 marL="389457" indent="0">
              <a:lnSpc>
                <a:spcPct val="100000"/>
              </a:lnSpc>
              <a:spcBef>
                <a:spcPts val="60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Light" panose="020B0503020201020303" pitchFamily="34" charset="0"/>
                <a:cs typeface="CiscoSansTT Thin" charset="0"/>
              </a:defRPr>
            </a:lvl2pPr>
            <a:lvl3pPr marL="768330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2133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86135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867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218916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Section headline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50DEAE0E-1AB7-3344-BDC1-90D4D011F76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411330" y="1602318"/>
            <a:ext cx="3381241" cy="572132"/>
          </a:xfrm>
          <a:prstGeom prst="rect">
            <a:avLst/>
          </a:prstGeom>
        </p:spPr>
        <p:txBody>
          <a:bodyPr lIns="0" tIns="45710" rIns="91420" bIns="45710" anchor="ctr">
            <a:noAutofit/>
          </a:bodyPr>
          <a:lstStyle>
            <a:lvl1pPr marL="76198" indent="0" algn="l">
              <a:lnSpc>
                <a:spcPct val="100000"/>
              </a:lnSpc>
              <a:spcBef>
                <a:spcPts val="148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2133" b="0" i="0">
                <a:solidFill>
                  <a:schemeClr val="bg2"/>
                </a:solidFill>
                <a:latin typeface="CiscoSansTT ExtraLight" panose="020B0303020201020303" pitchFamily="34" charset="0"/>
                <a:ea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 marL="389457" indent="0">
              <a:lnSpc>
                <a:spcPct val="100000"/>
              </a:lnSpc>
              <a:spcBef>
                <a:spcPts val="60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Light" panose="020B0503020201020303" pitchFamily="34" charset="0"/>
                <a:cs typeface="CiscoSansTT Thin" charset="0"/>
              </a:defRPr>
            </a:lvl2pPr>
            <a:lvl3pPr marL="768330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2133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86135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867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218916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Section headlin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162E090C-AADF-DD41-8499-7A0E131566A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206064" y="1602318"/>
            <a:ext cx="3381241" cy="572132"/>
          </a:xfrm>
          <a:prstGeom prst="rect">
            <a:avLst/>
          </a:prstGeom>
        </p:spPr>
        <p:txBody>
          <a:bodyPr lIns="0" tIns="45710" rIns="91420" bIns="45710" anchor="ctr">
            <a:noAutofit/>
          </a:bodyPr>
          <a:lstStyle>
            <a:lvl1pPr marL="76198" indent="0" algn="l">
              <a:lnSpc>
                <a:spcPct val="100000"/>
              </a:lnSpc>
              <a:spcBef>
                <a:spcPts val="148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2133" b="0" i="0">
                <a:solidFill>
                  <a:schemeClr val="bg2"/>
                </a:solidFill>
                <a:latin typeface="CiscoSansTT ExtraLight" panose="020B0303020201020303" pitchFamily="34" charset="0"/>
                <a:ea typeface="CiscoSansTT ExtraLight" panose="020B0303020201020303" pitchFamily="34" charset="0"/>
                <a:cs typeface="CiscoSansTT ExtraLight" panose="020B0303020201020303" pitchFamily="34" charset="0"/>
              </a:defRPr>
            </a:lvl1pPr>
            <a:lvl2pPr marL="389457" indent="0">
              <a:lnSpc>
                <a:spcPct val="100000"/>
              </a:lnSpc>
              <a:spcBef>
                <a:spcPts val="60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Light" panose="020B0503020201020303" pitchFamily="34" charset="0"/>
                <a:cs typeface="CiscoSansTT Thin" charset="0"/>
              </a:defRPr>
            </a:lvl2pPr>
            <a:lvl3pPr marL="768330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2133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86135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867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218916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Section headlin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C36B8410-300D-E148-9F37-0DA63038D463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49549" y="2308194"/>
            <a:ext cx="3381241" cy="3617964"/>
          </a:xfrm>
          <a:prstGeom prst="rect">
            <a:avLst/>
          </a:prstGeom>
        </p:spPr>
        <p:txBody>
          <a:bodyPr lIns="0" tIns="45710" rIns="91420" bIns="45710">
            <a:noAutofit/>
          </a:bodyPr>
          <a:lstStyle>
            <a:lvl1pPr marL="304792" marR="0" indent="-228594" algn="l" defTabSz="912261" rtl="0" eaLnBrk="1" fontAlgn="base" latinLnBrk="0" hangingPunct="1">
              <a:lnSpc>
                <a:spcPct val="114000"/>
              </a:lnSpc>
              <a:spcBef>
                <a:spcPts val="0"/>
              </a:spcBef>
              <a:spcAft>
                <a:spcPts val="667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bg2">
                    <a:lumMod val="75000"/>
                  </a:schemeClr>
                </a:solidFill>
                <a:latin typeface="CiscoSansTT Light" panose="020B0503020201020303" pitchFamily="34" charset="0"/>
                <a:ea typeface="CiscoSansTT Light" panose="020B0503020201020303" pitchFamily="34" charset="0"/>
                <a:cs typeface="CiscoSansTT Thin" charset="0"/>
              </a:defRPr>
            </a:lvl1pPr>
            <a:lvl2pPr marL="389457" indent="0">
              <a:lnSpc>
                <a:spcPct val="100000"/>
              </a:lnSpc>
              <a:spcBef>
                <a:spcPts val="60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Light" panose="020B0503020201020303" pitchFamily="34" charset="0"/>
                <a:cs typeface="CiscoSansTT Thin" charset="0"/>
              </a:defRPr>
            </a:lvl2pPr>
            <a:lvl3pPr marL="768330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2133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86135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867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218916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Description copy goes here</a:t>
            </a:r>
          </a:p>
          <a:p>
            <a:pPr marL="304792" marR="0" lvl="0" indent="-228594" algn="l" defTabSz="912261" rtl="0" eaLnBrk="1" fontAlgn="base" latinLnBrk="0" hangingPunct="1">
              <a:lnSpc>
                <a:spcPct val="100000"/>
              </a:lnSpc>
              <a:spcBef>
                <a:spcPts val="1480"/>
              </a:spcBef>
              <a:spcAft>
                <a:spcPts val="267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lang="en-GB"/>
              <a:t>Description copy goes here</a:t>
            </a:r>
          </a:p>
          <a:p>
            <a:pPr marL="304792" marR="0" lvl="0" indent="-228594" algn="l" defTabSz="912261" rtl="0" eaLnBrk="1" fontAlgn="base" latinLnBrk="0" hangingPunct="1">
              <a:lnSpc>
                <a:spcPct val="100000"/>
              </a:lnSpc>
              <a:spcBef>
                <a:spcPts val="1480"/>
              </a:spcBef>
              <a:spcAft>
                <a:spcPts val="267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lang="en-GB"/>
              <a:t>Description copy goes here</a:t>
            </a:r>
          </a:p>
          <a:p>
            <a:pPr lvl="0"/>
            <a:endParaRPr lang="en-GB"/>
          </a:p>
          <a:p>
            <a:pPr lvl="0"/>
            <a:endParaRPr lang="en-GB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3C838411-FF49-A942-932A-9A3D6D5EEB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405380" y="2308194"/>
            <a:ext cx="3381241" cy="3617964"/>
          </a:xfrm>
          <a:prstGeom prst="rect">
            <a:avLst/>
          </a:prstGeom>
        </p:spPr>
        <p:txBody>
          <a:bodyPr lIns="0" tIns="45710" rIns="91420" bIns="45710">
            <a:noAutofit/>
          </a:bodyPr>
          <a:lstStyle>
            <a:lvl1pPr marL="304792" marR="0" indent="-228594" algn="l" defTabSz="912261" rtl="0" eaLnBrk="1" fontAlgn="base" latinLnBrk="0" hangingPunct="1">
              <a:lnSpc>
                <a:spcPct val="114000"/>
              </a:lnSpc>
              <a:spcBef>
                <a:spcPts val="0"/>
              </a:spcBef>
              <a:spcAft>
                <a:spcPts val="667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bg2">
                    <a:lumMod val="75000"/>
                  </a:schemeClr>
                </a:solidFill>
                <a:latin typeface="CiscoSansTT Light" panose="020B0503020201020303" pitchFamily="34" charset="0"/>
                <a:ea typeface="CiscoSansTT Light" panose="020B0503020201020303" pitchFamily="34" charset="0"/>
                <a:cs typeface="CiscoSansTT Thin" charset="0"/>
              </a:defRPr>
            </a:lvl1pPr>
            <a:lvl2pPr marL="389457" indent="0">
              <a:lnSpc>
                <a:spcPct val="100000"/>
              </a:lnSpc>
              <a:spcBef>
                <a:spcPts val="60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Light" panose="020B0503020201020303" pitchFamily="34" charset="0"/>
                <a:cs typeface="CiscoSansTT Thin" charset="0"/>
              </a:defRPr>
            </a:lvl2pPr>
            <a:lvl3pPr marL="768330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2133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86135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867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218916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Description copy goes here</a:t>
            </a:r>
          </a:p>
          <a:p>
            <a:pPr marL="304792" marR="0" lvl="0" indent="-228594" algn="l" defTabSz="912261" rtl="0" eaLnBrk="1" fontAlgn="base" latinLnBrk="0" hangingPunct="1">
              <a:lnSpc>
                <a:spcPct val="100000"/>
              </a:lnSpc>
              <a:spcBef>
                <a:spcPts val="1480"/>
              </a:spcBef>
              <a:spcAft>
                <a:spcPts val="267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lang="en-GB"/>
              <a:t>Description copy goes here</a:t>
            </a:r>
          </a:p>
          <a:p>
            <a:pPr marL="304792" marR="0" lvl="0" indent="-228594" algn="l" defTabSz="912261" rtl="0" eaLnBrk="1" fontAlgn="base" latinLnBrk="0" hangingPunct="1">
              <a:lnSpc>
                <a:spcPct val="100000"/>
              </a:lnSpc>
              <a:spcBef>
                <a:spcPts val="1480"/>
              </a:spcBef>
              <a:spcAft>
                <a:spcPts val="267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lang="en-GB"/>
              <a:t>Description copy goes here</a:t>
            </a:r>
          </a:p>
          <a:p>
            <a:pPr lvl="0"/>
            <a:endParaRPr lang="en-GB"/>
          </a:p>
          <a:p>
            <a:pPr lvl="0"/>
            <a:endParaRPr lang="en-GB"/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2C595C19-387A-EA4E-ACF0-D8D4AA2F68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187690" y="2308194"/>
            <a:ext cx="3381241" cy="3617964"/>
          </a:xfrm>
          <a:prstGeom prst="rect">
            <a:avLst/>
          </a:prstGeom>
        </p:spPr>
        <p:txBody>
          <a:bodyPr lIns="0" tIns="45710" rIns="91420" bIns="45710">
            <a:noAutofit/>
          </a:bodyPr>
          <a:lstStyle>
            <a:lvl1pPr marL="304792" marR="0" indent="-228594" algn="l" defTabSz="912261" rtl="0" eaLnBrk="1" fontAlgn="base" latinLnBrk="0" hangingPunct="1">
              <a:lnSpc>
                <a:spcPct val="114000"/>
              </a:lnSpc>
              <a:spcBef>
                <a:spcPts val="0"/>
              </a:spcBef>
              <a:spcAft>
                <a:spcPts val="667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 sz="1600" b="0" i="0">
                <a:solidFill>
                  <a:schemeClr val="bg2">
                    <a:lumMod val="75000"/>
                  </a:schemeClr>
                </a:solidFill>
                <a:latin typeface="CiscoSansTT Light" panose="020B0503020201020303" pitchFamily="34" charset="0"/>
                <a:ea typeface="CiscoSansTT Light" panose="020B0503020201020303" pitchFamily="34" charset="0"/>
                <a:cs typeface="CiscoSansTT Thin" charset="0"/>
              </a:defRPr>
            </a:lvl1pPr>
            <a:lvl2pPr marL="389457" indent="0">
              <a:lnSpc>
                <a:spcPct val="100000"/>
              </a:lnSpc>
              <a:spcBef>
                <a:spcPts val="60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Light" panose="020B0503020201020303" pitchFamily="34" charset="0"/>
                <a:cs typeface="CiscoSansTT Thin" charset="0"/>
              </a:defRPr>
            </a:lvl2pPr>
            <a:lvl3pPr marL="768330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2133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986135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867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218916" indent="0">
              <a:lnSpc>
                <a:spcPct val="100000"/>
              </a:lnSpc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chemeClr val="bg1">
                    <a:lumMod val="50000"/>
                  </a:schemeClr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Description copy goes here</a:t>
            </a:r>
          </a:p>
          <a:p>
            <a:pPr marL="304792" marR="0" lvl="0" indent="-228594" algn="l" defTabSz="912261" rtl="0" eaLnBrk="1" fontAlgn="base" latinLnBrk="0" hangingPunct="1">
              <a:lnSpc>
                <a:spcPct val="100000"/>
              </a:lnSpc>
              <a:spcBef>
                <a:spcPts val="1480"/>
              </a:spcBef>
              <a:spcAft>
                <a:spcPts val="267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lang="en-GB"/>
              <a:t>Description copy goes here</a:t>
            </a:r>
          </a:p>
          <a:p>
            <a:pPr marL="304792" marR="0" lvl="0" indent="-228594" algn="l" defTabSz="912261" rtl="0" eaLnBrk="1" fontAlgn="base" latinLnBrk="0" hangingPunct="1">
              <a:lnSpc>
                <a:spcPct val="100000"/>
              </a:lnSpc>
              <a:spcBef>
                <a:spcPts val="1480"/>
              </a:spcBef>
              <a:spcAft>
                <a:spcPts val="267"/>
              </a:spcAft>
              <a:buClr>
                <a:schemeClr val="bg2"/>
              </a:buClr>
              <a:buSzPct val="80000"/>
              <a:buFont typeface="Arial" panose="020B0604020202020204" pitchFamily="34" charset="0"/>
              <a:buChar char="•"/>
              <a:tabLst/>
              <a:defRPr/>
            </a:pPr>
            <a:r>
              <a:rPr lang="en-GB"/>
              <a:t>Description copy goes here</a:t>
            </a:r>
          </a:p>
          <a:p>
            <a:pPr lvl="0"/>
            <a:endParaRPr lang="en-GB"/>
          </a:p>
          <a:p>
            <a:pPr lvl="0"/>
            <a:endParaRPr lang="en-GB"/>
          </a:p>
        </p:txBody>
      </p:sp>
      <p:sp>
        <p:nvSpPr>
          <p:cNvPr id="13" name="Footer Placeholder 7">
            <a:extLst>
              <a:ext uri="{FF2B5EF4-FFF2-40B4-BE49-F238E27FC236}">
                <a16:creationId xmlns:a16="http://schemas.microsoft.com/office/drawing/2014/main" id="{315F1604-06CB-FD48-BD89-8F96FC7C26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2" y="6376757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ED025E40-7AC6-2B48-8B7C-BDE05C53A18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8" y="6448093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66679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7" y="1435770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BFC48DC-824F-D44A-AB16-F590AD9FBE6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3297E32-6352-4D99-9949-266620911B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bg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93F2BD-54CB-4DEA-A29C-C6C514A756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0E3BE08-F150-4EA2-BBA1-E1E7F059747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7607727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7">
            <a:extLst>
              <a:ext uri="{FF2B5EF4-FFF2-40B4-BE49-F238E27FC236}">
                <a16:creationId xmlns:a16="http://schemas.microsoft.com/office/drawing/2014/main" id="{884DE5E6-565B-F94F-BE27-A0635A31AD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2" y="6376757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7FE2104-9571-D443-8900-BE57512F3C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8" y="6448093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3399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711200" y="1602318"/>
            <a:ext cx="10820400" cy="3744383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667" b="0" i="0">
                <a:solidFill>
                  <a:schemeClr val="bg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690" y="5530961"/>
            <a:ext cx="9573749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867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F227E34-36E7-0349-94C3-7D350346C96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lIns="9144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EF17EA03-63A7-2342-8E32-A1D7EE4DF3D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2" y="6376757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162684B-20AA-494E-87B6-4A5507960B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8" y="6448093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60897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711200" y="1671649"/>
            <a:ext cx="10820400" cy="3544971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667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690" y="5271702"/>
            <a:ext cx="9573749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747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467"/>
            </a:lvl2pPr>
            <a:lvl3pPr>
              <a:buFont typeface="Arial" pitchFamily="34" charset="0"/>
              <a:buNone/>
              <a:defRPr sz="1467"/>
            </a:lvl3pPr>
            <a:lvl4pPr>
              <a:buFont typeface="Arial" pitchFamily="34" charset="0"/>
              <a:buNone/>
              <a:defRPr sz="1467"/>
            </a:lvl4pPr>
            <a:lvl5pPr>
              <a:buFont typeface="Arial" pitchFamily="34" charset="0"/>
              <a:buNone/>
              <a:defRPr sz="1467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1C0116-1495-C24E-88AD-7E1DC76FA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E70F4A0B-ECC5-3A42-82A3-FA444101A0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2" y="6376757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87744E-0FA4-C545-81AA-2C69A756727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8" y="6448093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553723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32883" y="1797051"/>
            <a:ext cx="11040076" cy="409859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80910" marR="0" indent="-380910" algn="ctr" defTabSz="609458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667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66C570-DF7E-E444-B755-18B4C0F62A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7">
            <a:extLst>
              <a:ext uri="{FF2B5EF4-FFF2-40B4-BE49-F238E27FC236}">
                <a16:creationId xmlns:a16="http://schemas.microsoft.com/office/drawing/2014/main" id="{17433297-CEF5-EC4D-BD98-2D15293553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2" y="6376757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A5764C8-29E8-0F45-91A1-29B40693DE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8" y="6448093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39803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58801" y="1997059"/>
            <a:ext cx="5103284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733" kern="1200" dirty="0">
                <a:solidFill>
                  <a:schemeClr val="bg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6618" y="510102"/>
            <a:ext cx="4734983" cy="5412316"/>
          </a:xfrm>
          <a:prstGeom prst="rect">
            <a:avLst/>
          </a:prstGeom>
        </p:spPr>
        <p:txBody>
          <a:bodyPr lIns="0" rIns="0" anchor="ctr" anchorCtr="0"/>
          <a:lstStyle>
            <a:lvl1pPr marL="0" indent="0">
              <a:lnSpc>
                <a:spcPct val="114000"/>
              </a:lnSpc>
              <a:spcAft>
                <a:spcPts val="400"/>
              </a:spcAft>
              <a:buClr>
                <a:schemeClr val="tx1"/>
              </a:buClr>
              <a:buSzPct val="60000"/>
              <a:buFont typeface="Arial" panose="020B0604020202020204" pitchFamily="34" charset="0"/>
              <a:buNone/>
              <a:tabLst>
                <a:tab pos="304792" algn="l"/>
              </a:tabLst>
              <a:defRPr sz="2133">
                <a:solidFill>
                  <a:schemeClr val="bg2"/>
                </a:solidFill>
              </a:defRPr>
            </a:lvl1pPr>
            <a:lvl2pPr marL="0" marR="0" indent="-228594" algn="l" defTabSz="912261" rtl="0" eaLnBrk="1" fontAlgn="base" latinLnBrk="0" hangingPunct="1">
              <a:lnSpc>
                <a:spcPct val="114000"/>
              </a:lnSpc>
              <a:spcBef>
                <a:spcPts val="800"/>
              </a:spcBef>
              <a:spcAft>
                <a:spcPts val="400"/>
              </a:spcAft>
              <a:buClr>
                <a:schemeClr val="bg2"/>
              </a:buClr>
              <a:buSzPct val="60000"/>
              <a:buFont typeface="Arial" panose="020B0604020202020204" pitchFamily="34" charset="0"/>
              <a:buNone/>
              <a:tabLst/>
              <a:defRPr sz="1600">
                <a:solidFill>
                  <a:schemeClr val="bg2">
                    <a:lumMod val="75000"/>
                  </a:schemeClr>
                </a:solidFill>
              </a:defRPr>
            </a:lvl2pPr>
            <a:lvl3pPr marL="0" indent="-156629">
              <a:lnSpc>
                <a:spcPct val="114000"/>
              </a:lnSpc>
              <a:spcAft>
                <a:spcPts val="400"/>
              </a:spcAft>
              <a:buClrTx/>
              <a:buSzPct val="60000"/>
              <a:buFont typeface="Arial" panose="020B0604020202020204" pitchFamily="34" charset="0"/>
              <a:buChar char="•"/>
              <a:defRPr sz="1600">
                <a:solidFill>
                  <a:schemeClr val="bg2">
                    <a:lumMod val="75000"/>
                  </a:schemeClr>
                </a:solidFill>
              </a:defRPr>
            </a:lvl3pPr>
            <a:lvl4pPr marL="766214" indent="-156629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600">
                <a:solidFill>
                  <a:schemeClr val="bg2">
                    <a:lumMod val="75000"/>
                  </a:schemeClr>
                </a:solidFill>
              </a:defRPr>
            </a:lvl4pPr>
            <a:lvl5pPr marL="992693" indent="-15028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600"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541FB44E-8478-6547-83FA-35B6FB4DC3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2" y="6376757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2810F30C-C88C-F74C-99FF-60B94E4D22B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8" y="6448093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35976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58801" y="1997059"/>
            <a:ext cx="5103284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733" kern="1200" dirty="0">
                <a:solidFill>
                  <a:schemeClr val="bg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6796618" y="510102"/>
            <a:ext cx="4734983" cy="5412316"/>
          </a:xfrm>
          <a:prstGeom prst="rect">
            <a:avLst/>
          </a:prstGeom>
        </p:spPr>
        <p:txBody>
          <a:bodyPr lIns="0" rIns="0" anchor="ctr" anchorCtr="0"/>
          <a:lstStyle>
            <a:lvl1pPr marL="0" indent="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None/>
              <a:tabLst>
                <a:tab pos="304792" algn="l"/>
              </a:tabLst>
              <a:defRPr sz="2133">
                <a:solidFill>
                  <a:schemeClr val="bg2">
                    <a:lumMod val="75000"/>
                  </a:schemeClr>
                </a:solidFill>
              </a:defRPr>
            </a:lvl1pPr>
            <a:lvl2pPr marL="232828" indent="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2pPr>
            <a:lvl3pPr marL="452955" indent="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3pPr>
            <a:lvl4pPr marL="609585" indent="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None/>
              <a:tabLst/>
              <a:defRPr sz="2400">
                <a:solidFill>
                  <a:schemeClr val="bg1">
                    <a:lumMod val="50000"/>
                  </a:schemeClr>
                </a:solidFill>
              </a:defRPr>
            </a:lvl4pPr>
            <a:lvl5pPr marL="842412" indent="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Footer Placeholder 7">
            <a:extLst>
              <a:ext uri="{FF2B5EF4-FFF2-40B4-BE49-F238E27FC236}">
                <a16:creationId xmlns:a16="http://schemas.microsoft.com/office/drawing/2014/main" id="{32973608-374F-C348-AD04-C140399271C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2" y="6376757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7E0576B-C9F4-2A4D-8ACD-9F20FA7140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8" y="6448093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46241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93FD37-CE19-2947-9F7C-76E4906122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Footer Placeholder 7">
            <a:extLst>
              <a:ext uri="{FF2B5EF4-FFF2-40B4-BE49-F238E27FC236}">
                <a16:creationId xmlns:a16="http://schemas.microsoft.com/office/drawing/2014/main" id="{5BB5CFC1-F565-CE42-B267-09AC1528EC5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2" y="6376757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E7AF7F7-6888-4D41-BE8C-AE0B08F9258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8" y="6448093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6802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58801" y="555578"/>
            <a:ext cx="5103284" cy="1959679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12" rIns="91424" bIns="45712" numCol="1" anchor="b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733" kern="1200" dirty="0">
                <a:solidFill>
                  <a:schemeClr val="bg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558801" y="2577937"/>
            <a:ext cx="4734983" cy="3068672"/>
          </a:xfrm>
          <a:prstGeom prst="rect">
            <a:avLst/>
          </a:prstGeom>
        </p:spPr>
        <p:txBody>
          <a:bodyPr lIns="91440" rIns="0" anchor="t" anchorCtr="0"/>
          <a:lstStyle>
            <a:lvl1pPr marL="0" indent="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None/>
              <a:tabLst>
                <a:tab pos="304792" algn="l"/>
              </a:tabLst>
              <a:defRPr sz="2133">
                <a:solidFill>
                  <a:schemeClr val="bg2">
                    <a:lumMod val="75000"/>
                  </a:schemeClr>
                </a:solidFill>
              </a:defRPr>
            </a:lvl1pPr>
            <a:lvl2pPr marL="461422" indent="-228594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2133">
                <a:solidFill>
                  <a:schemeClr val="bg2"/>
                </a:solidFill>
              </a:defRPr>
            </a:lvl2pPr>
            <a:lvl3pPr marL="609585" indent="-156629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867">
                <a:solidFill>
                  <a:schemeClr val="bg2">
                    <a:lumMod val="75000"/>
                  </a:schemeClr>
                </a:solidFill>
              </a:defRPr>
            </a:lvl3pPr>
            <a:lvl4pPr marL="766214" indent="-156629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tabLst/>
              <a:defRPr sz="1600">
                <a:solidFill>
                  <a:schemeClr val="bg2">
                    <a:lumMod val="75000"/>
                  </a:schemeClr>
                </a:solidFill>
              </a:defRPr>
            </a:lvl4pPr>
            <a:lvl5pPr marL="992693" indent="-150280">
              <a:lnSpc>
                <a:spcPct val="100000"/>
              </a:lnSpc>
              <a:buClr>
                <a:schemeClr val="tx1"/>
              </a:buClr>
              <a:buSzPct val="60000"/>
              <a:buFont typeface="Arial" panose="020B0604020202020204" pitchFamily="34" charset="0"/>
              <a:buChar char="•"/>
              <a:defRPr sz="1600">
                <a:solidFill>
                  <a:schemeClr val="bg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Footer Placeholder 7">
            <a:extLst>
              <a:ext uri="{FF2B5EF4-FFF2-40B4-BE49-F238E27FC236}">
                <a16:creationId xmlns:a16="http://schemas.microsoft.com/office/drawing/2014/main" id="{82CBDFB1-4E0B-5D4B-B0D8-6B273A14B7F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2" y="6376757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DB0194C0-7A7D-FC4E-B31E-DA21FAFD14B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8" y="6448093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08667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58801" y="1997059"/>
            <a:ext cx="5103284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733" kern="1200" dirty="0">
                <a:solidFill>
                  <a:schemeClr val="bg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Picture Placeholder 6">
            <a:extLst>
              <a:ext uri="{FF2B5EF4-FFF2-40B4-BE49-F238E27FC236}">
                <a16:creationId xmlns:a16="http://schemas.microsoft.com/office/drawing/2014/main" id="{3BCA2529-CCDC-0248-AE9C-A8791F16809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86034" y="709084"/>
            <a:ext cx="4745567" cy="4486461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8" name="Text Placeholder 8">
            <a:extLst>
              <a:ext uri="{FF2B5EF4-FFF2-40B4-BE49-F238E27FC236}">
                <a16:creationId xmlns:a16="http://schemas.microsoft.com/office/drawing/2014/main" id="{1168CEC1-7C84-C44D-8832-7C3C0ACF5C05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786034" y="5296513"/>
            <a:ext cx="4745567" cy="70019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867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Footer Placeholder 7">
            <a:extLst>
              <a:ext uri="{FF2B5EF4-FFF2-40B4-BE49-F238E27FC236}">
                <a16:creationId xmlns:a16="http://schemas.microsoft.com/office/drawing/2014/main" id="{D6E7AFD8-C404-0247-A035-B1CEE37B31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2" y="6376757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59258D9-39A2-C04B-8B18-0F9CB866A99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8" y="6448093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66304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Half_Page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58801" y="1997059"/>
            <a:ext cx="5103284" cy="2438400"/>
          </a:xfrm>
          <a:prstGeom prst="rect">
            <a:avLst/>
          </a:prstGeom>
          <a:noFill/>
          <a:ln>
            <a:noFill/>
          </a:ln>
          <a:extLs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l" defTabSz="912261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lang="en-GB" sz="3733" kern="1200" dirty="0">
                <a:solidFill>
                  <a:schemeClr val="bg2"/>
                </a:solidFill>
                <a:latin typeface="+mj-lt"/>
                <a:ea typeface="ＭＳ Ｐゴシック" charset="0"/>
                <a:cs typeface="Tipo de letra del sistema Fina" charset="0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3" name="Picture Placeholder 6">
            <a:extLst>
              <a:ext uri="{FF2B5EF4-FFF2-40B4-BE49-F238E27FC236}">
                <a16:creationId xmlns:a16="http://schemas.microsoft.com/office/drawing/2014/main" id="{9BF3BCF1-4C2F-FD41-BFC4-43651186BA8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786034" y="510101"/>
            <a:ext cx="4745567" cy="5412315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Footer Placeholder 7">
            <a:extLst>
              <a:ext uri="{FF2B5EF4-FFF2-40B4-BE49-F238E27FC236}">
                <a16:creationId xmlns:a16="http://schemas.microsoft.com/office/drawing/2014/main" id="{A9FD2C50-7DD0-BF49-990A-4A16A259047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2" y="6376757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383F312-94B8-744D-88C9-017DF3975CE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8" y="6448093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6706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1" orient="horz" pos="1044">
          <p15:clr>
            <a:srgbClr val="FBAE40"/>
          </p15:clr>
        </p15:guide>
        <p15:guide id="2" pos="264">
          <p15:clr>
            <a:srgbClr val="FBAE40"/>
          </p15:clr>
        </p15:guide>
        <p15:guide id="3" orient="horz" pos="2196">
          <p15:clr>
            <a:srgbClr val="FBAE40"/>
          </p15:clr>
        </p15:guide>
        <p15:guide id="4" pos="267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83972"/>
            <a:ext cx="8071795" cy="66702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z="2400" spc="0" dirty="0">
                <a:solidFill>
                  <a:schemeClr val="accent5"/>
                </a:solidFill>
                <a:cs typeface="CiscoSansTT" panose="020B0503020201020303" pitchFamily="34" charset="0"/>
              </a:defRPr>
            </a:lvl1pPr>
          </a:lstStyle>
          <a:p>
            <a:pPr marL="0"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75BB999-B759-4029-B296-14C2F167911F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46101" y="1811867"/>
            <a:ext cx="8078871" cy="4214284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3733">
                <a:latin typeface="+mj-lt"/>
              </a:defRPr>
            </a:lvl1pPr>
            <a:lvl2pPr>
              <a:lnSpc>
                <a:spcPct val="90000"/>
              </a:lnSpc>
              <a:defRPr sz="2667"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1335786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1199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41155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7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02559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 Slide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41142" y="4713806"/>
            <a:ext cx="6314695" cy="511087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Speaker’s Nam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41142" y="5264012"/>
            <a:ext cx="6314695" cy="95082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 her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142" y="993220"/>
            <a:ext cx="6312765" cy="196977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6667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ver headline sentence cas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541142" y="3017205"/>
            <a:ext cx="6328221" cy="16966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2667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 err="1"/>
              <a:t>Subheadline</a:t>
            </a:r>
            <a:r>
              <a:rPr lang="en-US"/>
              <a:t> in sentence case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FA08DDBA-7B96-42E2-86EA-0C94483881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6C811A-A9F2-354B-BB7E-B122569E995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 altLang="zh-TW"/>
              <a:t>Month</a:t>
            </a:r>
            <a:r>
              <a:rPr lang="zh-TW" altLang="en-US"/>
              <a:t> </a:t>
            </a:r>
            <a:r>
              <a:rPr lang="en-US" altLang="zh-TW"/>
              <a:t>XX,</a:t>
            </a:r>
            <a:r>
              <a:rPr lang="zh-TW" altLang="en-US"/>
              <a:t> </a:t>
            </a:r>
            <a:r>
              <a:rPr lang="en-US" altLang="zh-TW"/>
              <a:t>Yea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08444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3DB55142-3282-44B4-8B59-4020D50B81F7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11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77F995B-5AF4-45BF-8B28-CA063BFFEDF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0080260" y="6214836"/>
            <a:ext cx="1554872" cy="422925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41142" y="4713806"/>
            <a:ext cx="6314695" cy="511087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Speaker’s Nam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41142" y="5264012"/>
            <a:ext cx="6314695" cy="95082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Job Title her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142" y="993220"/>
            <a:ext cx="6312765" cy="196977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67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ver headline sentence cas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541142" y="3017205"/>
            <a:ext cx="6328221" cy="16966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27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 err="1"/>
              <a:t>Subheadline</a:t>
            </a:r>
            <a:r>
              <a:rPr lang="en-US"/>
              <a:t> in sentence case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FA08DDBA-7B96-42E2-86EA-0C94483881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E7AC964-20BC-5C44-BB9D-2C010A17A54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 altLang="zh-TW"/>
              <a:t>Month</a:t>
            </a:r>
            <a:r>
              <a:rPr lang="zh-TW" altLang="en-US"/>
              <a:t> </a:t>
            </a:r>
            <a:r>
              <a:rPr lang="en-US" altLang="zh-TW"/>
              <a:t>XX,</a:t>
            </a:r>
            <a:r>
              <a:rPr lang="zh-TW" altLang="en-US"/>
              <a:t> </a:t>
            </a:r>
            <a:r>
              <a:rPr lang="en-US" altLang="zh-TW"/>
              <a:t>Yea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779947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up to 5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3222"/>
            <a:ext cx="4518361" cy="205379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ontents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F3B1879A-B619-984E-82C7-4434B9F2A25C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5782530" y="1011863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1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4BD297AF-7D2D-D94D-B0E8-94538FF52057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6578191" y="2480482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EB822921-0C8E-3C44-A1CD-F57BC9505616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5782530" y="2087129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2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DA9D4E5-FBBF-994F-AA3B-A8FD8ADBD704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6578191" y="3556661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B03C4A2-7938-6849-8D46-277EC2DB2F8E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6578191" y="3135605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5E9B8D30-521D-864E-AAD2-9AB01D6BBF2E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5782530" y="3153930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3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CF377F4-3F0E-754A-84E9-8885433BCA73}"/>
              </a:ext>
            </a:extLst>
          </p:cNvPr>
          <p:cNvSpPr>
            <a:spLocks noGrp="1"/>
          </p:cNvSpPr>
          <p:nvPr>
            <p:ph type="body" sz="half" idx="33" hasCustomPrompt="1"/>
          </p:nvPr>
        </p:nvSpPr>
        <p:spPr>
          <a:xfrm>
            <a:off x="6578191" y="4623462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8B6D2346-F32B-6245-ABF4-0D656814BDAC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6578191" y="4202405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90907DA3-7813-1343-BE3E-5E4707F98652}"/>
              </a:ext>
            </a:extLst>
          </p:cNvPr>
          <p:cNvSpPr>
            <a:spLocks noGrp="1"/>
          </p:cNvSpPr>
          <p:nvPr>
            <p:ph type="body" sz="half" idx="35" hasCustomPrompt="1"/>
          </p:nvPr>
        </p:nvSpPr>
        <p:spPr>
          <a:xfrm>
            <a:off x="5782530" y="4220730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4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357F977-9E83-FB43-A933-EBF86645182F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6578191" y="5664861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43AE9062-3EA5-8441-A358-162479B3E4C4}"/>
              </a:ext>
            </a:extLst>
          </p:cNvPr>
          <p:cNvSpPr>
            <a:spLocks noGrp="1"/>
          </p:cNvSpPr>
          <p:nvPr>
            <p:ph type="body" sz="half" idx="37" hasCustomPrompt="1"/>
          </p:nvPr>
        </p:nvSpPr>
        <p:spPr>
          <a:xfrm>
            <a:off x="6578191" y="5243804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B32ED203-88E4-614B-AB16-C784FB6AAEC2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5782530" y="5262130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5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FB49C323-7C7D-804E-82D9-2045EA5F8DCA}"/>
              </a:ext>
            </a:extLst>
          </p:cNvPr>
          <p:cNvSpPr>
            <a:spLocks noGrp="1"/>
          </p:cNvSpPr>
          <p:nvPr>
            <p:ph type="body" sz="half" idx="39" hasCustomPrompt="1"/>
          </p:nvPr>
        </p:nvSpPr>
        <p:spPr>
          <a:xfrm>
            <a:off x="6578191" y="978559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36E9A218-B974-1D4F-81D6-6E343885F274}"/>
              </a:ext>
            </a:extLst>
          </p:cNvPr>
          <p:cNvSpPr>
            <a:spLocks noGrp="1"/>
          </p:cNvSpPr>
          <p:nvPr>
            <p:ph type="body" sz="half" idx="40" hasCustomPrompt="1"/>
          </p:nvPr>
        </p:nvSpPr>
        <p:spPr>
          <a:xfrm>
            <a:off x="6578191" y="2057083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4E0C9FA-1CEF-D442-805C-B1304D12773B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6578191" y="1401958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EA9F760-54C7-4D39-BFBE-CB5FEB9E61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71820893-9915-4BFA-B034-1C8F63FF81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100000"/>
              </a:lnSpc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FFD397-3600-4EC8-8694-6DE9A09E921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30096205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up to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3223"/>
            <a:ext cx="5390425" cy="13188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43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F3B1879A-B619-984E-82C7-4434B9F2A25C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558801" y="2478139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1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4BD297AF-7D2D-D94D-B0E8-94538FF52057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1354461" y="3810313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EB822921-0C8E-3C44-A1CD-F57BC9505616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558801" y="3397683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2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DA9D4E5-FBBF-994F-AA3B-A8FD8ADBD704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1354461" y="4734069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B03C4A2-7938-6849-8D46-277EC2DB2F8E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1354461" y="4312232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5E9B8D30-521D-864E-AAD2-9AB01D6BBF2E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558801" y="4317227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3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CF377F4-3F0E-754A-84E9-8885433BCA73}"/>
              </a:ext>
            </a:extLst>
          </p:cNvPr>
          <p:cNvSpPr>
            <a:spLocks noGrp="1"/>
          </p:cNvSpPr>
          <p:nvPr>
            <p:ph type="body" sz="half" idx="33" hasCustomPrompt="1"/>
          </p:nvPr>
        </p:nvSpPr>
        <p:spPr>
          <a:xfrm>
            <a:off x="1342112" y="5657826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8B6D2346-F32B-6245-ABF4-0D656814BDAC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1342112" y="5236769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90907DA3-7813-1343-BE3E-5E4707F98652}"/>
              </a:ext>
            </a:extLst>
          </p:cNvPr>
          <p:cNvSpPr>
            <a:spLocks noGrp="1"/>
          </p:cNvSpPr>
          <p:nvPr>
            <p:ph type="body" sz="half" idx="35" hasCustomPrompt="1"/>
          </p:nvPr>
        </p:nvSpPr>
        <p:spPr>
          <a:xfrm>
            <a:off x="546451" y="5236771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4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FB49C323-7C7D-804E-82D9-2045EA5F8DCA}"/>
              </a:ext>
            </a:extLst>
          </p:cNvPr>
          <p:cNvSpPr>
            <a:spLocks noGrp="1"/>
          </p:cNvSpPr>
          <p:nvPr>
            <p:ph type="body" sz="half" idx="39" hasCustomPrompt="1"/>
          </p:nvPr>
        </p:nvSpPr>
        <p:spPr>
          <a:xfrm>
            <a:off x="1354461" y="2463157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36E9A218-B974-1D4F-81D6-6E343885F274}"/>
              </a:ext>
            </a:extLst>
          </p:cNvPr>
          <p:cNvSpPr>
            <a:spLocks noGrp="1"/>
          </p:cNvSpPr>
          <p:nvPr>
            <p:ph type="body" sz="half" idx="40" hasCustomPrompt="1"/>
          </p:nvPr>
        </p:nvSpPr>
        <p:spPr>
          <a:xfrm>
            <a:off x="1354461" y="3387694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4E0C9FA-1CEF-D442-805C-B1304D12773B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1354461" y="2886557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EA9F760-54C7-4D39-BFBE-CB5FEB9E61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71820893-9915-4BFA-B034-1C8F63FF81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100000"/>
              </a:lnSpc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FFD397-3600-4EC8-8694-6DE9A09E921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3C20764-63DC-41E8-9C7F-E25D307EE557}"/>
              </a:ext>
            </a:extLst>
          </p:cNvPr>
          <p:cNvSpPr>
            <a:spLocks noGrp="1"/>
          </p:cNvSpPr>
          <p:nvPr>
            <p:ph type="body" sz="half" idx="43" hasCustomPrompt="1"/>
          </p:nvPr>
        </p:nvSpPr>
        <p:spPr>
          <a:xfrm>
            <a:off x="6264207" y="2463157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5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54FF577-772A-41CF-B806-B27FEBD63D74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7059868" y="3795330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B55BF2F-380E-4EFB-B046-8182E6C5D20A}"/>
              </a:ext>
            </a:extLst>
          </p:cNvPr>
          <p:cNvSpPr>
            <a:spLocks noGrp="1"/>
          </p:cNvSpPr>
          <p:nvPr>
            <p:ph type="body" sz="half" idx="45" hasCustomPrompt="1"/>
          </p:nvPr>
        </p:nvSpPr>
        <p:spPr>
          <a:xfrm>
            <a:off x="6264207" y="3382701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6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43F57A3-46B0-4550-84B1-CC695920B0EE}"/>
              </a:ext>
            </a:extLst>
          </p:cNvPr>
          <p:cNvSpPr>
            <a:spLocks noGrp="1"/>
          </p:cNvSpPr>
          <p:nvPr>
            <p:ph type="body" sz="half" idx="46" hasCustomPrompt="1"/>
          </p:nvPr>
        </p:nvSpPr>
        <p:spPr>
          <a:xfrm>
            <a:off x="7059868" y="4719086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3789CA6-53C8-4BAE-954E-06003EB6D646}"/>
              </a:ext>
            </a:extLst>
          </p:cNvPr>
          <p:cNvSpPr>
            <a:spLocks noGrp="1"/>
          </p:cNvSpPr>
          <p:nvPr>
            <p:ph type="body" sz="half" idx="47" hasCustomPrompt="1"/>
          </p:nvPr>
        </p:nvSpPr>
        <p:spPr>
          <a:xfrm>
            <a:off x="7059868" y="4297249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6496AA22-DA56-4B97-8E59-16462CD7A335}"/>
              </a:ext>
            </a:extLst>
          </p:cNvPr>
          <p:cNvSpPr>
            <a:spLocks noGrp="1"/>
          </p:cNvSpPr>
          <p:nvPr>
            <p:ph type="body" sz="half" idx="48" hasCustomPrompt="1"/>
          </p:nvPr>
        </p:nvSpPr>
        <p:spPr>
          <a:xfrm>
            <a:off x="6264207" y="4302245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6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4C89E3A-AB27-4036-93FF-BD8A83504130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7047519" y="5642843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0F66D1C-C372-4707-AA8E-384994CA8FB5}"/>
              </a:ext>
            </a:extLst>
          </p:cNvPr>
          <p:cNvSpPr>
            <a:spLocks noGrp="1"/>
          </p:cNvSpPr>
          <p:nvPr>
            <p:ph type="body" sz="half" idx="50" hasCustomPrompt="1"/>
          </p:nvPr>
        </p:nvSpPr>
        <p:spPr>
          <a:xfrm>
            <a:off x="7047519" y="5221786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F21B11E7-AF06-4AAF-A83E-878C585EC666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6251858" y="5221789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8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44A6C6A-3712-4F22-AB73-02EF14791FEB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7059868" y="2448174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98A57429-28BA-4B50-8D4B-BE52589BD153}"/>
              </a:ext>
            </a:extLst>
          </p:cNvPr>
          <p:cNvSpPr>
            <a:spLocks noGrp="1"/>
          </p:cNvSpPr>
          <p:nvPr>
            <p:ph type="body" sz="half" idx="53" hasCustomPrompt="1"/>
          </p:nvPr>
        </p:nvSpPr>
        <p:spPr>
          <a:xfrm>
            <a:off x="7059868" y="3372712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8FE7BF6C-D02D-4BAF-82B1-B39EC24946DD}"/>
              </a:ext>
            </a:extLst>
          </p:cNvPr>
          <p:cNvSpPr>
            <a:spLocks noGrp="1"/>
          </p:cNvSpPr>
          <p:nvPr>
            <p:ph type="body" sz="half" idx="54" hasCustomPrompt="1"/>
          </p:nvPr>
        </p:nvSpPr>
        <p:spPr>
          <a:xfrm>
            <a:off x="7059868" y="2871574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</p:spTree>
    <p:extLst>
      <p:ext uri="{BB962C8B-B14F-4D97-AF65-F5344CB8AC3E}">
        <p14:creationId xmlns:p14="http://schemas.microsoft.com/office/powerpoint/2010/main" val="33463271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unlimite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3223"/>
            <a:ext cx="5390425" cy="13188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43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EA9F760-54C7-4D39-BFBE-CB5FEB9E61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71820893-9915-4BFA-B034-1C8F63FF81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100000"/>
              </a:lnSpc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FFD397-3600-4EC8-8694-6DE9A09E921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4E693A-514B-4840-BF84-65FC4630DA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558800" y="2494135"/>
            <a:ext cx="11074400" cy="3539164"/>
          </a:xfrm>
        </p:spPr>
        <p:txBody>
          <a:bodyPr numCol="2" spcCol="457200">
            <a:noAutofit/>
          </a:bodyPr>
          <a:lstStyle>
            <a:lvl1pPr marL="0" indent="0">
              <a:lnSpc>
                <a:spcPct val="120000"/>
              </a:lnSpc>
              <a:buSzPct val="100000"/>
              <a:buFont typeface="Arial" panose="020B0604020202020204" pitchFamily="34" charset="0"/>
              <a:buNone/>
              <a:defRPr>
                <a:latin typeface="+mj-lt"/>
              </a:defRPr>
            </a:lvl1pPr>
            <a:lvl2pPr>
              <a:lnSpc>
                <a:spcPct val="120000"/>
              </a:lnSpc>
              <a:defRPr>
                <a:latin typeface="+mj-lt"/>
              </a:defRPr>
            </a:lvl2pPr>
            <a:lvl3pPr>
              <a:lnSpc>
                <a:spcPct val="120000"/>
              </a:lnSpc>
              <a:defRPr>
                <a:latin typeface="+mj-lt"/>
              </a:defRPr>
            </a:lvl3pPr>
            <a:lvl4pPr>
              <a:lnSpc>
                <a:spcPct val="120000"/>
              </a:lnSpc>
              <a:defRPr>
                <a:latin typeface="+mj-lt"/>
              </a:defRPr>
            </a:lvl4pPr>
            <a:lvl5pPr>
              <a:lnSpc>
                <a:spcPct val="120000"/>
              </a:lnSpc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624542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86F225C-F7F7-4528-849E-361C51FFB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904" y="990601"/>
            <a:ext cx="11077296" cy="126135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pc="-133" baseline="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696DE5-6EFF-4C09-9943-5FCA93FF6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352" y="2431880"/>
            <a:ext cx="11077296" cy="3744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38FCC569-4B46-4920-ACAD-F80E06ACD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98D7571-5BE1-4182-8211-BAD95EBE9A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2B15268-7993-4213-A094-A98AEF8E227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9638535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0601"/>
            <a:ext cx="11080025" cy="127000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pc="-133" baseline="0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9436553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653349"/>
            <a:ext cx="11080025" cy="1044544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>
            <a:lvl1pPr>
              <a:defRPr lang="en-US" spc="-133" baseline="0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60FCB4-EE3E-42E3-BBE8-23ACC4C8255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58800" y="1697893"/>
            <a:ext cx="11074400" cy="791633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Subhead here</a:t>
            </a:r>
          </a:p>
        </p:txBody>
      </p:sp>
    </p:spTree>
    <p:extLst>
      <p:ext uri="{BB962C8B-B14F-4D97-AF65-F5344CB8AC3E}">
        <p14:creationId xmlns:p14="http://schemas.microsoft.com/office/powerpoint/2010/main" val="5788013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653349"/>
            <a:ext cx="11080025" cy="1044544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>
            <a:lvl1pPr>
              <a:defRPr lang="en-US" spc="-133" baseline="0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60FCB4-EE3E-42E3-BBE8-23ACC4C8255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58800" y="1697893"/>
            <a:ext cx="11074400" cy="627163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70470B5-7D83-479D-9564-22B6B8F5C0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352" y="2431880"/>
            <a:ext cx="11077296" cy="3744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7352449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an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DA0E52D-C721-4650-9C0F-6736A8356BDD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83972"/>
            <a:ext cx="5020573" cy="66702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z="2400" spc="0" dirty="0">
                <a:solidFill>
                  <a:schemeClr val="accent5"/>
                </a:solidFill>
                <a:cs typeface="CiscoSansTT" panose="020B0503020201020303" pitchFamily="34" charset="0"/>
              </a:defRPr>
            </a:lvl1pPr>
          </a:lstStyle>
          <a:p>
            <a:pPr marL="0"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127894-6416-466C-BB1B-398D49613D6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530559" y="982135"/>
            <a:ext cx="4923933" cy="668867"/>
          </a:xfrm>
        </p:spPr>
        <p:txBody>
          <a:bodyPr vert="horz" lIns="0" tIns="45720" rIns="0" bIns="45720" rtlCol="0" anchor="t" anchorCtr="0">
            <a:noAutofit/>
          </a:bodyPr>
          <a:lstStyle>
            <a:lvl1pPr marL="0" indent="0">
              <a:buNone/>
              <a:defRPr lang="en-US" sz="2400" kern="100" dirty="0" smtClean="0">
                <a:solidFill>
                  <a:schemeClr val="accent5"/>
                </a:solidFill>
                <a:latin typeface="CiscoSansTT" panose="020B0503020201020303" pitchFamily="34" charset="0"/>
                <a:ea typeface="+mj-ea"/>
                <a:cs typeface="CiscoSansTT" panose="020B0503020201020303" pitchFamily="34" charset="0"/>
              </a:defRPr>
            </a:lvl1pPr>
            <a:lvl2pPr>
              <a:defRPr lang="en-US" dirty="0"/>
            </a:lvl2pPr>
          </a:lstStyle>
          <a:p>
            <a:pPr marL="78314" lvl="0" indent="-380990">
              <a:lnSpc>
                <a:spcPct val="90000"/>
              </a:lnSpc>
              <a:spcBef>
                <a:spcPct val="0"/>
              </a:spcBef>
            </a:pPr>
            <a:r>
              <a:rPr lang="en-US"/>
              <a:t>Headline her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BC4757B-926E-4069-B78F-E73CDA44A4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0496176-F129-4881-B78D-72B2E47446FA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46101" y="1811867"/>
            <a:ext cx="5027385" cy="4214284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3200">
                <a:latin typeface="+mj-lt"/>
              </a:defRPr>
            </a:lvl1pPr>
            <a:lvl2pPr>
              <a:lnSpc>
                <a:spcPct val="90000"/>
              </a:lnSpc>
              <a:defRPr sz="2400"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C9A2F0E-BF59-44DA-B575-55D071F77A76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530560" y="1811867"/>
            <a:ext cx="4912045" cy="4214284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0000"/>
              </a:lnSpc>
              <a:defRPr sz="24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678325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8C469D-456E-4ECF-83FA-AF1F3BDB26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9962" y="2870199"/>
            <a:ext cx="5036747" cy="3306764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8E86-A92A-495E-A49E-35F25D765A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2870199"/>
            <a:ext cx="5036747" cy="3306764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07E327-023E-47A7-9F81-203A5EF3E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C82030-C78E-4E63-AF50-53433F6349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631F93F1-F5D5-44EF-B435-0444DF40D6A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41E03BCD-4647-8142-8C2E-FB3E6786A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3223"/>
            <a:ext cx="10733135" cy="13188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43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4C5DDAA-0303-504E-8EBE-D33A79B54FA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706862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DC1BA0-9AAE-4457-AB7A-2225418D1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8801" y="2605088"/>
            <a:ext cx="4491699" cy="823912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E848AC0-25F2-405D-B9A8-6A6D59BA03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5982" y="3610285"/>
            <a:ext cx="4487517" cy="253283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500"/>
            </a:lvl4pPr>
            <a:lvl5pPr>
              <a:lnSpc>
                <a:spcPct val="100000"/>
              </a:lnSpc>
              <a:defRPr sz="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AF116F-80E4-401F-8142-28C0EE2B6E8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48401" y="2605088"/>
            <a:ext cx="4513820" cy="823912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E3511E8-A554-4DB3-8DE9-40E338349FC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48402" y="3610285"/>
            <a:ext cx="4509617" cy="253283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500"/>
            </a:lvl4pPr>
            <a:lvl5pPr>
              <a:lnSpc>
                <a:spcPct val="100000"/>
              </a:lnSpc>
              <a:defRPr sz="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324A219-BAAE-44FA-9F17-70A08A4E4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0F9371A-4233-460B-91A9-B91A8429B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631F93F1-F5D5-44EF-B435-0444DF40D6A6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E7D2E1E7-3627-C24A-8859-F22E42967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3223"/>
            <a:ext cx="10204844" cy="13188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43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DEBB81F-3B6A-9D42-BBB8-E7239C96535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36758312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324A219-BAAE-44FA-9F17-70A08A4E4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0F9371A-4233-460B-91A9-B91A8429B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631F93F1-F5D5-44EF-B435-0444DF40D6A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58696A-2388-495D-981D-050920BB5C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1" y="5698889"/>
            <a:ext cx="4993217" cy="585216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C009990-5F38-4F94-ABE2-44DA301BD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1" y="5698889"/>
            <a:ext cx="4993217" cy="585216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D01E734-4CA7-4CBD-A769-BCC20375564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8800" y="2870201"/>
            <a:ext cx="5029200" cy="2563284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E24BD1C9-BB6F-4B1A-B0AC-70FBFBAD0D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48400" y="2870201"/>
            <a:ext cx="5029200" cy="2563284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7B77A1AA-FFDB-F549-829A-9D558731DF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3223"/>
            <a:ext cx="10724425" cy="13188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43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9FF5CA2-AA5C-A44B-9D30-11F10D000DF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7063126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7" y="1435770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01829FA-66B0-49C8-B058-060918442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AFEEC4E5-C9B5-4809-A3AF-A1BF455A6D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5AC6BC3-E361-426B-A484-414155D5E00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2455789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852EFE5-F3AD-466D-A810-5721563A61FC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7142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7" y="1435770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bg2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C5A7B1-F776-4AEB-A138-D3C83604F0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bg2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871DBA-F007-46A1-A631-B39FF80484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41D7A26-8D16-41D3-9962-58AF73F09FA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DCAF470-2A1A-492F-A797-E4EF9D10BED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7794432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7" y="1435770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A832AD-9020-43CC-9118-CF9573E3613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9C3388C-D351-41C3-8A5A-719088525C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8FF48E17-5F97-4F10-BA4E-743A412EE4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78C9D1-477C-4088-B4A6-993E397641F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8305861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R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7" y="1435770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568E111-65BF-4A46-8EAE-312C901D58C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99EEAE5F-ECFF-4F72-96BB-3224A53463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0D416E35-5B7F-4B60-AA20-B7D96C3AAF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1D93D2D-5BCB-4781-AF52-A821F4FEE7E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1823352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7" y="1435770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BFC48DC-824F-D44A-AB16-F590AD9FBE6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3297E32-6352-4D99-9949-266620911B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93F2BD-54CB-4DEA-A29C-C6C514A756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0E3BE08-F150-4EA2-BBA1-E1E7F059747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0214439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83972"/>
            <a:ext cx="8071795" cy="66702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z="2400" spc="0" dirty="0">
                <a:solidFill>
                  <a:schemeClr val="accent5"/>
                </a:solidFill>
                <a:cs typeface="CiscoSansTT" panose="020B0503020201020303" pitchFamily="34" charset="0"/>
              </a:defRPr>
            </a:lvl1pPr>
          </a:lstStyle>
          <a:p>
            <a:pPr marL="0"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75BB999-B759-4029-B296-14C2F167911F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46101" y="1811867"/>
            <a:ext cx="8078871" cy="4214284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3700">
                <a:latin typeface="+mj-lt"/>
              </a:defRPr>
            </a:lvl1pPr>
            <a:lvl2pPr>
              <a:lnSpc>
                <a:spcPct val="90000"/>
              </a:lnSpc>
              <a:defRPr sz="2700"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0793940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an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DA0E52D-C721-4650-9C0F-6736A8356BDD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7" y="983972"/>
            <a:ext cx="4981879" cy="66702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z="2400" spc="0" dirty="0">
                <a:solidFill>
                  <a:schemeClr val="accent5"/>
                </a:solidFill>
                <a:cs typeface="CiscoSansTT" panose="020B0503020201020303" pitchFamily="34" charset="0"/>
              </a:defRPr>
            </a:lvl1pPr>
          </a:lstStyle>
          <a:p>
            <a:pPr marL="0"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127894-6416-466C-BB1B-398D49613D6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530558" y="982135"/>
            <a:ext cx="4885983" cy="668867"/>
          </a:xfrm>
        </p:spPr>
        <p:txBody>
          <a:bodyPr vert="horz" lIns="0" tIns="45720" rIns="0" bIns="45720" rtlCol="0" anchor="t" anchorCtr="0">
            <a:noAutofit/>
          </a:bodyPr>
          <a:lstStyle>
            <a:lvl1pPr marL="0" indent="0">
              <a:buNone/>
              <a:defRPr lang="en-US" sz="2400" kern="100" dirty="0" smtClean="0">
                <a:solidFill>
                  <a:schemeClr val="accent5"/>
                </a:solidFill>
                <a:latin typeface="CiscoSansTT" panose="020B0503020201020303" pitchFamily="34" charset="0"/>
                <a:ea typeface="+mj-ea"/>
                <a:cs typeface="CiscoSansTT" panose="020B0503020201020303" pitchFamily="34" charset="0"/>
              </a:defRPr>
            </a:lvl1pPr>
            <a:lvl2pPr>
              <a:defRPr lang="en-US" dirty="0"/>
            </a:lvl2pPr>
          </a:lstStyle>
          <a:p>
            <a:pPr marL="78314" lvl="0" indent="-380990">
              <a:lnSpc>
                <a:spcPct val="90000"/>
              </a:lnSpc>
              <a:spcBef>
                <a:spcPct val="0"/>
              </a:spcBef>
            </a:pPr>
            <a:r>
              <a:rPr lang="en-US"/>
              <a:t>Headline her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BC4757B-926E-4069-B78F-E73CDA44A4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0496176-F129-4881-B78D-72B2E47446FA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46101" y="1811867"/>
            <a:ext cx="4988639" cy="4214284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3200">
                <a:latin typeface="+mj-lt"/>
              </a:defRPr>
            </a:lvl1pPr>
            <a:lvl2pPr>
              <a:lnSpc>
                <a:spcPct val="90000"/>
              </a:lnSpc>
              <a:defRPr sz="2400"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C9A2F0E-BF59-44DA-B575-55D071F77A76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530560" y="1811867"/>
            <a:ext cx="4874187" cy="4214284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0000"/>
              </a:lnSpc>
              <a:defRPr sz="24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319441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240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BA091B5-A806-4305-BC24-7E50D3D4B3A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0"/>
            <a:ext cx="5029200" cy="343621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>
              <a:defRPr sz="1067"/>
            </a:lvl2pPr>
            <a:lvl3pPr>
              <a:defRPr sz="800"/>
            </a:lvl3pPr>
            <a:lvl4pPr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848DCA2-1B24-46EE-95C8-6D3E57E0DD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034828" cy="162197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13C221C-310C-4FD1-A99C-046A2149E8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2" y="6375912"/>
            <a:ext cx="5386555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99F7D69-A9F4-4F01-BFAC-42E7473B3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1E1BB935-C530-47D2-883E-00828E3A8FC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055" y="761514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4DC71E3-10AD-46BC-B5F2-21277D700A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45D52EC-26A2-4717-A839-1CB71E6AF42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861656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BA091B5-A806-4305-BC24-7E50D3D4B3A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0"/>
            <a:ext cx="5029200" cy="343621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>
              <a:defRPr sz="1100"/>
            </a:lvl2pPr>
            <a:lvl3pPr>
              <a:defRPr sz="800"/>
            </a:lvl3pPr>
            <a:lvl4pPr>
              <a:defRPr sz="4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848DCA2-1B24-46EE-95C8-6D3E57E0DD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034828" cy="162197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pc="-133" baseline="0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13C221C-310C-4FD1-A99C-046A2149E8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2" y="6375912"/>
            <a:ext cx="5386555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99F7D69-A9F4-4F01-BFAC-42E7473B3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1E1BB935-C530-47D2-883E-00828E3A8FC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055" y="761514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9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45D52EC-26A2-4717-A839-1CB71E6AF42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ADC0D05-BC65-421F-926D-B535B5CE43F0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8944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BA091B5-A806-4305-BC24-7E50D3D4B3A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5029200" cy="342228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 dirty="0"/>
            </a:lvl1pPr>
            <a:lvl2pPr>
              <a:defRPr lang="en-US" sz="1100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848DCA2-1B24-46EE-95C8-6D3E57E0DD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0599"/>
            <a:ext cx="5034827" cy="168467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99F7D69-A9F4-4F01-BFAC-42E7473B3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70E4E8C-5C8A-4A5C-9CB6-21983AE4806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174B9545-8347-4FBE-AFB1-341783CD0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30050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D667F840-8562-40AC-BE3D-8404AB46E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3984B84-E026-4120-A200-04C1B3AFF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3ADC711-D282-4C9D-AD92-4B5C00C5CDD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34076182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A712B4B-CA11-4116-8559-6D5A2D1AD8D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1"/>
            <a:ext cx="5384800" cy="334378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/>
            </a:lvl1pPr>
            <a:lvl2pPr>
              <a:defRPr lang="en-US" sz="1100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552303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D667F840-8562-40AC-BE3D-8404AB46E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3984B84-E026-4120-A200-04C1B3AFF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3ADC711-D282-4C9D-AD92-4B5C00C5CDD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6592113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with 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52E6C41-3632-4791-A76B-5B35DCA25DAF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189A80C0-FE7D-436D-94CB-79A4952FA34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57055" y="761514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9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EFB02FA9-F74D-409A-AE50-03692123A90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79177" y="2870200"/>
            <a:ext cx="5154188" cy="3606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 dirty="0"/>
            </a:lvl1pPr>
            <a:lvl2pPr>
              <a:defRPr lang="en-US" sz="1100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A66571F9-8F5F-4F9C-B69D-8194767FDE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9176" y="788893"/>
            <a:ext cx="5154025" cy="147170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357B425C-8918-4CBA-983D-6480207069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DAE731F-CEF1-4611-A55D-062453F80F6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17F00142-F1DD-4B1E-A9C4-C526A67469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565646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 column with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B6A8E52-E098-4BEB-8F13-22E14C2A0F4D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67566B7-7005-4688-80F7-DA1BD8DAD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034827" cy="159410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0A1CBFF-FEB1-426F-8ABF-7C8FF483E89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6" y="2675274"/>
            <a:ext cx="2353909" cy="75372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en-US" sz="1900" spc="-8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/>
            <a:r>
              <a:rPr lang="en-US"/>
              <a:t>Subtit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E2F20EC-16BD-48F7-86D9-438E0739413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234092" y="2675274"/>
            <a:ext cx="2353909" cy="75372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en-US" sz="1900" spc="-8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/>
            <a:r>
              <a:rPr lang="en-US"/>
              <a:t>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1A4FF-001F-46B0-B50B-76B7ADF0DB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6" y="3684026"/>
            <a:ext cx="2353909" cy="25383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/>
            </a:lvl1pPr>
            <a:lvl2pPr>
              <a:defRPr lang="en-US" sz="1100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DC8C8FE-D77A-44F7-8C57-F06010945CF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34092" y="3684026"/>
            <a:ext cx="2353909" cy="25383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/>
            </a:lvl1pPr>
            <a:lvl2pPr>
              <a:defRPr lang="en-US" sz="1100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AC2492A7-148D-4E60-BDC4-A6493F242C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CDD052D2-0346-4769-8167-74B8A275E9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6553055" y="761514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9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59658CE-4B1C-4ADA-AC3D-EFB1CD9C445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74606954-118C-4C45-80E6-C37F9445AA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96121D6-85B1-4C28-AC8D-3F3FE793177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31286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 column icons - Graphic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9D1492D-5902-43CB-8931-D377D390098C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E98C8BEA-B15D-4061-953B-D90FCE37158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302291"/>
            <a:ext cx="2278585" cy="6470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900" spc="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DB00627B-8E9E-451B-8924-7096742DBBB8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3320148" y="3302291"/>
            <a:ext cx="2278585" cy="6470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900" spc="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71D6F508-837A-4CD5-AC3A-FF7EE23D05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599"/>
            <a:ext cx="5045559" cy="171254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2-column with icon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C411F75-6788-47F4-9D8B-6D1716F8EC0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5" y="4245578"/>
            <a:ext cx="2278585" cy="198975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/>
            </a:lvl1pPr>
            <a:lvl2pPr>
              <a:defRPr lang="en-US" sz="1100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B962768-3C7E-49E5-AC1D-7730E96FE84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309416" y="4245578"/>
            <a:ext cx="2278585" cy="198975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/>
            </a:lvl1pPr>
            <a:lvl2pPr>
              <a:defRPr lang="en-US" sz="1100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A84CF3E9-1E0B-46B7-BF52-271009164E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63D291-DE41-4BB4-9E4C-30D49C50E58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63904" y="300736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DA18A8E-48CB-4C25-A5F2-E849DDAE33A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320147" y="300736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1C4A4C9F-D416-40E3-B8EA-2BD12E0C07D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055" y="761514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9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A9374F8-EA98-413F-93D6-9F08CC6F089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DD9EF6ED-0BDB-4440-A26F-732B644588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0DA2899-5C85-403B-9BD6-F6A2C1003C7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69466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sm column icons - Graphic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DFF45C6-46F9-8640-A5F1-11290FCEA3EC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63903" y="2988783"/>
            <a:ext cx="2257675" cy="54833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900" spc="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429BA22C-8830-7E4A-B1E1-AC3DC42388CA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563903" y="4868879"/>
            <a:ext cx="2257675" cy="54833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900" spc="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A6A5AFD9-009A-4A4C-94F4-05A23B341CF2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3270816" y="2988783"/>
            <a:ext cx="2317184" cy="54833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900" spc="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8930094A-C63F-1B4B-8A52-5C7320E7BE21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3270816" y="4868879"/>
            <a:ext cx="2317184" cy="54833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900" spc="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C085B0A-AD7F-468E-9CC5-0FE40B937CB6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19A47C88-6D77-40E6-9F1E-6FF92AB2F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034828" cy="148263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con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86AA7C8-7D59-46CE-A267-59CE001AF21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6" y="3727089"/>
            <a:ext cx="2267119" cy="675929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Aft>
                <a:spcPts val="267"/>
              </a:spcAft>
              <a:buNone/>
              <a:defRPr sz="1200" spc="0"/>
            </a:lvl1pPr>
            <a:lvl2pPr marL="378875" indent="-152396">
              <a:lnSpc>
                <a:spcPct val="120000"/>
              </a:lnSpc>
              <a:spcAft>
                <a:spcPts val="267"/>
              </a:spcAft>
              <a:defRPr sz="900" spc="0"/>
            </a:lvl2pPr>
            <a:lvl3pPr marL="687900" indent="-232828">
              <a:defRPr sz="7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D602771-5223-47EB-BA07-406BD8C6942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61124" y="3727089"/>
            <a:ext cx="2326877" cy="675929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Aft>
                <a:spcPts val="267"/>
              </a:spcAft>
              <a:buNone/>
              <a:defRPr sz="1200" spc="0"/>
            </a:lvl1pPr>
            <a:lvl2pPr marL="378875" indent="-152396">
              <a:lnSpc>
                <a:spcPct val="120000"/>
              </a:lnSpc>
              <a:spcAft>
                <a:spcPts val="267"/>
              </a:spcAft>
              <a:defRPr sz="900" spc="0"/>
            </a:lvl2pPr>
            <a:lvl3pPr marL="687900" indent="-232828">
              <a:defRPr sz="7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D47C9E04-F2BD-40A7-B46E-117AEBB53AF0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63906" y="5616954"/>
            <a:ext cx="2267119" cy="675929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Aft>
                <a:spcPts val="267"/>
              </a:spcAft>
              <a:buNone/>
              <a:defRPr sz="1200" spc="0"/>
            </a:lvl1pPr>
            <a:lvl2pPr marL="378875" indent="-152396">
              <a:lnSpc>
                <a:spcPct val="120000"/>
              </a:lnSpc>
              <a:spcAft>
                <a:spcPts val="267"/>
              </a:spcAft>
              <a:defRPr sz="900" spc="0"/>
            </a:lvl2pPr>
            <a:lvl3pPr marL="687900" indent="-232828">
              <a:defRPr sz="7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CE5E9F3F-438C-4859-85E0-F4A6C4DAF8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61124" y="5616954"/>
            <a:ext cx="2326877" cy="675929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Aft>
                <a:spcPts val="267"/>
              </a:spcAft>
              <a:buNone/>
              <a:defRPr sz="1200" spc="0"/>
            </a:lvl1pPr>
            <a:lvl2pPr marL="378875" indent="-152396">
              <a:lnSpc>
                <a:spcPct val="120000"/>
              </a:lnSpc>
              <a:spcAft>
                <a:spcPts val="267"/>
              </a:spcAft>
              <a:defRPr sz="900" spc="0"/>
            </a:lvl2pPr>
            <a:lvl3pPr marL="687900" indent="-232828">
              <a:defRPr sz="7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Slide Number Placeholder 4">
            <a:extLst>
              <a:ext uri="{FF2B5EF4-FFF2-40B4-BE49-F238E27FC236}">
                <a16:creationId xmlns:a16="http://schemas.microsoft.com/office/drawing/2014/main" id="{89496E11-838C-4853-9266-14C470B1EB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1DD1BAC7-1730-495E-82FF-94326537FCF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63906" y="2777347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434F53B-C383-4B15-BF37-0278F10B6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71856" y="2777347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D830F54C-BE4C-4892-AF17-69FB7EE275D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63906" y="465379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743047EE-B643-4307-9434-A43A6442CEA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271856" y="465379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00863BCC-B5EC-45FB-844E-7C3682179BE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055" y="761514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9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D616B35-E779-4164-BE39-DCA9FA4591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7ADC0998-FC91-48CB-BBA2-E75826EA35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6FD7FD53-D3AF-41DB-B84F-D4E80412D91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73220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with transparen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BA091B5-A806-4305-BC24-7E50D3D4B3A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1"/>
            <a:ext cx="5029200" cy="342228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 dirty="0"/>
            </a:lvl1pPr>
            <a:lvl2pPr>
              <a:defRPr lang="en-US" sz="1100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848DCA2-1B24-46EE-95C8-6D3E57E0DD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034827" cy="168467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99F7D69-A9F4-4F01-BFAC-42E7473B3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E7FC8E3-F8D5-4DC5-9A71-8969BF71007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85E86296-46B5-4176-82D9-9548F258FF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726615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with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8C1DAE-07C6-4799-AB2A-6BC4035F1F9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6096000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EFB02FA9-F74D-409A-AE50-03692123A90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79177" y="2870201"/>
            <a:ext cx="5154188" cy="3606799"/>
          </a:xfrm>
        </p:spPr>
        <p:txBody>
          <a:bodyPr>
            <a:noAutofit/>
          </a:bodyPr>
          <a:lstStyle>
            <a:lvl1pPr marL="228594" indent="-228594">
              <a:lnSpc>
                <a:spcPct val="100000"/>
              </a:lnSpc>
              <a:buFont typeface="Arial" panose="020B0604020202020204" pitchFamily="34" charset="0"/>
              <a:buChar char="•"/>
              <a:defRPr sz="13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4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A66571F9-8F5F-4F9C-B69D-8194767FDE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9176" y="990600"/>
            <a:ext cx="5154025" cy="160803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357B425C-8918-4CBA-983D-6480207069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742518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up to 5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3222"/>
            <a:ext cx="4518361" cy="205379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ontents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F3B1879A-B619-984E-82C7-4434B9F2A25C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5782530" y="1013365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1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4BD297AF-7D2D-D94D-B0E8-94538FF52057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6578191" y="2480482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EB822921-0C8E-3C44-A1CD-F57BC9505616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5782530" y="2088630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2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DA9D4E5-FBBF-994F-AA3B-A8FD8ADBD704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6578191" y="3556661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B03C4A2-7938-6849-8D46-277EC2DB2F8E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6578191" y="3135605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5E9B8D30-521D-864E-AAD2-9AB01D6BBF2E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5782530" y="3155431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3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CF377F4-3F0E-754A-84E9-8885433BCA73}"/>
              </a:ext>
            </a:extLst>
          </p:cNvPr>
          <p:cNvSpPr>
            <a:spLocks noGrp="1"/>
          </p:cNvSpPr>
          <p:nvPr>
            <p:ph type="body" sz="half" idx="33" hasCustomPrompt="1"/>
          </p:nvPr>
        </p:nvSpPr>
        <p:spPr>
          <a:xfrm>
            <a:off x="6578191" y="4623462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8B6D2346-F32B-6245-ABF4-0D656814BDAC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6578191" y="4202405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90907DA3-7813-1343-BE3E-5E4707F98652}"/>
              </a:ext>
            </a:extLst>
          </p:cNvPr>
          <p:cNvSpPr>
            <a:spLocks noGrp="1"/>
          </p:cNvSpPr>
          <p:nvPr>
            <p:ph type="body" sz="half" idx="35" hasCustomPrompt="1"/>
          </p:nvPr>
        </p:nvSpPr>
        <p:spPr>
          <a:xfrm>
            <a:off x="5782530" y="4222231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4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357F977-9E83-FB43-A933-EBF86645182F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6578191" y="5664861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43AE9062-3EA5-8441-A358-162479B3E4C4}"/>
              </a:ext>
            </a:extLst>
          </p:cNvPr>
          <p:cNvSpPr>
            <a:spLocks noGrp="1"/>
          </p:cNvSpPr>
          <p:nvPr>
            <p:ph type="body" sz="half" idx="37" hasCustomPrompt="1"/>
          </p:nvPr>
        </p:nvSpPr>
        <p:spPr>
          <a:xfrm>
            <a:off x="6578191" y="5243804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B32ED203-88E4-614B-AB16-C784FB6AAEC2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5782530" y="5263631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5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FB49C323-7C7D-804E-82D9-2045EA5F8DCA}"/>
              </a:ext>
            </a:extLst>
          </p:cNvPr>
          <p:cNvSpPr>
            <a:spLocks noGrp="1"/>
          </p:cNvSpPr>
          <p:nvPr>
            <p:ph type="body" sz="half" idx="39" hasCustomPrompt="1"/>
          </p:nvPr>
        </p:nvSpPr>
        <p:spPr>
          <a:xfrm>
            <a:off x="6578191" y="978559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36E9A218-B974-1D4F-81D6-6E343885F274}"/>
              </a:ext>
            </a:extLst>
          </p:cNvPr>
          <p:cNvSpPr>
            <a:spLocks noGrp="1"/>
          </p:cNvSpPr>
          <p:nvPr>
            <p:ph type="body" sz="half" idx="40" hasCustomPrompt="1"/>
          </p:nvPr>
        </p:nvSpPr>
        <p:spPr>
          <a:xfrm>
            <a:off x="6578191" y="2057083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4E0C9FA-1CEF-D442-805C-B1304D12773B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6578191" y="1401958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EA9F760-54C7-4D39-BFBE-CB5FEB9E61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71820893-9915-4BFA-B034-1C8F63FF81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100000"/>
              </a:lnSpc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FFD397-3600-4EC8-8694-6DE9A09E921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4143214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rgbClr val="F2F2F2"/>
          </a:solidFill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BA091B5-A806-4305-BC24-7E50D3D4B3A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5029200" cy="342228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/>
            </a:lvl1pPr>
            <a:lvl2pPr>
              <a:defRPr lang="en-US" sz="1067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848DCA2-1B24-46EE-95C8-6D3E57E0DD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0599"/>
            <a:ext cx="5034827" cy="168467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99F7D69-A9F4-4F01-BFAC-42E7473B3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70E4E8C-5C8A-4A5C-9CB6-21983AE4806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174B9545-8347-4FBE-AFB1-341783CD0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648257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 column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A3358592-959E-4456-B08C-B18561ACD90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67566B7-7005-4688-80F7-DA1BD8DAD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034828" cy="1461733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0A1CBFF-FEB1-426F-8ABF-7C8FF483E89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6" y="2800677"/>
            <a:ext cx="2321893" cy="77593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b="0" spc="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E2F20EC-16BD-48F7-86D9-438E0739413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266107" y="2800677"/>
            <a:ext cx="2321893" cy="77593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b="0" spc="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1A4FF-001F-46B0-B50B-76B7ADF0DB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6" y="3684026"/>
            <a:ext cx="2321893" cy="25383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 dirty="0"/>
            </a:lvl1pPr>
            <a:lvl2pPr>
              <a:defRPr lang="en-US" sz="1100" dirty="0"/>
            </a:lvl2pPr>
            <a:lvl3pPr>
              <a:defRPr lang="en-US" sz="800" dirty="0"/>
            </a:lvl3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DC8C8FE-D77A-44F7-8C57-F06010945CF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66107" y="3684026"/>
            <a:ext cx="2321893" cy="25383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/>
            </a:lvl1pPr>
            <a:lvl2pPr>
              <a:defRPr lang="en-US" sz="1100"/>
            </a:lvl2pPr>
            <a:lvl3pPr>
              <a:defRPr lang="en-US" sz="800"/>
            </a:lvl3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AC2492A7-148D-4E60-BDC4-A6493F242C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1DA0D3C-E618-4E74-AE1A-D790FB5661A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1208D92E-CD7A-49C0-A704-73CF645867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624825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 column icons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BE8071A5-D2DE-4A93-921A-785E22F45F37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096000" y="0"/>
            <a:ext cx="6096000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E98C8BEA-B15D-4061-953B-D90FCE37158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700087"/>
            <a:ext cx="2322323" cy="59269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DB00627B-8E9E-451B-8924-7096742DBBB8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3276411" y="3700087"/>
            <a:ext cx="2322323" cy="59269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71D6F508-837A-4CD5-AC3A-FF7EE23D05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045560" cy="156623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2-column with icon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C411F75-6788-47F4-9D8B-6D1716F8EC0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5" y="4371432"/>
            <a:ext cx="2322323" cy="185090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 dirty="0"/>
            </a:lvl1pPr>
            <a:lvl2pPr>
              <a:defRPr lang="en-US" sz="1100" dirty="0"/>
            </a:lvl2pPr>
            <a:lvl3pPr>
              <a:defRPr lang="en-US" sz="800" dirty="0"/>
            </a:lvl3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B962768-3C7E-49E5-AC1D-7730E96FE84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65679" y="4371432"/>
            <a:ext cx="2322323" cy="185090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/>
            </a:lvl1pPr>
            <a:lvl2pPr>
              <a:defRPr lang="en-US" sz="1100"/>
            </a:lvl2pPr>
            <a:lvl3pPr>
              <a:defRPr lang="en-US" sz="800"/>
            </a:lvl3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A84CF3E9-1E0B-46B7-BF52-271009164E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63D291-DE41-4BB4-9E4C-30D49C50E58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63904" y="3350787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DA18A8E-48CB-4C25-A5F2-E849DDAE33A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76410" y="3350787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C49583F-365C-4C9E-81DD-9046A0055A5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551AB8E0-3E63-4511-8C72-DE00D1124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769463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sm column icons - Graphic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2965406F-4919-4C06-802B-3D3899E60FA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DFF45C6-46F9-8640-A5F1-11290FCEA3EC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63903" y="3034588"/>
            <a:ext cx="2317184" cy="5887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429BA22C-8830-7E4A-B1E1-AC3DC42388CA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563903" y="4932949"/>
            <a:ext cx="2317184" cy="5887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A6A5AFD9-009A-4A4C-94F4-05A23B341CF2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3270816" y="3034588"/>
            <a:ext cx="2317184" cy="5887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8930094A-C63F-1B4B-8A52-5C7320E7BE21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3270816" y="4932949"/>
            <a:ext cx="2317184" cy="5887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19A47C88-6D77-40E6-9F1E-6FF92AB2F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5034828" cy="14965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con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86AA7C8-7D59-46CE-A267-59CE001AF21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6" y="3727089"/>
            <a:ext cx="2326877" cy="67592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1300" dirty="0"/>
            </a:lvl1pPr>
            <a:lvl2pPr>
              <a:lnSpc>
                <a:spcPct val="100000"/>
              </a:lnSpc>
              <a:defRPr lang="en-US" sz="1100" dirty="0"/>
            </a:lvl2pPr>
          </a:lstStyle>
          <a:p>
            <a:pPr marL="0" lvl="0" indent="0">
              <a:lnSpc>
                <a:spcPct val="120000"/>
              </a:lnSpc>
              <a:spcAft>
                <a:spcPts val="267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D602771-5223-47EB-BA07-406BD8C6942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61124" y="3727089"/>
            <a:ext cx="2326877" cy="67592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1300" dirty="0"/>
            </a:lvl1pPr>
            <a:lvl2pPr>
              <a:lnSpc>
                <a:spcPct val="100000"/>
              </a:lnSpc>
              <a:defRPr lang="en-US" sz="1100" dirty="0"/>
            </a:lvl2pPr>
          </a:lstStyle>
          <a:p>
            <a:pPr marL="0" lvl="0" indent="0">
              <a:lnSpc>
                <a:spcPct val="120000"/>
              </a:lnSpc>
              <a:spcAft>
                <a:spcPts val="267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D47C9E04-F2BD-40A7-B46E-117AEBB53AF0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63906" y="5616954"/>
            <a:ext cx="2326877" cy="67592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1300" dirty="0"/>
            </a:lvl1pPr>
            <a:lvl2pPr>
              <a:lnSpc>
                <a:spcPct val="100000"/>
              </a:lnSpc>
              <a:defRPr lang="en-US" sz="1100" dirty="0"/>
            </a:lvl2pPr>
          </a:lstStyle>
          <a:p>
            <a:pPr marL="0" lvl="0" indent="0">
              <a:lnSpc>
                <a:spcPct val="120000"/>
              </a:lnSpc>
              <a:spcAft>
                <a:spcPts val="267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CE5E9F3F-438C-4859-85E0-F4A6C4DAF8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61124" y="5616954"/>
            <a:ext cx="2326877" cy="67592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1300" dirty="0"/>
            </a:lvl1pPr>
            <a:lvl2pPr>
              <a:lnSpc>
                <a:spcPct val="100000"/>
              </a:lnSpc>
              <a:defRPr lang="en-US" sz="1100" dirty="0"/>
            </a:lvl2pPr>
          </a:lstStyle>
          <a:p>
            <a:pPr marL="0" lvl="0" indent="0">
              <a:lnSpc>
                <a:spcPct val="120000"/>
              </a:lnSpc>
              <a:spcAft>
                <a:spcPts val="267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7" name="Slide Number Placeholder 4">
            <a:extLst>
              <a:ext uri="{FF2B5EF4-FFF2-40B4-BE49-F238E27FC236}">
                <a16:creationId xmlns:a16="http://schemas.microsoft.com/office/drawing/2014/main" id="{89496E11-838C-4853-9266-14C470B1EB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1DD1BAC7-1730-495E-82FF-94326537FCF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63906" y="2688935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434F53B-C383-4B15-BF37-0278F10B6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71856" y="2688935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D830F54C-BE4C-4892-AF17-69FB7EE275D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63906" y="4583649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743047EE-B643-4307-9434-A43A6442CEA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271856" y="4583649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36F33AF-48EA-421B-91FF-4AD7EDD725A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EE29C994-41DB-4E88-8A93-3D10E1A8BA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232736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13E34AB2-EB40-45F2-BAE7-A8136E51FF6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714582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/>
            </a:lvl1pPr>
            <a:lvl2pPr>
              <a:defRPr lang="en-US" sz="1100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  <a:p>
            <a:pPr marL="228594" lvl="3" indent="-228594">
              <a:lnSpc>
                <a:spcPct val="100000"/>
              </a:lnSpc>
            </a:pPr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2616182"/>
            <a:ext cx="3357020" cy="80327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EA591F5-58AE-D343-A6EB-87F69740E76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2620628"/>
            <a:ext cx="3357020" cy="80327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B8558003-6140-3442-986E-2C60FA775A53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2616182"/>
            <a:ext cx="3357020" cy="80327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FBBB06B7-9478-4C6F-9560-109718AC49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965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50389FDF-392D-4049-AC2A-1E9DF18496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Content Placeholder 6">
            <a:extLst>
              <a:ext uri="{FF2B5EF4-FFF2-40B4-BE49-F238E27FC236}">
                <a16:creationId xmlns:a16="http://schemas.microsoft.com/office/drawing/2014/main" id="{5CF71C16-241D-4C12-986F-49C011B6FB62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111" y="3714582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/>
            </a:lvl1pPr>
            <a:lvl2pPr>
              <a:defRPr lang="en-US" sz="1100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  <a:p>
            <a:pPr marL="228594" lvl="3" indent="-228594">
              <a:lnSpc>
                <a:spcPct val="100000"/>
              </a:lnSpc>
            </a:pPr>
            <a:r>
              <a:rPr lang="en-US"/>
              <a:t>Fourth level</a:t>
            </a:r>
          </a:p>
        </p:txBody>
      </p:sp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DF591020-88DC-4E7B-BD72-36E6EB59E14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126438" y="3714582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/>
            </a:lvl1pPr>
            <a:lvl2pPr>
              <a:defRPr lang="en-US" sz="1100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  <a:p>
            <a:pPr marL="228594" lvl="3" indent="-228594">
              <a:lnSpc>
                <a:spcPct val="100000"/>
              </a:lnSpc>
            </a:pPr>
            <a:r>
              <a:rPr lang="en-US"/>
              <a:t>Four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383FF70-E831-4747-A153-F9977C8D40C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1ACA0FBF-BD85-4A2B-857C-5FEA45B4C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93383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A041BB60-92E2-E24D-A7E4-A3567C28152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63902" y="2518229"/>
            <a:ext cx="3501661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EDAD314-6F73-5C4E-93D2-9F6E7C78F6D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3857639"/>
            <a:ext cx="3363063" cy="51663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E5D9876C-926F-4148-B388-37AF2EC91BA9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3857638"/>
            <a:ext cx="3363063" cy="52199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A0EB0E0-8003-1149-85CF-5D63FB41C1C8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3853193"/>
            <a:ext cx="3363063" cy="52199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5C20FC9A-2038-AF44-9486-38D2103687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48111" y="2518229"/>
            <a:ext cx="3501661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14AE4050-3A50-CC40-A2F2-6040AFDD5C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32320" y="2518229"/>
            <a:ext cx="3494627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664EEB71-E7FA-45C6-8549-2F56C38185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3386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images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AD169A5A-D278-4C7A-80C6-4AAAFCE2E1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77CC832-63CA-4131-ABA9-356B02B9073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2" y="4605092"/>
            <a:ext cx="3363063" cy="1617249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CD16B98-DFE6-42E9-983E-5855355500F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48111" y="4605092"/>
            <a:ext cx="3363063" cy="1617249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43A5D85-76F0-4FEF-A17F-4532934D5A5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25286" y="4605092"/>
            <a:ext cx="3363063" cy="1617249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B14B9EC-8559-42D6-A40F-F7BF924ADBA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A5974834-AF48-48D6-A946-C25C1D483A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49142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D1EB964-31F1-4CBE-82A3-C0D6A156FC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55926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icons</a:t>
            </a:r>
          </a:p>
        </p:txBody>
      </p:sp>
      <p:sp>
        <p:nvSpPr>
          <p:cNvPr id="43" name="Slide Number Placeholder 4">
            <a:extLst>
              <a:ext uri="{FF2B5EF4-FFF2-40B4-BE49-F238E27FC236}">
                <a16:creationId xmlns:a16="http://schemas.microsoft.com/office/drawing/2014/main" id="{EF211203-217C-43EA-B455-2829537E92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DD9E95C-54D7-4CDC-9398-06EA3EF4C2B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63904" y="342900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308B72D-42DD-4AFC-86F7-A60C430A65F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48111" y="342900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92FBA143-4C75-4705-B518-3C3BEB4DB59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25287" y="342900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BFFB3BB-96C3-43AE-AE37-B552C0F815F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1" y="3783515"/>
            <a:ext cx="3383963" cy="59075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557260CF-2100-49E9-84E8-B0D7AFADA565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3782745"/>
            <a:ext cx="3383963" cy="5968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0E159BC0-6118-41FB-BD15-D9B76E35ED35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3778299"/>
            <a:ext cx="3383963" cy="5968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2CDBFEA-91A7-4FE4-AAE2-321927A46CE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1" y="4605092"/>
            <a:ext cx="3383963" cy="1617249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1CBFE74-247B-4E42-8A8C-4D5F9D2997F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48111" y="4605092"/>
            <a:ext cx="3383963" cy="1617249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CD5C99F-F57F-4957-BA17-CF590173E3F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25285" y="4605092"/>
            <a:ext cx="3383963" cy="1617249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415BF8F-879F-4E1A-A7D8-9D683393FD0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3534F201-EBA0-46A0-B1E7-7AF9F7C498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7185940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057549"/>
            <a:ext cx="2552092" cy="51906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35F796C-3FA3-4D4C-9E57-306772BBFEB7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8" y="3057549"/>
            <a:ext cx="2552092" cy="51906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3094BC0-195B-294A-B09B-12005D172A0C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057549"/>
            <a:ext cx="2552092" cy="51906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A941269-22F0-1B4D-A516-00DAC2E11BF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057549"/>
            <a:ext cx="2552092" cy="51906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37A293-3428-4F1D-AFE7-A91A006BF4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5732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</a:t>
            </a:r>
          </a:p>
        </p:txBody>
      </p:sp>
      <p:sp>
        <p:nvSpPr>
          <p:cNvPr id="31" name="Slide Number Placeholder 4">
            <a:extLst>
              <a:ext uri="{FF2B5EF4-FFF2-40B4-BE49-F238E27FC236}">
                <a16:creationId xmlns:a16="http://schemas.microsoft.com/office/drawing/2014/main" id="{1F64BCE5-C4DF-42FB-9C93-FE7C16DD9E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A1B0035-5E54-40B0-935E-AFA22AAC3DE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2" y="3755136"/>
            <a:ext cx="2552095" cy="2422987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180B363-3DB0-4182-92AF-F3299D006F1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13562" y="3755136"/>
            <a:ext cx="2552095" cy="2422987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3B10F2FC-21B2-4819-A881-BDACEDED633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47251" y="3755136"/>
            <a:ext cx="2552095" cy="2422987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E502F68-635D-4926-A522-08E45319622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096911" y="3755136"/>
            <a:ext cx="2552095" cy="2422987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673C67A-6C31-484A-AD1D-2437BA26271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40BD81C6-9DFB-4402-A90A-584421618C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752546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316224"/>
            <a:ext cx="2552092" cy="58433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35F796C-3FA3-4D4C-9E57-306772BBFEB7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8" y="3316224"/>
            <a:ext cx="2552092" cy="58433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3094BC0-195B-294A-B09B-12005D172A0C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316224"/>
            <a:ext cx="2552092" cy="58433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A941269-22F0-1B4D-A516-00DAC2E11BF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316224"/>
            <a:ext cx="2552092" cy="58433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BA943510-C75F-4986-83E1-EC263D204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965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cons</a:t>
            </a:r>
          </a:p>
        </p:txBody>
      </p:sp>
      <p:sp>
        <p:nvSpPr>
          <p:cNvPr id="38" name="Slide Number Placeholder 4">
            <a:extLst>
              <a:ext uri="{FF2B5EF4-FFF2-40B4-BE49-F238E27FC236}">
                <a16:creationId xmlns:a16="http://schemas.microsoft.com/office/drawing/2014/main" id="{73F974E0-E6C8-49D5-B2CA-B9DD7D4D65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A680BB83-959F-4FDD-88B5-B99A3D5A146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2" y="4160176"/>
            <a:ext cx="2552095" cy="2082128"/>
          </a:xfrm>
        </p:spPr>
        <p:txBody>
          <a:bodyPr>
            <a:noAutofit/>
          </a:bodyPr>
          <a:lstStyle>
            <a:lvl1pPr marL="228594" indent="-228594">
              <a:lnSpc>
                <a:spcPct val="140000"/>
              </a:lnSpc>
              <a:buFont typeface="Arial" panose="020B0604020202020204" pitchFamily="34" charset="0"/>
              <a:buChar char="•"/>
              <a:defRPr sz="1300"/>
            </a:lvl1pPr>
            <a:lvl2pPr marL="378875" indent="-152396">
              <a:lnSpc>
                <a:spcPct val="140000"/>
              </a:lnSpc>
              <a:defRPr sz="1100"/>
            </a:lvl2pPr>
            <a:lvl3pPr marL="687900" indent="-232828">
              <a:lnSpc>
                <a:spcPct val="140000"/>
              </a:lnSpc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4B47409-39CC-4AB0-89D1-284C38860D9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13561" y="4160176"/>
            <a:ext cx="2626704" cy="2082128"/>
          </a:xfrm>
        </p:spPr>
        <p:txBody>
          <a:bodyPr>
            <a:noAutofit/>
          </a:bodyPr>
          <a:lstStyle>
            <a:lvl1pPr marL="228594" indent="-228594">
              <a:lnSpc>
                <a:spcPct val="140000"/>
              </a:lnSpc>
              <a:buFont typeface="Arial" panose="020B0604020202020204" pitchFamily="34" charset="0"/>
              <a:buChar char="•"/>
              <a:defRPr sz="1300"/>
            </a:lvl1pPr>
            <a:lvl2pPr marL="378875" indent="-152396">
              <a:lnSpc>
                <a:spcPct val="140000"/>
              </a:lnSpc>
              <a:defRPr sz="1100"/>
            </a:lvl2pPr>
            <a:lvl3pPr marL="687900" indent="-232828">
              <a:lnSpc>
                <a:spcPct val="140000"/>
              </a:lnSpc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F9B79A2-65D9-4B8F-8DB9-71B2D0007C2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47251" y="4160176"/>
            <a:ext cx="2552095" cy="2082128"/>
          </a:xfrm>
        </p:spPr>
        <p:txBody>
          <a:bodyPr>
            <a:noAutofit/>
          </a:bodyPr>
          <a:lstStyle>
            <a:lvl1pPr marL="228594" indent="-228594">
              <a:lnSpc>
                <a:spcPct val="140000"/>
              </a:lnSpc>
              <a:buFont typeface="Arial" panose="020B0604020202020204" pitchFamily="34" charset="0"/>
              <a:buChar char="•"/>
              <a:defRPr sz="1300"/>
            </a:lvl1pPr>
            <a:lvl2pPr marL="378875" indent="-152396">
              <a:lnSpc>
                <a:spcPct val="140000"/>
              </a:lnSpc>
              <a:defRPr sz="1100"/>
            </a:lvl2pPr>
            <a:lvl3pPr marL="687900" indent="-232828">
              <a:lnSpc>
                <a:spcPct val="140000"/>
              </a:lnSpc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AB7D9D7-F3C2-4406-B72E-37E861D8E5AE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96911" y="4160176"/>
            <a:ext cx="2552095" cy="2082128"/>
          </a:xfrm>
        </p:spPr>
        <p:txBody>
          <a:bodyPr>
            <a:noAutofit/>
          </a:bodyPr>
          <a:lstStyle>
            <a:lvl1pPr marL="228594" indent="-228594">
              <a:lnSpc>
                <a:spcPct val="140000"/>
              </a:lnSpc>
              <a:buFont typeface="Arial" panose="020B0604020202020204" pitchFamily="34" charset="0"/>
              <a:buChar char="•"/>
              <a:defRPr sz="1300"/>
            </a:lvl1pPr>
            <a:lvl2pPr marL="378875" indent="-152396">
              <a:lnSpc>
                <a:spcPct val="140000"/>
              </a:lnSpc>
              <a:defRPr sz="1100"/>
            </a:lvl2pPr>
            <a:lvl3pPr marL="687900" indent="-232828">
              <a:lnSpc>
                <a:spcPct val="140000"/>
              </a:lnSpc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325DA913-D561-481D-AC9D-C096DA657E3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3904" y="302763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C337FCA0-79CE-4E7B-B272-E4EFB372C12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403233" y="302763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C2E0F4FC-9970-45E4-9784-BCA838895F5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42563" y="302763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014E5A9-0003-43F7-A198-C160ED979BD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081891" y="302763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F166E02-7641-4BBC-8370-DFA541EB63A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F37FEAB2-9122-4DDC-B50E-7C2AADAF96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208239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Quarterly-Plan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88427184-4D4B-2842-98CC-0D13D99CD8BE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563905" y="3169600"/>
            <a:ext cx="2552092" cy="63196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spcBef>
                <a:spcPts val="0"/>
              </a:spcBef>
              <a:buNone/>
              <a:defRPr sz="4300" b="0" i="0" spc="-241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Q1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A3B11FAB-FB94-FE47-98B7-C4E703DCE021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3389550" y="3169600"/>
            <a:ext cx="2552092" cy="63196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spcBef>
                <a:spcPts val="0"/>
              </a:spcBef>
              <a:buNone/>
              <a:defRPr sz="4300" b="0" i="0" spc="-241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Q2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4F5FE934-EAAA-2544-B7A7-0D9F568038D5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6230186" y="3169600"/>
            <a:ext cx="2552092" cy="63196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spcBef>
                <a:spcPts val="0"/>
              </a:spcBef>
              <a:buNone/>
              <a:defRPr sz="4300" b="0" i="0" spc="-241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Q3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50C5B955-9C7B-6947-9744-010C19BBB567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9055831" y="3169600"/>
            <a:ext cx="2552092" cy="63196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spcBef>
                <a:spcPts val="0"/>
              </a:spcBef>
              <a:buNone/>
              <a:defRPr sz="4300" b="0" i="0" spc="-241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Q4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DA111987-1B3E-4A88-9CE0-11B85B6A696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789061"/>
            <a:ext cx="2552092" cy="52451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CB765974-5A94-44D1-BEFA-32064162636B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8" y="3789061"/>
            <a:ext cx="2552092" cy="52451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2DCDDD54-163E-4B72-AC0A-9025AE8ED3A2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789061"/>
            <a:ext cx="2552092" cy="52451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633A5AB9-6304-4852-84C2-13EE0655D16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789061"/>
            <a:ext cx="2552092" cy="52451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9" name="Title Placeholder 1">
            <a:extLst>
              <a:ext uri="{FF2B5EF4-FFF2-40B4-BE49-F238E27FC236}">
                <a16:creationId xmlns:a16="http://schemas.microsoft.com/office/drawing/2014/main" id="{4EAFF05D-F126-4F6F-BC7A-D37D2D819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524436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Quarterly planning headline here</a:t>
            </a:r>
          </a:p>
        </p:txBody>
      </p:sp>
      <p:sp>
        <p:nvSpPr>
          <p:cNvPr id="42" name="Slide Number Placeholder 4">
            <a:extLst>
              <a:ext uri="{FF2B5EF4-FFF2-40B4-BE49-F238E27FC236}">
                <a16:creationId xmlns:a16="http://schemas.microsoft.com/office/drawing/2014/main" id="{B0C4E4CC-F4EF-41B1-859A-BEB4889102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5150659-4B06-4B5C-AEAE-D63AB44A0A0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63902" y="4480780"/>
            <a:ext cx="2552095" cy="162876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E905DCE-53B2-44BC-A04D-E154A3AAD85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13562" y="4480780"/>
            <a:ext cx="2552095" cy="162876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D54CEA9-0F8B-43FF-86F1-30D0A263E4D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47251" y="4480780"/>
            <a:ext cx="2552095" cy="162876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A21997B-0FCE-4F0F-9413-09FF3CABCAF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96911" y="4480780"/>
            <a:ext cx="2552095" cy="162876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CFF6099-0DAF-43E0-A2BE-4FC739C1BE3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BF218AE5-98EE-4C23-93DE-5E0E691847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188425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480C16A7-AC87-3041-BFCA-5BAE809929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63903" y="2518229"/>
            <a:ext cx="2552092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8AFA0CDB-F372-1847-ACE3-8F2552F32E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01446" y="2518229"/>
            <a:ext cx="2552092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2CEDA4E7-FEF8-A844-BD5D-9125501BED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246246" y="2518229"/>
            <a:ext cx="2552092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0C5331F0-DC53-014A-AC10-09442296B48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076533" y="2518229"/>
            <a:ext cx="2552092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857640"/>
            <a:ext cx="2552092" cy="4363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35F796C-3FA3-4D4C-9E57-306772BBFEB7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8" y="3857640"/>
            <a:ext cx="2552092" cy="4363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3094BC0-195B-294A-B09B-12005D172A0C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857640"/>
            <a:ext cx="2552092" cy="4363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A941269-22F0-1B4D-A516-00DAC2E11BF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857640"/>
            <a:ext cx="2552092" cy="4363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E71F9B75-2801-4E3B-A4AF-EE2F5428DF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478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mages</a:t>
            </a:r>
          </a:p>
        </p:txBody>
      </p:sp>
      <p:sp>
        <p:nvSpPr>
          <p:cNvPr id="40" name="Slide Number Placeholder 4">
            <a:extLst>
              <a:ext uri="{FF2B5EF4-FFF2-40B4-BE49-F238E27FC236}">
                <a16:creationId xmlns:a16="http://schemas.microsoft.com/office/drawing/2014/main" id="{C287D7C0-FDBF-4DC2-A5AD-21F027C218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B282261E-4BBB-4DDF-A272-64831DF6A48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63902" y="4479689"/>
            <a:ext cx="2552095" cy="169843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35DF58A1-C9DA-4098-A483-3AF5EEE2823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13562" y="4479689"/>
            <a:ext cx="2552095" cy="169843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506F507-8135-47B0-B749-1ECA83F7A4C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47251" y="4479689"/>
            <a:ext cx="2552095" cy="169843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D835D938-BABF-448A-911C-81BC403D164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96911" y="4479689"/>
            <a:ext cx="2552095" cy="169843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91F740F-284B-4B91-944E-3E248D56447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45924221-968B-489A-B12E-3DB03CF53A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14234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D667F840-8562-40AC-BE3D-8404AB46E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3984B84-E026-4120-A200-04C1B3AFF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3ADC711-D282-4C9D-AD92-4B5C00C5CDD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30039711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con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1" y="0"/>
            <a:ext cx="6096001" cy="6858000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24644A4A-627D-4251-93AA-A2954900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2" y="990600"/>
            <a:ext cx="5125733" cy="12700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A8E6EAB-22F0-4C89-85F8-D4D94992ED22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63903" y="2960399"/>
            <a:ext cx="2319867" cy="46860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EF54FC4E-BD10-4F11-B8AA-EB5EF0D89E43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3268133" y="2960397"/>
            <a:ext cx="2319867" cy="46860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E64A8B51-1A62-459A-8DD3-93B84E82D8DE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563903" y="4880033"/>
            <a:ext cx="2319867" cy="46860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D090DEB6-2BCA-46D7-9263-9EB082FE8736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3268133" y="4880033"/>
            <a:ext cx="2319867" cy="46860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B195F9B-18C2-43DD-8D28-DB82565A615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63903" y="3493741"/>
            <a:ext cx="2319868" cy="89664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00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F57C87-BB0F-4D2F-BDF2-DAE041C1A7D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260877" y="3493741"/>
            <a:ext cx="2319868" cy="89664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00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F88AC67-0FCF-4070-8745-F2172B2CACC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63903" y="5421509"/>
            <a:ext cx="2319868" cy="89664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00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3DC3002-031A-4736-AABA-949B2E31DDE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260877" y="5421509"/>
            <a:ext cx="2319868" cy="89664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00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0695B177-CA0C-4E8C-A61A-DBFC0E3A7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1FCFB0F-38DF-40D9-884B-4BB884CABC0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3904" y="255117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AB00DA7-3784-4F1E-BCF7-020A8B5BBBC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70275" y="255117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4BF908E0-620E-4308-B4E4-794556D881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58800" y="45168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982949E-1A10-4260-ACD5-08C3395104A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265171" y="45168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881526-D455-4016-9E25-0B8C0592F64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50C5796D-69C7-4336-93B7-FBE71B2511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955028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F16390-6737-46A8-8714-112CAB201308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2350284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2344656" cy="3425840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>
              <a:defRPr sz="1100"/>
            </a:lvl2pPr>
            <a:lvl3pPr>
              <a:defRPr sz="800"/>
            </a:lvl3pPr>
            <a:lvl4pPr>
              <a:defRPr sz="4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0A03D6A-E3C9-4E0F-9561-1CDE1AE1995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1" y="339201"/>
            <a:ext cx="2701689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486C98BC-16EE-44A7-A5AA-7D9E634104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4632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F16390-6737-46A8-8714-112CAB201308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903365" y="990599"/>
            <a:ext cx="7790845" cy="5035913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451" y="990600"/>
            <a:ext cx="2357007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2344656" cy="3425840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>
              <a:defRPr sz="1100"/>
            </a:lvl2pPr>
            <a:lvl3pPr>
              <a:defRPr sz="800"/>
            </a:lvl3pPr>
            <a:lvl4pPr>
              <a:defRPr sz="4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2854662-684B-46F5-B1C9-A8380A9FAEC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1" y="339201"/>
            <a:ext cx="2729556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BD02289-A003-4F50-8A0B-E04C3A5D3D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3C0D703A-5C8B-4D7D-9178-8D74110152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202926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2441477-13D0-4DAF-BFCF-92EDFB2CE56C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8" name="Picture 7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C2D43C02-732C-4374-A293-6B6EED828B5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9468" t="16577" r="19683" b="16944"/>
          <a:stretch/>
        </p:blipFill>
        <p:spPr>
          <a:xfrm>
            <a:off x="2849010" y="788893"/>
            <a:ext cx="9342991" cy="5394456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941345" y="1482178"/>
            <a:ext cx="5719729" cy="3817185"/>
          </a:xfrm>
          <a:prstGeom prst="roundRect">
            <a:avLst>
              <a:gd name="adj" fmla="val 1813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0600"/>
            <a:ext cx="2501421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2" y="3051160"/>
            <a:ext cx="2496125" cy="342584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>
              <a:defRPr sz="900"/>
            </a:lvl2pPr>
            <a:lvl3pPr>
              <a:defRPr sz="700"/>
            </a:lvl3pPr>
            <a:lvl4pPr>
              <a:defRPr sz="3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D5595A6-D46E-43B4-94A2-E3A6720BA94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1" y="339201"/>
            <a:ext cx="2655455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84C20AAF-DB2E-2C46-92D6-BF7375063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623622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compu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205681A-15F4-4542-8501-C515AC30D1BA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4" name="Picture 3" descr="Shape&#10;&#10;Description automatically generated">
            <a:extLst>
              <a:ext uri="{FF2B5EF4-FFF2-40B4-BE49-F238E27FC236}">
                <a16:creationId xmlns:a16="http://schemas.microsoft.com/office/drawing/2014/main" id="{6AA2E0EF-0C6B-4EAA-99C1-1ECA8048BD86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7969" t="11745" r="14368" b="7523"/>
          <a:stretch/>
        </p:blipFill>
        <p:spPr>
          <a:xfrm>
            <a:off x="3840796" y="656979"/>
            <a:ext cx="8351205" cy="6131456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765964" y="1161013"/>
            <a:ext cx="5979619" cy="3999807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0600"/>
            <a:ext cx="2522248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2" y="3051160"/>
            <a:ext cx="2516908" cy="342584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>
              <a:defRPr sz="900"/>
            </a:lvl2pPr>
            <a:lvl3pPr>
              <a:defRPr sz="700"/>
            </a:lvl3pPr>
            <a:lvl4pPr>
              <a:defRPr sz="3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98962E2-B3FC-4FBC-BC4B-4742A1803A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1" y="339201"/>
            <a:ext cx="2648527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D8634464-E35F-424D-9518-FD1D77E273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7579285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1E636F5-6A4B-4828-9183-C8400F5ABCF5}"/>
              </a:ext>
            </a:extLst>
          </p:cNvPr>
          <p:cNvSpPr/>
          <p:nvPr/>
        </p:nvSpPr>
        <p:spPr>
          <a:xfrm>
            <a:off x="5057939" y="0"/>
            <a:ext cx="7134061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7" name="Picture 6" descr="A picture containing shape&#10;&#10;Description automatically generated">
            <a:extLst>
              <a:ext uri="{FF2B5EF4-FFF2-40B4-BE49-F238E27FC236}">
                <a16:creationId xmlns:a16="http://schemas.microsoft.com/office/drawing/2014/main" id="{45553720-6AD0-4C34-AF96-C4899D7DC8A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8745" t="13080" r="20085" b="8532"/>
          <a:stretch/>
        </p:blipFill>
        <p:spPr>
          <a:xfrm>
            <a:off x="5878692" y="468831"/>
            <a:ext cx="6557149" cy="6181019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714658" y="831275"/>
            <a:ext cx="3773233" cy="5014700"/>
          </a:xfrm>
          <a:prstGeom prst="roundRect">
            <a:avLst>
              <a:gd name="adj" fmla="val 2134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4127796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4122168" cy="342584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>
              <a:defRPr sz="900"/>
            </a:lvl2pPr>
            <a:lvl3pPr>
              <a:defRPr sz="700"/>
            </a:lvl3pPr>
            <a:lvl4pPr>
              <a:defRPr sz="3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BB01D8E-9815-4F00-B2C4-FCB63EA244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4214091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5B63261B-BB65-7146-AA40-6188B66076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703411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495A01C3-21A9-4B25-AB62-4FAD52B25534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2495" r="22808"/>
          <a:stretch/>
        </p:blipFill>
        <p:spPr>
          <a:xfrm>
            <a:off x="6096001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841673" y="612774"/>
            <a:ext cx="2611580" cy="5607737"/>
          </a:xfrm>
          <a:prstGeom prst="roundRect">
            <a:avLst>
              <a:gd name="adj" fmla="val 10423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034456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5029200" cy="342584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>
              <a:defRPr sz="900"/>
            </a:lvl2pPr>
            <a:lvl3pPr>
              <a:defRPr sz="700"/>
            </a:lvl3pPr>
            <a:lvl4pPr>
              <a:defRPr sz="3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EE9DBE-1BE0-4560-936E-2E2FA427021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D2941A98-608E-7047-AFCD-92F4920A95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055366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con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24644A4A-627D-4251-93AA-A2954900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2639207" cy="12700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A8E6EAB-22F0-4C89-85F8-D4D94992ED22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63903" y="2960399"/>
            <a:ext cx="2628477" cy="46860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E64A8B51-1A62-459A-8DD3-93B84E82D8DE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563903" y="4880033"/>
            <a:ext cx="2628477" cy="46860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B195F9B-18C2-43DD-8D28-DB82565A615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63903" y="3562115"/>
            <a:ext cx="2628476" cy="828268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00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F88AC67-0FCF-4070-8745-F2172B2CACC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63903" y="5489883"/>
            <a:ext cx="2628476" cy="828268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00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0695B177-CA0C-4E8C-A61A-DBFC0E3A7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444E932-C1FA-4694-B252-213CE981534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3904" y="255117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49D67FC-44E3-4A0F-B284-2778CCA9C97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58800" y="45168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4FEE173B-1D21-4AB4-A421-1AB61B9F8D8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84F5CA4-EDBB-48D4-AAFB-EA7E85ACF64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2722589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F01439ED-29DA-4405-95E2-BA47702ECD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324960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C02DD20F-504D-C649-86C3-0A7F098F66D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110017" y="986527"/>
            <a:ext cx="3518084" cy="4999727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93DBED3D-CA03-E943-B119-9872641B21D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336957" y="986527"/>
            <a:ext cx="3503571" cy="4999727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B2924BE-0F83-44F9-8B78-9A892E025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3431871" cy="12700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7350F883-4CBA-438B-9F10-05CAA3763AF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2612573"/>
            <a:ext cx="3421387" cy="9640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9CBC7F64-D22B-46D6-976F-39473E94D2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A76585B6-D6AA-4B89-AF27-606CBEE93F5F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799" y="3776036"/>
            <a:ext cx="3426244" cy="2225208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>
              <a:defRPr sz="1100"/>
            </a:lvl2pPr>
            <a:lvl3pPr>
              <a:defRPr sz="800"/>
            </a:lvl3pPr>
            <a:lvl4pPr>
              <a:defRPr sz="4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AF259D3-3646-418A-ACF1-144AE8A5AA6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161CFB47-5D97-455D-9076-8BE7CF7DCA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087275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and data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642F883-A541-DB46-9654-B4F21790C041}"/>
              </a:ext>
            </a:extLst>
          </p:cNvPr>
          <p:cNvCxnSpPr>
            <a:cxnSpLocks/>
          </p:cNvCxnSpPr>
          <p:nvPr/>
        </p:nvCxnSpPr>
        <p:spPr>
          <a:xfrm>
            <a:off x="563902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56930F6-4614-C940-AA31-EB153B9A3C14}"/>
              </a:ext>
            </a:extLst>
          </p:cNvPr>
          <p:cNvCxnSpPr>
            <a:cxnSpLocks/>
          </p:cNvCxnSpPr>
          <p:nvPr/>
        </p:nvCxnSpPr>
        <p:spPr>
          <a:xfrm>
            <a:off x="4337616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E609397-087F-854B-9535-E4D803EA438C}"/>
              </a:ext>
            </a:extLst>
          </p:cNvPr>
          <p:cNvCxnSpPr>
            <a:cxnSpLocks/>
          </p:cNvCxnSpPr>
          <p:nvPr/>
        </p:nvCxnSpPr>
        <p:spPr>
          <a:xfrm>
            <a:off x="8125846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F6D98EE6-CE26-5746-9F24-417E0C5D93D7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513103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300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20%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756C9CF0-3AB5-A549-A273-298CB4402764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4308588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300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-300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47EE0A8E-A5BD-3644-A4C4-B97D607EF556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8089559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300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80+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8A16D6C-FD3D-414B-9631-678E295DE32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9F0397D-3C93-7845-879A-16F144523B4C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4164765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A03067A-3923-2647-97D3-023C8639F1D2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1FC53C6-F2F8-42A2-A49B-A9238A0EDA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4756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data</a:t>
            </a:r>
          </a:p>
        </p:txBody>
      </p:sp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8A082190-6F7B-4BB6-90A3-08A8220E1F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1FA8DC3-99FB-49CE-B894-90F025FACC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CAF1C110-2104-4113-AC2A-0735ED1299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632245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with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A712B4B-CA11-4116-8559-6D5A2D1AD8D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1"/>
            <a:ext cx="5384800" cy="334378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/>
            </a:lvl1pPr>
            <a:lvl2pPr>
              <a:defRPr lang="en-US" sz="1067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552303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D667F840-8562-40AC-BE3D-8404AB46E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3984B84-E026-4120-A200-04C1B3AFF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3ADC711-D282-4C9D-AD92-4B5C00C5CDD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2933467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and data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5F276A7-E979-4340-9836-CA9BE4464ED1}"/>
              </a:ext>
            </a:extLst>
          </p:cNvPr>
          <p:cNvCxnSpPr>
            <a:cxnSpLocks/>
          </p:cNvCxnSpPr>
          <p:nvPr/>
        </p:nvCxnSpPr>
        <p:spPr>
          <a:xfrm>
            <a:off x="563902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3936A3C-3E7D-9C41-9C09-B7B969F5C00B}"/>
              </a:ext>
            </a:extLst>
          </p:cNvPr>
          <p:cNvCxnSpPr>
            <a:cxnSpLocks/>
          </p:cNvCxnSpPr>
          <p:nvPr/>
        </p:nvCxnSpPr>
        <p:spPr>
          <a:xfrm>
            <a:off x="4337616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5D45874-2D43-0B46-A5F4-6E94698AFB20}"/>
              </a:ext>
            </a:extLst>
          </p:cNvPr>
          <p:cNvCxnSpPr>
            <a:cxnSpLocks/>
          </p:cNvCxnSpPr>
          <p:nvPr/>
        </p:nvCxnSpPr>
        <p:spPr>
          <a:xfrm>
            <a:off x="8125846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D83CB5A-02A6-8446-87FF-B791E6474486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513103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300" b="0" i="0" spc="0" baseline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20%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D444B7E-7F71-4B46-976B-5429DA2173B3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4308588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300" b="0" i="0" spc="0" baseline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-300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00F2D7A-7571-4B4B-A546-B2325912C04B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8089559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300" b="0" i="0" spc="0" baseline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80+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12EFBABB-5C70-4107-9088-C1B0E1BE156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ACC72060-E493-431B-8465-A5C938B0E36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4164765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B9A7DD94-38AB-4DFD-B3B1-7698117E5AA4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B2DA6EB3-F09E-4753-9759-61F5E48DA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8263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data</a:t>
            </a:r>
          </a:p>
        </p:txBody>
      </p:sp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95FD79ED-DC24-410F-98FA-8961227CA5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9419B13-A039-4394-A6EA-FE5AE56A5A7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73EE716-0BC0-46EB-9154-7E5AAA8CE8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157704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and data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06B558A-BDEC-464B-B491-D9BC21129A9D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513103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300" b="0" i="0" spc="0" baseline="0">
                <a:gradFill>
                  <a:gsLst>
                    <a:gs pos="0">
                      <a:schemeClr val="accent3"/>
                    </a:gs>
                    <a:gs pos="97000">
                      <a:schemeClr val="accent4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20%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6ABD542-E4AD-F141-9F7C-F9D7647A7A44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4308588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300" b="0" i="0" spc="0" baseline="0">
                <a:gradFill>
                  <a:gsLst>
                    <a:gs pos="0">
                      <a:schemeClr val="accent3"/>
                    </a:gs>
                    <a:gs pos="97000">
                      <a:schemeClr val="accent4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-300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67E3190-6EA7-2940-AF53-00DFF865B774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8089559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300" b="0" i="0" spc="0" baseline="0">
                <a:gradFill>
                  <a:gsLst>
                    <a:gs pos="0">
                      <a:schemeClr val="accent3"/>
                    </a:gs>
                    <a:gs pos="97000">
                      <a:schemeClr val="accent4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80+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8AAE14-673A-48C3-AB34-E203F644B8E4}"/>
              </a:ext>
            </a:extLst>
          </p:cNvPr>
          <p:cNvCxnSpPr>
            <a:cxnSpLocks/>
          </p:cNvCxnSpPr>
          <p:nvPr/>
        </p:nvCxnSpPr>
        <p:spPr>
          <a:xfrm>
            <a:off x="563902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3373FB8-5D9C-4D1B-987C-CE9B05227EC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73D7130-65B2-418E-A28A-88D753AF2669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4164765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18B7352-50C9-4EB3-B44F-091AA75BB5B2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25ABD418-4BFF-46CA-8258-2592F20AD1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8960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data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B8A52325-3C8A-4F56-829E-2C83AA7B78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4DB9AD6-305E-4CAC-884E-012D9656B7A1}"/>
              </a:ext>
            </a:extLst>
          </p:cNvPr>
          <p:cNvCxnSpPr>
            <a:cxnSpLocks/>
          </p:cNvCxnSpPr>
          <p:nvPr/>
        </p:nvCxnSpPr>
        <p:spPr>
          <a:xfrm>
            <a:off x="4337616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BB1CD7A-4B2C-478A-8E8D-FA20C6C22242}"/>
              </a:ext>
            </a:extLst>
          </p:cNvPr>
          <p:cNvCxnSpPr>
            <a:cxnSpLocks/>
          </p:cNvCxnSpPr>
          <p:nvPr/>
        </p:nvCxnSpPr>
        <p:spPr>
          <a:xfrm>
            <a:off x="8125846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DF1E74D-467C-4D1D-8B2D-9294B98C5C5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F50940B2-ABB8-4233-B366-97C29744D5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6208028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2 data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2462AB-6463-CF4C-ACBF-34DDFE050AC3}"/>
              </a:ext>
            </a:extLst>
          </p:cNvPr>
          <p:cNvCxnSpPr>
            <a:cxnSpLocks/>
          </p:cNvCxnSpPr>
          <p:nvPr/>
        </p:nvCxnSpPr>
        <p:spPr>
          <a:xfrm>
            <a:off x="8121723" y="993221"/>
            <a:ext cx="3506376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1776A2A-B671-AB4E-8FDB-35C6B7BE364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8124669" y="1845940"/>
            <a:ext cx="350637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Description of data option to highlight text with a color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F7A43E-8EF4-FE4A-ACFF-9F5A5EC847DE}"/>
              </a:ext>
            </a:extLst>
          </p:cNvPr>
          <p:cNvCxnSpPr>
            <a:cxnSpLocks/>
          </p:cNvCxnSpPr>
          <p:nvPr/>
        </p:nvCxnSpPr>
        <p:spPr>
          <a:xfrm>
            <a:off x="8121723" y="3346677"/>
            <a:ext cx="3506376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5778F89-154B-F240-B35E-F81B16D999D6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8124669" y="4199396"/>
            <a:ext cx="350637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Description of data option to highlight text with a color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A56877E-29E1-3742-BB24-CC81DFFFE5D8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1723" y="1045030"/>
            <a:ext cx="3506376" cy="800905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3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77%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900FC7C-DD9A-C846-843B-5642805FB71B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8121723" y="3390990"/>
            <a:ext cx="3506376" cy="800905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3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100,000+</a:t>
            </a: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A953F6CF-E655-4E7D-BDFB-6A551D28089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4896179" cy="3399937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 spc="0"/>
            </a:lvl1pPr>
            <a:lvl2pPr>
              <a:defRPr sz="1100" spc="0"/>
            </a:lvl2pPr>
            <a:lvl3pPr>
              <a:defRPr sz="800" spc="0"/>
            </a:lvl3pPr>
            <a:lvl4pPr>
              <a:defRPr sz="400" spc="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35A59425-FB4F-4C38-AD94-620219A101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3220"/>
            <a:ext cx="4901805" cy="170991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with key data right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11798FBB-8372-4722-82BF-FACDB6A640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4127422-6D86-4CED-ABA9-B9D18F6B22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28A8C1EF-D8F4-42D5-AAB0-CC93828312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471364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4 data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2462AB-6463-CF4C-ACBF-34DDFE050AC3}"/>
              </a:ext>
            </a:extLst>
          </p:cNvPr>
          <p:cNvCxnSpPr>
            <a:cxnSpLocks/>
          </p:cNvCxnSpPr>
          <p:nvPr/>
        </p:nvCxnSpPr>
        <p:spPr>
          <a:xfrm>
            <a:off x="9069052" y="993221"/>
            <a:ext cx="255904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1776A2A-B671-AB4E-8FDB-35C6B7BE364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9069051" y="1845940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F7A43E-8EF4-FE4A-ACFF-9F5A5EC847DE}"/>
              </a:ext>
            </a:extLst>
          </p:cNvPr>
          <p:cNvCxnSpPr>
            <a:cxnSpLocks/>
          </p:cNvCxnSpPr>
          <p:nvPr/>
        </p:nvCxnSpPr>
        <p:spPr>
          <a:xfrm>
            <a:off x="9084040" y="3346677"/>
            <a:ext cx="254405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5778F89-154B-F240-B35E-F81B16D999D6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9069051" y="4199396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A56877E-29E1-3742-BB24-CC81DFFFE5D8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9066105" y="1052982"/>
            <a:ext cx="2561996" cy="688453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3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25,000+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900FC7C-DD9A-C846-843B-5642805FB71B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9066105" y="3398942"/>
            <a:ext cx="2561996" cy="688453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3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30%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F9833B0-6B7A-714F-92F0-2318F3988881}"/>
              </a:ext>
            </a:extLst>
          </p:cNvPr>
          <p:cNvCxnSpPr>
            <a:cxnSpLocks/>
          </p:cNvCxnSpPr>
          <p:nvPr/>
        </p:nvCxnSpPr>
        <p:spPr>
          <a:xfrm>
            <a:off x="6235910" y="993221"/>
            <a:ext cx="255904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3FA3CBF-374B-A244-B5C0-E13E40FCC1EA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6235910" y="1845940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116D5F1-B389-8444-92F2-80861F0A60F1}"/>
              </a:ext>
            </a:extLst>
          </p:cNvPr>
          <p:cNvCxnSpPr>
            <a:cxnSpLocks/>
          </p:cNvCxnSpPr>
          <p:nvPr/>
        </p:nvCxnSpPr>
        <p:spPr>
          <a:xfrm>
            <a:off x="6250899" y="3346677"/>
            <a:ext cx="254405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325976-5126-7040-BC43-767BC0796538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6235910" y="4199396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84EF73E-6055-7549-9FBD-CCA53A9BB16F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6232963" y="1052982"/>
            <a:ext cx="2561996" cy="688453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3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77%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96A08685-9430-244D-BED6-B6CDCC29A954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6232963" y="3398942"/>
            <a:ext cx="2561996" cy="688453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3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-50</a:t>
            </a:r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F0978613-50ED-4F51-BBE0-00F6975A767E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4833332" cy="341390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 spc="0"/>
            </a:lvl1pPr>
            <a:lvl2pPr>
              <a:defRPr sz="1100" spc="0"/>
            </a:lvl2pPr>
            <a:lvl3pPr>
              <a:defRPr sz="800" spc="0"/>
            </a:lvl3pPr>
            <a:lvl4pPr>
              <a:defRPr sz="400" spc="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08D8E3A7-A4BC-4E58-A3CD-1366DCB307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3222"/>
            <a:ext cx="4838960" cy="167508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with key data right</a:t>
            </a:r>
          </a:p>
        </p:txBody>
      </p:sp>
      <p:sp>
        <p:nvSpPr>
          <p:cNvPr id="38" name="Slide Number Placeholder 4">
            <a:extLst>
              <a:ext uri="{FF2B5EF4-FFF2-40B4-BE49-F238E27FC236}">
                <a16:creationId xmlns:a16="http://schemas.microsoft.com/office/drawing/2014/main" id="{EB927BF6-B7DB-457A-BD02-2BDF652259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316AFE74-19AA-44F5-A0EC-8E1A24A495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48461BE4-FEE8-4E08-94EF-CF8BE4A0F9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857260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2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2462AB-6463-CF4C-ACBF-34DDFE050AC3}"/>
              </a:ext>
            </a:extLst>
          </p:cNvPr>
          <p:cNvCxnSpPr>
            <a:cxnSpLocks/>
          </p:cNvCxnSpPr>
          <p:nvPr/>
        </p:nvCxnSpPr>
        <p:spPr>
          <a:xfrm>
            <a:off x="8121723" y="993221"/>
            <a:ext cx="3506376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1776A2A-B671-AB4E-8FDB-35C6B7BE364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8124669" y="1599573"/>
            <a:ext cx="3506376" cy="1565295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Description of data with option to highlight text with a color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F7A43E-8EF4-FE4A-ACFF-9F5A5EC847DE}"/>
              </a:ext>
            </a:extLst>
          </p:cNvPr>
          <p:cNvCxnSpPr>
            <a:cxnSpLocks/>
          </p:cNvCxnSpPr>
          <p:nvPr/>
        </p:nvCxnSpPr>
        <p:spPr>
          <a:xfrm>
            <a:off x="8121723" y="3346677"/>
            <a:ext cx="3506376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5778F89-154B-F240-B35E-F81B16D999D6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8124669" y="3953029"/>
            <a:ext cx="3506376" cy="1565295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Description of data with option to highlight text with a color</a:t>
            </a: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A953F6CF-E655-4E7D-BDFB-6A551D28089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4896179" cy="3399937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 spc="0"/>
            </a:lvl1pPr>
            <a:lvl2pPr>
              <a:defRPr sz="1100" spc="0"/>
            </a:lvl2pPr>
            <a:lvl3pPr>
              <a:defRPr sz="800" spc="0"/>
            </a:lvl3pPr>
            <a:lvl4pPr>
              <a:defRPr sz="400" spc="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35A59425-FB4F-4C38-AD94-620219A101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3220"/>
            <a:ext cx="4901805" cy="170991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with key data right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11798FBB-8372-4722-82BF-FACDB6A640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4127422-6D86-4CED-ABA9-B9D18F6B22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28A8C1EF-D8F4-42D5-AAB0-CC93828312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BCAD04E-4C2E-418B-8D4E-04445E6DDC9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124670" y="1139204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BDD70ED-054E-4BF0-8B6B-069CF8E5142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121723" y="347758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</p:spTree>
    <p:extLst>
      <p:ext uri="{BB962C8B-B14F-4D97-AF65-F5344CB8AC3E}">
        <p14:creationId xmlns:p14="http://schemas.microsoft.com/office/powerpoint/2010/main" val="13359668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4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2462AB-6463-CF4C-ACBF-34DDFE050AC3}"/>
              </a:ext>
            </a:extLst>
          </p:cNvPr>
          <p:cNvCxnSpPr>
            <a:cxnSpLocks/>
          </p:cNvCxnSpPr>
          <p:nvPr/>
        </p:nvCxnSpPr>
        <p:spPr>
          <a:xfrm>
            <a:off x="9069052" y="993221"/>
            <a:ext cx="255904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1776A2A-B671-AB4E-8FDB-35C6B7BE364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9069051" y="1612208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F7A43E-8EF4-FE4A-ACFF-9F5A5EC847DE}"/>
              </a:ext>
            </a:extLst>
          </p:cNvPr>
          <p:cNvCxnSpPr>
            <a:cxnSpLocks/>
          </p:cNvCxnSpPr>
          <p:nvPr/>
        </p:nvCxnSpPr>
        <p:spPr>
          <a:xfrm>
            <a:off x="9084040" y="3346677"/>
            <a:ext cx="254405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5778F89-154B-F240-B35E-F81B16D999D6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9069051" y="3965664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F9833B0-6B7A-714F-92F0-2318F3988881}"/>
              </a:ext>
            </a:extLst>
          </p:cNvPr>
          <p:cNvCxnSpPr>
            <a:cxnSpLocks/>
          </p:cNvCxnSpPr>
          <p:nvPr/>
        </p:nvCxnSpPr>
        <p:spPr>
          <a:xfrm>
            <a:off x="6235910" y="993221"/>
            <a:ext cx="255904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3FA3CBF-374B-A244-B5C0-E13E40FCC1EA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6235910" y="1612208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116D5F1-B389-8444-92F2-80861F0A60F1}"/>
              </a:ext>
            </a:extLst>
          </p:cNvPr>
          <p:cNvCxnSpPr>
            <a:cxnSpLocks/>
          </p:cNvCxnSpPr>
          <p:nvPr/>
        </p:nvCxnSpPr>
        <p:spPr>
          <a:xfrm>
            <a:off x="6250899" y="3346677"/>
            <a:ext cx="254405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325976-5126-7040-BC43-767BC0796538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6235910" y="3965664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F0978613-50ED-4F51-BBE0-00F6975A767E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4833332" cy="341390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 spc="0"/>
            </a:lvl1pPr>
            <a:lvl2pPr>
              <a:defRPr sz="1100" spc="0"/>
            </a:lvl2pPr>
            <a:lvl3pPr>
              <a:defRPr sz="800" spc="0"/>
            </a:lvl3pPr>
            <a:lvl4pPr>
              <a:defRPr sz="400" spc="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08D8E3A7-A4BC-4E58-A3CD-1366DCB307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3222"/>
            <a:ext cx="4838960" cy="167508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with key data right</a:t>
            </a:r>
          </a:p>
        </p:txBody>
      </p:sp>
      <p:sp>
        <p:nvSpPr>
          <p:cNvPr id="38" name="Slide Number Placeholder 4">
            <a:extLst>
              <a:ext uri="{FF2B5EF4-FFF2-40B4-BE49-F238E27FC236}">
                <a16:creationId xmlns:a16="http://schemas.microsoft.com/office/drawing/2014/main" id="{EB927BF6-B7DB-457A-BD02-2BDF652259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316AFE74-19AA-44F5-A0EC-8E1A24A495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48461BE4-FEE8-4E08-94EF-CF8BE4A0F9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1529625F-7DEE-402F-BCC7-E3F6B1DFA88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50899" y="1147648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6839659-BE0B-4010-92F6-DAEB5D615CD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50899" y="347971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A83BDD0-E718-4437-ADC5-FDF817E32F4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084040" y="114663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FD13EB52-63CB-4ADD-B22D-D9D6F1D697A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084040" y="3478699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</p:spTree>
    <p:extLst>
      <p:ext uri="{BB962C8B-B14F-4D97-AF65-F5344CB8AC3E}">
        <p14:creationId xmlns:p14="http://schemas.microsoft.com/office/powerpoint/2010/main" val="14455749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eature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6109FABB-685C-064C-97C0-CDEBA83E6A90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75128" y="1681972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9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A94773F4-AAB7-E940-B2A8-EFEBE8948C45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575128" y="3237202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9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67" name="Text Placeholder 3">
            <a:extLst>
              <a:ext uri="{FF2B5EF4-FFF2-40B4-BE49-F238E27FC236}">
                <a16:creationId xmlns:a16="http://schemas.microsoft.com/office/drawing/2014/main" id="{282895ED-6050-3747-8F02-64EC64223ADF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575128" y="4792431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9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87" name="Picture Placeholder 2">
            <a:extLst>
              <a:ext uri="{FF2B5EF4-FFF2-40B4-BE49-F238E27FC236}">
                <a16:creationId xmlns:a16="http://schemas.microsoft.com/office/drawing/2014/main" id="{323133DF-7BD6-514D-BEB7-88A3F593064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803160" y="831957"/>
            <a:ext cx="6603168" cy="5321508"/>
          </a:xfrm>
          <a:prstGeom prst="rect">
            <a:avLst/>
          </a:prstGeom>
          <a:solidFill>
            <a:srgbClr val="121212"/>
          </a:solidFill>
        </p:spPr>
        <p:txBody>
          <a:bodyPr anchor="t" anchorCtr="0">
            <a:noAutofit/>
          </a:bodyPr>
          <a:lstStyle>
            <a:lvl1pPr marL="0" indent="0" algn="ctr">
              <a:buNone/>
              <a:defRPr sz="2500" spc="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1" name="Slide Number Placeholder 4">
            <a:extLst>
              <a:ext uri="{FF2B5EF4-FFF2-40B4-BE49-F238E27FC236}">
                <a16:creationId xmlns:a16="http://schemas.microsoft.com/office/drawing/2014/main" id="{1D2CC720-C5B4-48FE-A1CD-BA2700675B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2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825B61A-3A85-4882-BBB1-5D9D49DE8B11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5128" y="2033026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00" dirty="0">
                <a:solidFill>
                  <a:schemeClr val="tx2"/>
                </a:solidFill>
              </a:defRPr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77C9AC3-9E3A-4EA8-B187-A1C1A3FCF4EC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75128" y="3586888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302676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00" dirty="0">
                <a:solidFill>
                  <a:schemeClr val="tx2"/>
                </a:solidFill>
              </a:defRPr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5D3C119-BE92-4F78-B40B-2CD0BA25798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75128" y="5140751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00" dirty="0">
                <a:solidFill>
                  <a:schemeClr val="tx2"/>
                </a:solidFill>
              </a:defRPr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85E9FFB8-448F-4BEB-9062-AE6453AC476B}"/>
              </a:ext>
            </a:extLst>
          </p:cNvPr>
          <p:cNvSpPr>
            <a:spLocks noGrp="1"/>
          </p:cNvSpPr>
          <p:nvPr>
            <p:ph type="body" sz="half" idx="48" hasCustomPrompt="1"/>
          </p:nvPr>
        </p:nvSpPr>
        <p:spPr>
          <a:xfrm>
            <a:off x="9742445" y="1682132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9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490D1BE3-656B-4816-8D7F-6B972EE99B30}"/>
              </a:ext>
            </a:extLst>
          </p:cNvPr>
          <p:cNvSpPr>
            <a:spLocks noGrp="1"/>
          </p:cNvSpPr>
          <p:nvPr>
            <p:ph type="body" sz="half" idx="50" hasCustomPrompt="1"/>
          </p:nvPr>
        </p:nvSpPr>
        <p:spPr>
          <a:xfrm>
            <a:off x="9742445" y="3237362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9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08A5BB13-4AE6-4F94-B95C-2999ADC2964E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9742445" y="4792591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9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D5A01B2D-2DD4-48BE-9168-CD41BD2A052C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9742445" y="2033186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00" dirty="0">
                <a:solidFill>
                  <a:schemeClr val="tx2"/>
                </a:solidFill>
              </a:defRPr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E50C3374-25F2-4497-910F-A7F20424C332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9742445" y="3587048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00" dirty="0">
                <a:solidFill>
                  <a:schemeClr val="tx2"/>
                </a:solidFill>
              </a:defRPr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7280B0E9-BE28-4C9B-8368-AB8CBD61305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9742445" y="5140911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None/>
              <a:defRPr lang="en-US" sz="900" spc="0" dirty="0">
                <a:solidFill>
                  <a:schemeClr val="tx2"/>
                </a:solidFill>
              </a:defRPr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DB88346-186B-44A2-ACB8-13C6075E17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9008" y="1282135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423CEAC7-9351-44C0-8650-685B42C7DB3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69008" y="283365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92DA7B38-9444-4EC2-8018-21FD1A285F3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569008" y="4385168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9E1862F-9EB8-4655-8F44-7F8EAF7C5A2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742446" y="1296068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09882002-4CDE-4869-868F-E43E999F39D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742446" y="2847584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72D80060-E102-442A-9C04-C7B7F0A30E6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742446" y="43991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5EB31E36-A45C-4CA4-BAD6-608235E681A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BA87D479-30B1-45F9-9188-C9837378F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845904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FB7DABE0-8F22-F041-8366-E2731CE05E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1835" y="1591765"/>
            <a:ext cx="280579" cy="224463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C865750-8F0C-6B4A-A308-228D6B53EE0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01837" y="4666993"/>
            <a:ext cx="6314695" cy="22403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300" b="1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254B061-C071-4247-8356-D55F1F50C5D6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01837" y="4952059"/>
            <a:ext cx="6314695" cy="18960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1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E9F3EB2-8419-DA47-B375-D5E047B95E7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C4105021-0C0A-411C-AAFB-43C46FF3DF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8E7470-A9D2-4756-B67E-9B25728B0E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08A76CFF-C17D-4391-AA7D-BE96902F888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64CA91EC-3163-7644-886D-5ED1A8B68D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620368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5D7582C7-D8A5-B844-99D4-FF1EF0B267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1835" y="1591765"/>
            <a:ext cx="280579" cy="22446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4AD1EDD-48E3-1149-9699-942910AF654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0F001CB-6071-495E-8B33-0D4D8B9A5C6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01837" y="4666993"/>
            <a:ext cx="6314695" cy="22403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300" b="1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D410D66-33BB-4469-B397-AE29D77038D2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01837" y="4952059"/>
            <a:ext cx="6314695" cy="18960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1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30F2DE5F-07B7-44AB-9AE4-5A490A346A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EB9C626-772E-423A-A83B-FDDBB19DAEB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0000"/>
              </a:lnSpc>
              <a:defRPr lang="en-US" sz="400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Click to add quotation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580096A-CA76-40B6-AE91-9B571CCD5D3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0C301F8F-9657-4D42-A3E2-D5C297D493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173329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C8151F1-B4B3-4946-ABEC-1380FC0939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1835" y="1591765"/>
            <a:ext cx="280579" cy="22446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E73A939-ABFE-FF48-B40B-0547237F3E1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33BA5D9-8DD3-44FA-97F1-0BE7E11890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01837" y="4666993"/>
            <a:ext cx="6314695" cy="22403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300" b="1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34D1A77-E568-4CF9-B725-C0D0BF9F82C5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01837" y="4952059"/>
            <a:ext cx="6314695" cy="18960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1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41AF0EE6-B3C9-4B84-B580-E17BEB0703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066B250-A33F-47B7-BFD8-B70059A3BAA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0000"/>
              </a:lnSpc>
              <a:defRPr lang="en-US" sz="400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Click to add quotation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B4E9C83-79F0-4C4D-8790-0879E16319C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11787F27-6C12-1C4F-B427-BCADDA6318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483213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with 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52E6C41-3632-4791-A76B-5B35DCA25DAF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240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189A80C0-FE7D-436D-94CB-79A4952FA34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57055" y="761514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EFB02FA9-F74D-409A-AE50-03692123A90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79177" y="2870200"/>
            <a:ext cx="5154188" cy="3606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/>
            </a:lvl1pPr>
            <a:lvl2pPr>
              <a:defRPr lang="en-US" sz="1067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A66571F9-8F5F-4F9C-B69D-8194767FDE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9176" y="788893"/>
            <a:ext cx="5154025" cy="147170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357B425C-8918-4CBA-983D-6480207069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DAE731F-CEF1-4611-A55D-062453F80F6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17F00142-F1DD-4B1E-A9C4-C526A67469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1481710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C8151F1-B4B3-4946-ABEC-1380FC0939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1835" y="1591765"/>
            <a:ext cx="280579" cy="224463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33BA5D9-8DD3-44FA-97F1-0BE7E11890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01837" y="4666993"/>
            <a:ext cx="6314695" cy="22403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300" b="1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34D1A77-E568-4CF9-B725-C0D0BF9F82C5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01837" y="4952059"/>
            <a:ext cx="6314695" cy="18960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1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41AF0EE6-B3C9-4B84-B580-E17BEB0703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47AAE0F-8337-4F73-9DD9-D379B007EF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0000"/>
              </a:lnSpc>
              <a:defRPr lang="en-US" sz="400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Click to add quotation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82D5AC4-DFBC-4215-B31F-BE1599178FF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55ACF69D-BB42-FF47-8DEC-EC2E42897E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643766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C8151F1-B4B3-4946-ABEC-1380FC0939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1835" y="1591765"/>
            <a:ext cx="280579" cy="224463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33BA5D9-8DD3-44FA-97F1-0BE7E11890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54742" y="4832497"/>
            <a:ext cx="6314695" cy="22403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300" b="1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34D1A77-E568-4CF9-B725-C0D0BF9F82C5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4554742" y="5117563"/>
            <a:ext cx="6314695" cy="18960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1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41AF0EE6-B3C9-4B84-B580-E17BEB0703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47AAE0F-8337-4F73-9DD9-D379B007EF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0000"/>
              </a:lnSpc>
              <a:defRPr lang="en-US" sz="400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Click to add quotation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82D5AC4-DFBC-4215-B31F-BE1599178FF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E376C552-F9A8-7E4A-8D26-C2DA4C751B5A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3401835" y="4542367"/>
            <a:ext cx="1003300" cy="1003300"/>
          </a:xfrm>
          <a:prstGeom prst="ellipse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1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5C90B39F-EC74-9C4E-901C-C3AB7D8EBB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06318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Onl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DF48D7D-2A31-5342-974B-E6C0A305B6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811" y="0"/>
            <a:ext cx="12192000" cy="6858000"/>
          </a:xfrm>
          <a:prstGeom prst="rect">
            <a:avLst/>
          </a:prstGeom>
        </p:spPr>
      </p:pic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CD7246-18F0-9449-830E-610CFE4B43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5" y="6390603"/>
            <a:ext cx="382947" cy="93184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901BFEB-4EC1-5546-8CB9-5458EA8BFB7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030C35B-EFD4-F346-AB2B-A3DEF9B9CD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0000"/>
              </a:lnSpc>
              <a:defRPr lang="en-US" sz="400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Big message slide. </a:t>
            </a:r>
          </a:p>
        </p:txBody>
      </p:sp>
    </p:spTree>
    <p:extLst>
      <p:ext uri="{BB962C8B-B14F-4D97-AF65-F5344CB8AC3E}">
        <p14:creationId xmlns:p14="http://schemas.microsoft.com/office/powerpoint/2010/main" val="36911818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510C04A-4C93-8F41-A2A2-A25E5474C6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D33CF7D7-AC16-3646-8C16-50DD352C76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D509A92-4588-F647-9E8E-7BC7A9D6CFE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5" y="6390603"/>
            <a:ext cx="382947" cy="93184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97476FA5-BB2F-6647-A21B-2BCCE42BAE3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FB1AF2D-4E8F-B44A-B999-793CF1A558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0000"/>
              </a:lnSpc>
              <a:defRPr lang="en-US" sz="400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Big message slide. </a:t>
            </a:r>
          </a:p>
        </p:txBody>
      </p:sp>
    </p:spTree>
    <p:extLst>
      <p:ext uri="{BB962C8B-B14F-4D97-AF65-F5344CB8AC3E}">
        <p14:creationId xmlns:p14="http://schemas.microsoft.com/office/powerpoint/2010/main" val="17105687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3E5F4A29-6D48-F648-ABD6-AF3F551179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09B2F1A-7938-C940-A33A-3CE54DA17D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5" y="6390603"/>
            <a:ext cx="382947" cy="93184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08281CA-8FF4-5D40-BF31-07B3DBE6F9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64D382C-48A2-BC4C-8B69-C344737FE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0000"/>
              </a:lnSpc>
              <a:defRPr lang="en-US" sz="400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Big message slide. </a:t>
            </a:r>
          </a:p>
        </p:txBody>
      </p:sp>
    </p:spTree>
    <p:extLst>
      <p:ext uri="{BB962C8B-B14F-4D97-AF65-F5344CB8AC3E}">
        <p14:creationId xmlns:p14="http://schemas.microsoft.com/office/powerpoint/2010/main" val="19643226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A712B4B-CA11-4116-8559-6D5A2D1AD8D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1"/>
            <a:ext cx="5384800" cy="3343785"/>
          </a:xfrm>
        </p:spPr>
        <p:txBody>
          <a:bodyPr>
            <a:noAutofit/>
          </a:bodyPr>
          <a:lstStyle>
            <a:lvl1pPr marL="228594" indent="-228594">
              <a:lnSpc>
                <a:spcPct val="140000"/>
              </a:lnSpc>
              <a:buFont typeface="Arial" panose="020B0604020202020204" pitchFamily="34" charset="0"/>
              <a:buChar char="•"/>
              <a:defRPr sz="1300"/>
            </a:lvl1pPr>
            <a:lvl2pPr>
              <a:lnSpc>
                <a:spcPct val="140000"/>
              </a:lnSpc>
              <a:defRPr sz="1100"/>
            </a:lvl2pPr>
            <a:lvl3pPr>
              <a:lnSpc>
                <a:spcPct val="140000"/>
              </a:lnSpc>
              <a:defRPr sz="800"/>
            </a:lvl3pPr>
            <a:lvl4pPr>
              <a:lnSpc>
                <a:spcPct val="140000"/>
              </a:lnSpc>
              <a:defRPr sz="4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60107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Turn guides on to use this slide’s grid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3984B84-E026-4120-A200-04C1B3AFF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14B2EEA-5915-42C8-9003-8974AFE90EA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B859ACCB-8619-4E02-BC00-0846527E11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810067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328">
          <p15:clr>
            <a:srgbClr val="FBAE40"/>
          </p15:clr>
        </p15:guide>
        <p15:guide id="3" pos="3168">
          <p15:clr>
            <a:srgbClr val="FBAE40"/>
          </p15:clr>
        </p15:guide>
        <p15:guide id="4" pos="2560">
          <p15:clr>
            <a:srgbClr val="FBAE40"/>
          </p15:clr>
        </p15:guide>
        <p15:guide id="5" pos="2720">
          <p15:clr>
            <a:srgbClr val="FBAE40"/>
          </p15:clr>
        </p15:guide>
        <p15:guide id="6" pos="2144">
          <p15:clr>
            <a:srgbClr val="FBAE40"/>
          </p15:clr>
        </p15:guide>
        <p15:guide id="7" pos="1952">
          <p15:clr>
            <a:srgbClr val="FBAE40"/>
          </p15:clr>
        </p15:guide>
        <p15:guide id="8" pos="1536">
          <p15:clr>
            <a:srgbClr val="FBAE40"/>
          </p15:clr>
        </p15:guide>
        <p15:guide id="9" pos="1376">
          <p15:clr>
            <a:srgbClr val="FBAE40"/>
          </p15:clr>
        </p15:guide>
        <p15:guide id="10" pos="960">
          <p15:clr>
            <a:srgbClr val="FBAE40"/>
          </p15:clr>
        </p15:guide>
        <p15:guide id="11" pos="800">
          <p15:clr>
            <a:srgbClr val="FBAE40"/>
          </p15:clr>
        </p15:guide>
        <p15:guide id="12" pos="4352">
          <p15:clr>
            <a:srgbClr val="FBAE40"/>
          </p15:clr>
        </p15:guide>
        <p15:guide id="13" pos="4512">
          <p15:clr>
            <a:srgbClr val="FBAE40"/>
          </p15:clr>
        </p15:guide>
        <p15:guide id="14" pos="4960">
          <p15:clr>
            <a:srgbClr val="FBAE40"/>
          </p15:clr>
        </p15:guide>
        <p15:guide id="15" pos="5120">
          <p15:clr>
            <a:srgbClr val="FBAE40"/>
          </p15:clr>
        </p15:guide>
        <p15:guide id="16" pos="5536">
          <p15:clr>
            <a:srgbClr val="FBAE40"/>
          </p15:clr>
        </p15:guide>
        <p15:guide id="17" pos="5728">
          <p15:clr>
            <a:srgbClr val="FBAE40"/>
          </p15:clr>
        </p15:guide>
        <p15:guide id="18" pos="6144">
          <p15:clr>
            <a:srgbClr val="FBAE40"/>
          </p15:clr>
        </p15:guide>
        <p15:guide id="19" pos="6304">
          <p15:clr>
            <a:srgbClr val="FBAE40"/>
          </p15:clr>
        </p15:guide>
        <p15:guide id="20" pos="6720">
          <p15:clr>
            <a:srgbClr val="FBAE40"/>
          </p15:clr>
        </p15:guide>
        <p15:guide id="21" pos="6912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825D1DB-33F5-3C4E-9082-E33280F743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1000" y="2794000"/>
            <a:ext cx="1270000" cy="1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06385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ullet_Title onl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6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0D4D706C-208E-844B-B810-749D495D8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30652" y="6376757"/>
            <a:ext cx="382149" cy="366183"/>
          </a:xfrm>
        </p:spPr>
        <p:txBody>
          <a:bodyPr/>
          <a:lstStyle/>
          <a:p>
            <a:fld id="{903ECF40-F530-7A45-B2AB-D7516508951C}" type="slidenum">
              <a:rPr lang="en-US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5934420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6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Footer Placeholder 7">
            <a:extLst>
              <a:ext uri="{FF2B5EF4-FFF2-40B4-BE49-F238E27FC236}">
                <a16:creationId xmlns:a16="http://schemas.microsoft.com/office/drawing/2014/main" id="{4EF6B68D-0B38-B149-9386-D916514FB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4" y="6376758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pPr algn="l"/>
            <a:fld id="{07AB022D-6AB5-0742-A695-7213B7438632}" type="slidenum">
              <a:rPr lang="en-US" smtClean="0"/>
              <a:pPr algn="l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9056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Onl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3E5F4A29-6D48-F648-ABD6-AF3F551179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43E97906-7144-49AB-A952-8A3D40DE42D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09B2F1A-7938-C940-A33A-3CE54DA17D7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4" y="6390603"/>
            <a:ext cx="382947" cy="93184"/>
          </a:xfrm>
          <a:prstGeom prst="rect">
            <a:avLst/>
          </a:prstGeom>
        </p:spPr>
      </p:pic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DC57407B-E5E6-5340-BDD5-E01DE9CA989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7" y="606456"/>
            <a:ext cx="11080025" cy="127000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pc="-100" baseline="0" dirty="0"/>
            </a:lvl1pPr>
          </a:lstStyle>
          <a:p>
            <a:pPr lvl="0"/>
            <a:r>
              <a:rPr lang="en-US"/>
              <a:t>Headline here</a:t>
            </a:r>
          </a:p>
        </p:txBody>
      </p:sp>
    </p:spTree>
    <p:extLst>
      <p:ext uri="{BB962C8B-B14F-4D97-AF65-F5344CB8AC3E}">
        <p14:creationId xmlns:p14="http://schemas.microsoft.com/office/powerpoint/2010/main" val="31314576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 column with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B6A8E52-E098-4BEB-8F13-22E14C2A0F4D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240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67566B7-7005-4688-80F7-DA1BD8DAD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034827" cy="159410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0A1CBFF-FEB1-426F-8ABF-7C8FF483E89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6" y="2675274"/>
            <a:ext cx="2353909" cy="75372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E2F20EC-16BD-48F7-86D9-438E0739413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234092" y="2675274"/>
            <a:ext cx="2353909" cy="75372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1A4FF-001F-46B0-B50B-76B7ADF0DB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6" y="3684026"/>
            <a:ext cx="2353909" cy="25383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DC8C8FE-D77A-44F7-8C57-F06010945CF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34092" y="3684026"/>
            <a:ext cx="2353909" cy="25383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AC2492A7-148D-4E60-BDC4-A6493F242C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CDD052D2-0346-4769-8167-74B8A275E9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6553055" y="761514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59658CE-4B1C-4ADA-AC3D-EFB1CD9C445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E2DF0B0-559C-4128-AC05-B97C0A7A7F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74606954-118C-4C45-80E6-C37F9445AA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4881074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84" indent="-228589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70" indent="-220122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54" indent="-146043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52" indent="-228542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195" indent="-224309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6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20223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32342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ctr">
              <a:defRPr sz="3733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73EE3F-4F93-4D4B-9DE7-44ABAA578D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8" y="6448093"/>
            <a:ext cx="1371600" cy="169101"/>
          </a:xfrm>
          <a:prstGeom prst="rect">
            <a:avLst/>
          </a:prstGeom>
        </p:spPr>
      </p:pic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47D72DC-2AAB-455B-B7B6-E8E98F3864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2" y="6376757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pPr algn="l"/>
            <a:fld id="{07AB022D-6AB5-0742-A695-7213B7438632}" type="slidenum">
              <a:rPr lang="en-US" smtClean="0"/>
              <a:pPr algn="l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18298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3DB55142-3282-44B4-8B59-4020D50B81F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11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77F995B-5AF4-45BF-8B28-CA063BFFEDF8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80260" y="6214836"/>
            <a:ext cx="1554872" cy="422925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41142" y="4713806"/>
            <a:ext cx="6314695" cy="511087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Speaker’s Nam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41142" y="5264012"/>
            <a:ext cx="6314695" cy="95082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Job Title her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142" y="993220"/>
            <a:ext cx="6312765" cy="196977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67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ver headline sentence cas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541142" y="3017205"/>
            <a:ext cx="6328221" cy="16966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27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 err="1"/>
              <a:t>Subheadline</a:t>
            </a:r>
            <a:r>
              <a:rPr lang="en-US"/>
              <a:t> in sentence case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FA08DDBA-7B96-42E2-86EA-0C94483881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E7AC964-20BC-5C44-BB9D-2C010A17A54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 altLang="zh-TW"/>
              <a:t>Month</a:t>
            </a:r>
            <a:r>
              <a:rPr lang="zh-TW" altLang="en-US"/>
              <a:t> </a:t>
            </a:r>
            <a:r>
              <a:rPr lang="en-US" altLang="zh-TW"/>
              <a:t>XX,</a:t>
            </a:r>
            <a:r>
              <a:rPr lang="zh-TW" altLang="en-US"/>
              <a:t> </a:t>
            </a:r>
            <a:r>
              <a:rPr lang="en-US" altLang="zh-TW"/>
              <a:t>Yea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37982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up to 5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3222"/>
            <a:ext cx="4518361" cy="205379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ontents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F3B1879A-B619-984E-82C7-4434B9F2A25C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5782530" y="1011863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1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4BD297AF-7D2D-D94D-B0E8-94538FF52057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6578191" y="2480482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EB822921-0C8E-3C44-A1CD-F57BC9505616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5782530" y="2087129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2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DA9D4E5-FBBF-994F-AA3B-A8FD8ADBD704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6578191" y="3556661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B03C4A2-7938-6849-8D46-277EC2DB2F8E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6578191" y="3135605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5E9B8D30-521D-864E-AAD2-9AB01D6BBF2E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5782530" y="3153930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3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CF377F4-3F0E-754A-84E9-8885433BCA73}"/>
              </a:ext>
            </a:extLst>
          </p:cNvPr>
          <p:cNvSpPr>
            <a:spLocks noGrp="1"/>
          </p:cNvSpPr>
          <p:nvPr>
            <p:ph type="body" sz="half" idx="33" hasCustomPrompt="1"/>
          </p:nvPr>
        </p:nvSpPr>
        <p:spPr>
          <a:xfrm>
            <a:off x="6578191" y="4623462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8B6D2346-F32B-6245-ABF4-0D656814BDAC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6578191" y="4202405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90907DA3-7813-1343-BE3E-5E4707F98652}"/>
              </a:ext>
            </a:extLst>
          </p:cNvPr>
          <p:cNvSpPr>
            <a:spLocks noGrp="1"/>
          </p:cNvSpPr>
          <p:nvPr>
            <p:ph type="body" sz="half" idx="35" hasCustomPrompt="1"/>
          </p:nvPr>
        </p:nvSpPr>
        <p:spPr>
          <a:xfrm>
            <a:off x="5782530" y="4220730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4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357F977-9E83-FB43-A933-EBF86645182F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6578191" y="5664861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43AE9062-3EA5-8441-A358-162479B3E4C4}"/>
              </a:ext>
            </a:extLst>
          </p:cNvPr>
          <p:cNvSpPr>
            <a:spLocks noGrp="1"/>
          </p:cNvSpPr>
          <p:nvPr>
            <p:ph type="body" sz="half" idx="37" hasCustomPrompt="1"/>
          </p:nvPr>
        </p:nvSpPr>
        <p:spPr>
          <a:xfrm>
            <a:off x="6578191" y="5243804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B32ED203-88E4-614B-AB16-C784FB6AAEC2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5782530" y="5262130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5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FB49C323-7C7D-804E-82D9-2045EA5F8DCA}"/>
              </a:ext>
            </a:extLst>
          </p:cNvPr>
          <p:cNvSpPr>
            <a:spLocks noGrp="1"/>
          </p:cNvSpPr>
          <p:nvPr>
            <p:ph type="body" sz="half" idx="39" hasCustomPrompt="1"/>
          </p:nvPr>
        </p:nvSpPr>
        <p:spPr>
          <a:xfrm>
            <a:off x="6578191" y="978559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36E9A218-B974-1D4F-81D6-6E343885F274}"/>
              </a:ext>
            </a:extLst>
          </p:cNvPr>
          <p:cNvSpPr>
            <a:spLocks noGrp="1"/>
          </p:cNvSpPr>
          <p:nvPr>
            <p:ph type="body" sz="half" idx="40" hasCustomPrompt="1"/>
          </p:nvPr>
        </p:nvSpPr>
        <p:spPr>
          <a:xfrm>
            <a:off x="6578191" y="2057083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4E0C9FA-1CEF-D442-805C-B1304D12773B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6578191" y="1401958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EA9F760-54C7-4D39-BFBE-CB5FEB9E61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71820893-9915-4BFA-B034-1C8F63FF81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100000"/>
              </a:lnSpc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FFD397-3600-4EC8-8694-6DE9A09E921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3772699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up to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3223"/>
            <a:ext cx="5390425" cy="13188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43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F3B1879A-B619-984E-82C7-4434B9F2A25C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558801" y="2478139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1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4BD297AF-7D2D-D94D-B0E8-94538FF52057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1354461" y="3810313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EB822921-0C8E-3C44-A1CD-F57BC9505616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558801" y="3397683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2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DA9D4E5-FBBF-994F-AA3B-A8FD8ADBD704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1354461" y="4734069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B03C4A2-7938-6849-8D46-277EC2DB2F8E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1354461" y="4312232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5E9B8D30-521D-864E-AAD2-9AB01D6BBF2E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558801" y="4317227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3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CF377F4-3F0E-754A-84E9-8885433BCA73}"/>
              </a:ext>
            </a:extLst>
          </p:cNvPr>
          <p:cNvSpPr>
            <a:spLocks noGrp="1"/>
          </p:cNvSpPr>
          <p:nvPr>
            <p:ph type="body" sz="half" idx="33" hasCustomPrompt="1"/>
          </p:nvPr>
        </p:nvSpPr>
        <p:spPr>
          <a:xfrm>
            <a:off x="1342112" y="5657826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8B6D2346-F32B-6245-ABF4-0D656814BDAC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1342112" y="5236769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90907DA3-7813-1343-BE3E-5E4707F98652}"/>
              </a:ext>
            </a:extLst>
          </p:cNvPr>
          <p:cNvSpPr>
            <a:spLocks noGrp="1"/>
          </p:cNvSpPr>
          <p:nvPr>
            <p:ph type="body" sz="half" idx="35" hasCustomPrompt="1"/>
          </p:nvPr>
        </p:nvSpPr>
        <p:spPr>
          <a:xfrm>
            <a:off x="546451" y="5236771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4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FB49C323-7C7D-804E-82D9-2045EA5F8DCA}"/>
              </a:ext>
            </a:extLst>
          </p:cNvPr>
          <p:cNvSpPr>
            <a:spLocks noGrp="1"/>
          </p:cNvSpPr>
          <p:nvPr>
            <p:ph type="body" sz="half" idx="39" hasCustomPrompt="1"/>
          </p:nvPr>
        </p:nvSpPr>
        <p:spPr>
          <a:xfrm>
            <a:off x="1354461" y="2463157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36E9A218-B974-1D4F-81D6-6E343885F274}"/>
              </a:ext>
            </a:extLst>
          </p:cNvPr>
          <p:cNvSpPr>
            <a:spLocks noGrp="1"/>
          </p:cNvSpPr>
          <p:nvPr>
            <p:ph type="body" sz="half" idx="40" hasCustomPrompt="1"/>
          </p:nvPr>
        </p:nvSpPr>
        <p:spPr>
          <a:xfrm>
            <a:off x="1354461" y="3387694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4E0C9FA-1CEF-D442-805C-B1304D12773B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1354461" y="2886557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EA9F760-54C7-4D39-BFBE-CB5FEB9E61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71820893-9915-4BFA-B034-1C8F63FF81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100000"/>
              </a:lnSpc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FFD397-3600-4EC8-8694-6DE9A09E921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3C20764-63DC-41E8-9C7F-E25D307EE557}"/>
              </a:ext>
            </a:extLst>
          </p:cNvPr>
          <p:cNvSpPr>
            <a:spLocks noGrp="1"/>
          </p:cNvSpPr>
          <p:nvPr>
            <p:ph type="body" sz="half" idx="43" hasCustomPrompt="1"/>
          </p:nvPr>
        </p:nvSpPr>
        <p:spPr>
          <a:xfrm>
            <a:off x="6264207" y="2463157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5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54FF577-772A-41CF-B806-B27FEBD63D74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7059868" y="3795330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B55BF2F-380E-4EFB-B046-8182E6C5D20A}"/>
              </a:ext>
            </a:extLst>
          </p:cNvPr>
          <p:cNvSpPr>
            <a:spLocks noGrp="1"/>
          </p:cNvSpPr>
          <p:nvPr>
            <p:ph type="body" sz="half" idx="45" hasCustomPrompt="1"/>
          </p:nvPr>
        </p:nvSpPr>
        <p:spPr>
          <a:xfrm>
            <a:off x="6264207" y="3382701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6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43F57A3-46B0-4550-84B1-CC695920B0EE}"/>
              </a:ext>
            </a:extLst>
          </p:cNvPr>
          <p:cNvSpPr>
            <a:spLocks noGrp="1"/>
          </p:cNvSpPr>
          <p:nvPr>
            <p:ph type="body" sz="half" idx="46" hasCustomPrompt="1"/>
          </p:nvPr>
        </p:nvSpPr>
        <p:spPr>
          <a:xfrm>
            <a:off x="7059868" y="4719086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3789CA6-53C8-4BAE-954E-06003EB6D646}"/>
              </a:ext>
            </a:extLst>
          </p:cNvPr>
          <p:cNvSpPr>
            <a:spLocks noGrp="1"/>
          </p:cNvSpPr>
          <p:nvPr>
            <p:ph type="body" sz="half" idx="47" hasCustomPrompt="1"/>
          </p:nvPr>
        </p:nvSpPr>
        <p:spPr>
          <a:xfrm>
            <a:off x="7059868" y="4297249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6496AA22-DA56-4B97-8E59-16462CD7A335}"/>
              </a:ext>
            </a:extLst>
          </p:cNvPr>
          <p:cNvSpPr>
            <a:spLocks noGrp="1"/>
          </p:cNvSpPr>
          <p:nvPr>
            <p:ph type="body" sz="half" idx="48" hasCustomPrompt="1"/>
          </p:nvPr>
        </p:nvSpPr>
        <p:spPr>
          <a:xfrm>
            <a:off x="6264207" y="4302245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6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4C89E3A-AB27-4036-93FF-BD8A83504130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7047519" y="5642843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0F66D1C-C372-4707-AA8E-384994CA8FB5}"/>
              </a:ext>
            </a:extLst>
          </p:cNvPr>
          <p:cNvSpPr>
            <a:spLocks noGrp="1"/>
          </p:cNvSpPr>
          <p:nvPr>
            <p:ph type="body" sz="half" idx="50" hasCustomPrompt="1"/>
          </p:nvPr>
        </p:nvSpPr>
        <p:spPr>
          <a:xfrm>
            <a:off x="7047519" y="5221786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F21B11E7-AF06-4AAF-A83E-878C585EC666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6251858" y="5221789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08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44A6C6A-3712-4F22-AB73-02EF14791FEB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7059868" y="2448174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98A57429-28BA-4B50-8D4B-BE52589BD153}"/>
              </a:ext>
            </a:extLst>
          </p:cNvPr>
          <p:cNvSpPr>
            <a:spLocks noGrp="1"/>
          </p:cNvSpPr>
          <p:nvPr>
            <p:ph type="body" sz="half" idx="53" hasCustomPrompt="1"/>
          </p:nvPr>
        </p:nvSpPr>
        <p:spPr>
          <a:xfrm>
            <a:off x="7059868" y="3372712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00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8FE7BF6C-D02D-4BAF-82B1-B39EC24946DD}"/>
              </a:ext>
            </a:extLst>
          </p:cNvPr>
          <p:cNvSpPr>
            <a:spLocks noGrp="1"/>
          </p:cNvSpPr>
          <p:nvPr>
            <p:ph type="body" sz="half" idx="54" hasCustomPrompt="1"/>
          </p:nvPr>
        </p:nvSpPr>
        <p:spPr>
          <a:xfrm>
            <a:off x="7059868" y="2871574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</p:spTree>
    <p:extLst>
      <p:ext uri="{BB962C8B-B14F-4D97-AF65-F5344CB8AC3E}">
        <p14:creationId xmlns:p14="http://schemas.microsoft.com/office/powerpoint/2010/main" val="26826434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unlimite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3223"/>
            <a:ext cx="5390425" cy="13188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43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EA9F760-54C7-4D39-BFBE-CB5FEB9E61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71820893-9915-4BFA-B034-1C8F63FF81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100000"/>
              </a:lnSpc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FFD397-3600-4EC8-8694-6DE9A09E921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4E693A-514B-4840-BF84-65FC4630DA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558800" y="2494135"/>
            <a:ext cx="11074400" cy="3539164"/>
          </a:xfrm>
        </p:spPr>
        <p:txBody>
          <a:bodyPr numCol="2" spcCol="457200">
            <a:noAutofit/>
          </a:bodyPr>
          <a:lstStyle>
            <a:lvl1pPr marL="0" indent="0">
              <a:lnSpc>
                <a:spcPct val="120000"/>
              </a:lnSpc>
              <a:buSzPct val="100000"/>
              <a:buFont typeface="Arial" panose="020B0604020202020204" pitchFamily="34" charset="0"/>
              <a:buNone/>
              <a:defRPr>
                <a:latin typeface="+mj-lt"/>
              </a:defRPr>
            </a:lvl1pPr>
            <a:lvl2pPr>
              <a:lnSpc>
                <a:spcPct val="120000"/>
              </a:lnSpc>
              <a:defRPr>
                <a:latin typeface="+mj-lt"/>
              </a:defRPr>
            </a:lvl2pPr>
            <a:lvl3pPr>
              <a:lnSpc>
                <a:spcPct val="120000"/>
              </a:lnSpc>
              <a:defRPr>
                <a:latin typeface="+mj-lt"/>
              </a:defRPr>
            </a:lvl3pPr>
            <a:lvl4pPr>
              <a:lnSpc>
                <a:spcPct val="120000"/>
              </a:lnSpc>
              <a:defRPr>
                <a:latin typeface="+mj-lt"/>
              </a:defRPr>
            </a:lvl4pPr>
            <a:lvl5pPr>
              <a:lnSpc>
                <a:spcPct val="120000"/>
              </a:lnSpc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446848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86F225C-F7F7-4528-849E-361C51FFB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904" y="990601"/>
            <a:ext cx="11077296" cy="126135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pc="-133" baseline="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696DE5-6EFF-4C09-9943-5FCA93FF6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352" y="2431880"/>
            <a:ext cx="11077296" cy="3744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38FCC569-4B46-4920-ACAD-F80E06ACD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98D7571-5BE1-4182-8211-BAD95EBE9A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2B15268-7993-4213-A094-A98AEF8E227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33940696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0601"/>
            <a:ext cx="11080025" cy="127000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pc="-133" baseline="0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3288630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653349"/>
            <a:ext cx="11080025" cy="1044544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>
            <a:lvl1pPr>
              <a:defRPr lang="en-US" spc="-133" baseline="0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60FCB4-EE3E-42E3-BBE8-23ACC4C8255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58800" y="1697893"/>
            <a:ext cx="11074400" cy="791633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Subhead here</a:t>
            </a:r>
          </a:p>
        </p:txBody>
      </p:sp>
    </p:spTree>
    <p:extLst>
      <p:ext uri="{BB962C8B-B14F-4D97-AF65-F5344CB8AC3E}">
        <p14:creationId xmlns:p14="http://schemas.microsoft.com/office/powerpoint/2010/main" val="34140177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653349"/>
            <a:ext cx="11080025" cy="1044544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>
            <a:lvl1pPr>
              <a:defRPr lang="en-US" spc="-133" baseline="0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60FCB4-EE3E-42E3-BBE8-23ACC4C8255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58800" y="1697893"/>
            <a:ext cx="11074400" cy="627163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70470B5-7D83-479D-9564-22B6B8F5C0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352" y="2431880"/>
            <a:ext cx="11077296" cy="3744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604517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 column icons - Graphic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9D1492D-5902-43CB-8931-D377D390098C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240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E98C8BEA-B15D-4061-953B-D90FCE37158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302291"/>
            <a:ext cx="2278585" cy="64706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DB00627B-8E9E-451B-8924-7096742DBBB8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3320148" y="3302291"/>
            <a:ext cx="2278585" cy="64706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71D6F508-837A-4CD5-AC3A-FF7EE23D05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599"/>
            <a:ext cx="5045559" cy="171254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2-column with icon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C411F75-6788-47F4-9D8B-6D1716F8EC0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5" y="4245578"/>
            <a:ext cx="2278585" cy="198975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B962768-3C7E-49E5-AC1D-7730E96FE84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309416" y="4245578"/>
            <a:ext cx="2278585" cy="198975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A84CF3E9-1E0B-46B7-BF52-271009164E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63D291-DE41-4BB4-9E4C-30D49C50E58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63904" y="300736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DA18A8E-48CB-4C25-A5F2-E849DDAE33A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320147" y="300736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1C4A4C9F-D416-40E3-B8EA-2BD12E0C07D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055" y="761514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C3060A7-90CE-441E-9DA5-205EE2CEF9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A9374F8-EA98-413F-93D6-9F08CC6F089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DD9EF6ED-0BDB-4440-A26F-732B644588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3142502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8C469D-456E-4ECF-83FA-AF1F3BDB26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9962" y="2870199"/>
            <a:ext cx="5036747" cy="3306764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8E86-A92A-495E-A49E-35F25D765A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2870199"/>
            <a:ext cx="5036747" cy="3306764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07E327-023E-47A7-9F81-203A5EF3E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C82030-C78E-4E63-AF50-53433F6349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631F93F1-F5D5-44EF-B435-0444DF40D6A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41E03BCD-4647-8142-8C2E-FB3E6786A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3223"/>
            <a:ext cx="10733135" cy="13188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43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4C5DDAA-0303-504E-8EBE-D33A79B54FA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37786482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DC1BA0-9AAE-4457-AB7A-2225418D1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8801" y="2605088"/>
            <a:ext cx="4491699" cy="823912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E848AC0-25F2-405D-B9A8-6A6D59BA03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5982" y="3610285"/>
            <a:ext cx="4487517" cy="253283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500"/>
            </a:lvl4pPr>
            <a:lvl5pPr>
              <a:lnSpc>
                <a:spcPct val="100000"/>
              </a:lnSpc>
              <a:defRPr sz="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AF116F-80E4-401F-8142-28C0EE2B6E8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48401" y="2605088"/>
            <a:ext cx="4513820" cy="823912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E3511E8-A554-4DB3-8DE9-40E338349FC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48402" y="3610285"/>
            <a:ext cx="4509617" cy="253283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900"/>
            </a:lvl3pPr>
            <a:lvl4pPr>
              <a:lnSpc>
                <a:spcPct val="100000"/>
              </a:lnSpc>
              <a:defRPr sz="500"/>
            </a:lvl4pPr>
            <a:lvl5pPr>
              <a:lnSpc>
                <a:spcPct val="100000"/>
              </a:lnSpc>
              <a:defRPr sz="3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324A219-BAAE-44FA-9F17-70A08A4E4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0F9371A-4233-460B-91A9-B91A8429B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631F93F1-F5D5-44EF-B435-0444DF40D6A6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E7D2E1E7-3627-C24A-8859-F22E42967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3223"/>
            <a:ext cx="10204844" cy="13188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43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DEBB81F-3B6A-9D42-BBB8-E7239C96535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584511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324A219-BAAE-44FA-9F17-70A08A4E4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0F9371A-4233-460B-91A9-B91A8429B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631F93F1-F5D5-44EF-B435-0444DF40D6A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58696A-2388-495D-981D-050920BB5C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1" y="5698889"/>
            <a:ext cx="4993217" cy="585216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C009990-5F38-4F94-ABE2-44DA301BD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1" y="5698889"/>
            <a:ext cx="4993217" cy="585216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D01E734-4CA7-4CBD-A769-BCC20375564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8800" y="2870201"/>
            <a:ext cx="5029200" cy="2563284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E24BD1C9-BB6F-4B1A-B0AC-70FBFBAD0D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48400" y="2870201"/>
            <a:ext cx="5029200" cy="2563284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7B77A1AA-FFDB-F549-829A-9D558731DF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3223"/>
            <a:ext cx="10724425" cy="13188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43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9FF5CA2-AA5C-A44B-9D30-11F10D000DF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0888088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7" y="1435770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01829FA-66B0-49C8-B058-060918442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AFEEC4E5-C9B5-4809-A3AF-A1BF455A6D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5AC6BC3-E361-426B-A484-414155D5E00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7067739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852EFE5-F3AD-466D-A810-5721563A61F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7142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7" y="1435770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bg2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C5A7B1-F776-4AEB-A138-D3C83604F0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bg2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871DBA-F007-46A1-A631-B39FF80484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41D7A26-8D16-41D3-9962-58AF73F09FAC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DCAF470-2A1A-492F-A797-E4EF9D10BED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9482586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7" y="1435770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A832AD-9020-43CC-9118-CF9573E3613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9C3388C-D351-41C3-8A5A-719088525C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8FF48E17-5F97-4F10-BA4E-743A412EE4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78C9D1-477C-4088-B4A6-993E397641F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0209266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Red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7" y="1435770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568E111-65BF-4A46-8EAE-312C901D58C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99EEAE5F-ECFF-4F72-96BB-3224A53463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0D416E35-5B7F-4B60-AA20-B7D96C3AAF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1D93D2D-5BCB-4781-AF52-A821F4FEE7E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4160733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Orang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7" y="1435770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BFC48DC-824F-D44A-AB16-F590AD9FBE6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3297E32-6352-4D99-9949-266620911B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93F2BD-54CB-4DEA-A29C-C6C514A756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0E3BE08-F150-4EA2-BBA1-E1E7F059747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257360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83972"/>
            <a:ext cx="8071795" cy="66702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z="2400" spc="0" dirty="0">
                <a:solidFill>
                  <a:schemeClr val="accent5"/>
                </a:solidFill>
                <a:cs typeface="CiscoSansTT" panose="020B0503020201020303" pitchFamily="34" charset="0"/>
              </a:defRPr>
            </a:lvl1pPr>
          </a:lstStyle>
          <a:p>
            <a:pPr marL="0"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75BB999-B759-4029-B296-14C2F167911F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46101" y="1811867"/>
            <a:ext cx="8078871" cy="4214284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3700">
                <a:latin typeface="+mj-lt"/>
              </a:defRPr>
            </a:lvl1pPr>
            <a:lvl2pPr>
              <a:lnSpc>
                <a:spcPct val="90000"/>
              </a:lnSpc>
              <a:defRPr sz="2700"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8185001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an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DA0E52D-C721-4650-9C0F-6736A8356BDD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7" y="983972"/>
            <a:ext cx="4981879" cy="66702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z="2400" spc="0" dirty="0">
                <a:solidFill>
                  <a:schemeClr val="accent5"/>
                </a:solidFill>
                <a:cs typeface="CiscoSansTT" panose="020B0503020201020303" pitchFamily="34" charset="0"/>
              </a:defRPr>
            </a:lvl1pPr>
          </a:lstStyle>
          <a:p>
            <a:pPr marL="0"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127894-6416-466C-BB1B-398D49613D6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530558" y="982135"/>
            <a:ext cx="4885983" cy="668867"/>
          </a:xfrm>
        </p:spPr>
        <p:txBody>
          <a:bodyPr vert="horz" lIns="0" tIns="45720" rIns="0" bIns="45720" rtlCol="0" anchor="t" anchorCtr="0">
            <a:noAutofit/>
          </a:bodyPr>
          <a:lstStyle>
            <a:lvl1pPr marL="0" indent="0">
              <a:buNone/>
              <a:defRPr lang="en-US" sz="2400" kern="100" dirty="0" smtClean="0">
                <a:solidFill>
                  <a:schemeClr val="accent5"/>
                </a:solidFill>
                <a:latin typeface="CiscoSansTT" panose="020B0503020201020303" pitchFamily="34" charset="0"/>
                <a:ea typeface="+mj-ea"/>
                <a:cs typeface="CiscoSansTT" panose="020B0503020201020303" pitchFamily="34" charset="0"/>
              </a:defRPr>
            </a:lvl1pPr>
            <a:lvl2pPr>
              <a:defRPr lang="en-US" dirty="0"/>
            </a:lvl2pPr>
          </a:lstStyle>
          <a:p>
            <a:pPr marL="78314" lvl="0" indent="-380990">
              <a:lnSpc>
                <a:spcPct val="90000"/>
              </a:lnSpc>
              <a:spcBef>
                <a:spcPct val="0"/>
              </a:spcBef>
            </a:pPr>
            <a:r>
              <a:rPr lang="en-US"/>
              <a:t>Headline her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BC4757B-926E-4069-B78F-E73CDA44A44E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0496176-F129-4881-B78D-72B2E47446FA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46101" y="1811867"/>
            <a:ext cx="4988639" cy="4214284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3200">
                <a:latin typeface="+mj-lt"/>
              </a:defRPr>
            </a:lvl1pPr>
            <a:lvl2pPr>
              <a:lnSpc>
                <a:spcPct val="90000"/>
              </a:lnSpc>
              <a:defRPr sz="2400"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C9A2F0E-BF59-44DA-B575-55D071F77A76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530560" y="1811867"/>
            <a:ext cx="4874187" cy="4214284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0000"/>
              </a:lnSpc>
              <a:defRPr sz="24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0305243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sm column icons - Graphic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DFF45C6-46F9-8640-A5F1-11290FCEA3EC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63903" y="2988783"/>
            <a:ext cx="2257675" cy="54833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429BA22C-8830-7E4A-B1E1-AC3DC42388CA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563903" y="4868879"/>
            <a:ext cx="2257675" cy="54833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A6A5AFD9-009A-4A4C-94F4-05A23B341CF2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3270816" y="2988783"/>
            <a:ext cx="2317184" cy="54833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8930094A-C63F-1B4B-8A52-5C7320E7BE21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3270816" y="4868879"/>
            <a:ext cx="2317184" cy="54833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C085B0A-AD7F-468E-9CC5-0FE40B937CB6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19A47C88-6D77-40E6-9F1E-6FF92AB2F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034828" cy="148263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con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86AA7C8-7D59-46CE-A267-59CE001AF21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6" y="3727089"/>
            <a:ext cx="2267119" cy="675929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Aft>
                <a:spcPts val="267"/>
              </a:spcAft>
              <a:buNone/>
              <a:defRPr sz="1200"/>
            </a:lvl1pPr>
            <a:lvl2pPr marL="378875" indent="-152396">
              <a:lnSpc>
                <a:spcPct val="120000"/>
              </a:lnSpc>
              <a:spcAft>
                <a:spcPts val="267"/>
              </a:spcAft>
              <a:defRPr sz="933"/>
            </a:lvl2pPr>
            <a:lvl3pPr marL="687900" indent="-232828">
              <a:defRPr sz="667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D602771-5223-47EB-BA07-406BD8C6942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61124" y="3727089"/>
            <a:ext cx="2326877" cy="675929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Aft>
                <a:spcPts val="267"/>
              </a:spcAft>
              <a:buNone/>
              <a:defRPr sz="1200"/>
            </a:lvl1pPr>
            <a:lvl2pPr marL="378875" indent="-152396">
              <a:lnSpc>
                <a:spcPct val="120000"/>
              </a:lnSpc>
              <a:spcAft>
                <a:spcPts val="267"/>
              </a:spcAft>
              <a:defRPr sz="933"/>
            </a:lvl2pPr>
            <a:lvl3pPr marL="687900" indent="-232828">
              <a:defRPr sz="667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D47C9E04-F2BD-40A7-B46E-117AEBB53AF0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63906" y="5616954"/>
            <a:ext cx="2267119" cy="675929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Aft>
                <a:spcPts val="267"/>
              </a:spcAft>
              <a:buNone/>
              <a:defRPr sz="1200"/>
            </a:lvl1pPr>
            <a:lvl2pPr marL="378875" indent="-152396">
              <a:lnSpc>
                <a:spcPct val="120000"/>
              </a:lnSpc>
              <a:spcAft>
                <a:spcPts val="267"/>
              </a:spcAft>
              <a:defRPr sz="933"/>
            </a:lvl2pPr>
            <a:lvl3pPr marL="687900" indent="-232828">
              <a:defRPr sz="667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CE5E9F3F-438C-4859-85E0-F4A6C4DAF8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61124" y="5616954"/>
            <a:ext cx="2326877" cy="675929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Aft>
                <a:spcPts val="267"/>
              </a:spcAft>
              <a:buNone/>
              <a:defRPr sz="1200"/>
            </a:lvl1pPr>
            <a:lvl2pPr marL="378875" indent="-152396">
              <a:lnSpc>
                <a:spcPct val="120000"/>
              </a:lnSpc>
              <a:spcAft>
                <a:spcPts val="267"/>
              </a:spcAft>
              <a:defRPr sz="933"/>
            </a:lvl2pPr>
            <a:lvl3pPr marL="687900" indent="-232828">
              <a:defRPr sz="667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Slide Number Placeholder 4">
            <a:extLst>
              <a:ext uri="{FF2B5EF4-FFF2-40B4-BE49-F238E27FC236}">
                <a16:creationId xmlns:a16="http://schemas.microsoft.com/office/drawing/2014/main" id="{89496E11-838C-4853-9266-14C470B1EB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1DD1BAC7-1730-495E-82FF-94326537FCF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63906" y="2777347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434F53B-C383-4B15-BF37-0278F10B6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71856" y="2777347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D830F54C-BE4C-4892-AF17-69FB7EE275D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63906" y="465379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743047EE-B643-4307-9434-A43A6442CEA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271856" y="465379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00863BCC-B5EC-45FB-844E-7C3682179BE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055" y="761514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D616B35-E779-4164-BE39-DCA9FA4591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2FFC1EA4-84C2-48E3-920F-27ACCC23E3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7ADC0998-FC91-48CB-BBA2-E75826EA35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1767211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BA091B5-A806-4305-BC24-7E50D3D4B3A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0"/>
            <a:ext cx="5029200" cy="343621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>
              <a:defRPr sz="1100"/>
            </a:lvl2pPr>
            <a:lvl3pPr>
              <a:defRPr sz="800"/>
            </a:lvl3pPr>
            <a:lvl4pPr>
              <a:defRPr sz="4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848DCA2-1B24-46EE-95C8-6D3E57E0DD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034828" cy="162197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pc="-133" baseline="0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13C221C-310C-4FD1-A99C-046A2149E8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2" y="6375912"/>
            <a:ext cx="5386555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99F7D69-A9F4-4F01-BFAC-42E7473B3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1E1BB935-C530-47D2-883E-00828E3A8FC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055" y="761514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9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45D52EC-26A2-4717-A839-1CB71E6AF42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ADC0D05-BC65-421F-926D-B535B5CE43F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21395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BA091B5-A806-4305-BC24-7E50D3D4B3A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5029200" cy="342228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 dirty="0"/>
            </a:lvl1pPr>
            <a:lvl2pPr>
              <a:defRPr lang="en-US" sz="1100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848DCA2-1B24-46EE-95C8-6D3E57E0DD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0599"/>
            <a:ext cx="5034827" cy="168467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99F7D69-A9F4-4F01-BFAC-42E7473B3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70E4E8C-5C8A-4A5C-9CB6-21983AE4806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174B9545-8347-4FBE-AFB1-341783CD0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274537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D667F840-8562-40AC-BE3D-8404AB46E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3984B84-E026-4120-A200-04C1B3AFF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3ADC711-D282-4C9D-AD92-4B5C00C5CDD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6323585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A712B4B-CA11-4116-8559-6D5A2D1AD8D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1"/>
            <a:ext cx="5384800" cy="334378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/>
            </a:lvl1pPr>
            <a:lvl2pPr>
              <a:defRPr lang="en-US" sz="1100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552303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D667F840-8562-40AC-BE3D-8404AB46E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3984B84-E026-4120-A200-04C1B3AFF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3ADC711-D282-4C9D-AD92-4B5C00C5CDD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3221247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with 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52E6C41-3632-4791-A76B-5B35DCA25DAF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189A80C0-FE7D-436D-94CB-79A4952FA34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57055" y="761514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9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EFB02FA9-F74D-409A-AE50-03692123A90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79177" y="2870200"/>
            <a:ext cx="5154188" cy="3606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 dirty="0"/>
            </a:lvl1pPr>
            <a:lvl2pPr>
              <a:defRPr lang="en-US" sz="1100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A66571F9-8F5F-4F9C-B69D-8194767FDE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9176" y="788893"/>
            <a:ext cx="5154025" cy="147170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357B425C-8918-4CBA-983D-6480207069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DAE731F-CEF1-4611-A55D-062453F80F6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17F00142-F1DD-4B1E-A9C4-C526A67469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966967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 column with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B6A8E52-E098-4BEB-8F13-22E14C2A0F4D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67566B7-7005-4688-80F7-DA1BD8DAD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034827" cy="159410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0A1CBFF-FEB1-426F-8ABF-7C8FF483E89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6" y="2675274"/>
            <a:ext cx="2353909" cy="75372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en-US" sz="1900" spc="-8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/>
            <a:r>
              <a:rPr lang="en-US"/>
              <a:t>Subtit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E2F20EC-16BD-48F7-86D9-438E0739413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234092" y="2675274"/>
            <a:ext cx="2353909" cy="75372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en-US" sz="1900" spc="-8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/>
            <a:r>
              <a:rPr lang="en-US"/>
              <a:t>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1A4FF-001F-46B0-B50B-76B7ADF0DB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6" y="3684026"/>
            <a:ext cx="2353909" cy="25383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/>
            </a:lvl1pPr>
            <a:lvl2pPr>
              <a:defRPr lang="en-US" sz="1100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DC8C8FE-D77A-44F7-8C57-F06010945CF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34092" y="3684026"/>
            <a:ext cx="2353909" cy="25383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/>
            </a:lvl1pPr>
            <a:lvl2pPr>
              <a:defRPr lang="en-US" sz="1100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AC2492A7-148D-4E60-BDC4-A6493F242C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CDD052D2-0346-4769-8167-74B8A275E9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6553055" y="761514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9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59658CE-4B1C-4ADA-AC3D-EFB1CD9C445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74606954-118C-4C45-80E6-C37F9445AA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96121D6-85B1-4C28-AC8D-3F3FE793177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090882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 column icons - Graphic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9D1492D-5902-43CB-8931-D377D390098C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E98C8BEA-B15D-4061-953B-D90FCE37158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302291"/>
            <a:ext cx="2278585" cy="6470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900" spc="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DB00627B-8E9E-451B-8924-7096742DBBB8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3320148" y="3302291"/>
            <a:ext cx="2278585" cy="6470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900" spc="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71D6F508-837A-4CD5-AC3A-FF7EE23D05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599"/>
            <a:ext cx="5045559" cy="171254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2-column with icon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C411F75-6788-47F4-9D8B-6D1716F8EC0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5" y="4245578"/>
            <a:ext cx="2278585" cy="198975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/>
            </a:lvl1pPr>
            <a:lvl2pPr>
              <a:defRPr lang="en-US" sz="1100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B962768-3C7E-49E5-AC1D-7730E96FE84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309416" y="4245578"/>
            <a:ext cx="2278585" cy="198975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/>
            </a:lvl1pPr>
            <a:lvl2pPr>
              <a:defRPr lang="en-US" sz="1100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A84CF3E9-1E0B-46B7-BF52-271009164E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63D291-DE41-4BB4-9E4C-30D49C50E58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63904" y="300736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DA18A8E-48CB-4C25-A5F2-E849DDAE33A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320147" y="300736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1C4A4C9F-D416-40E3-B8EA-2BD12E0C07D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055" y="761514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9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A9374F8-EA98-413F-93D6-9F08CC6F089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DD9EF6ED-0BDB-4440-A26F-732B644588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0DA2899-5C85-403B-9BD6-F6A2C1003C7D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3885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sm column icons - Graphic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DFF45C6-46F9-8640-A5F1-11290FCEA3EC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63903" y="2988783"/>
            <a:ext cx="2257675" cy="54833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900" spc="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429BA22C-8830-7E4A-B1E1-AC3DC42388CA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563903" y="4868879"/>
            <a:ext cx="2257675" cy="54833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900" spc="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A6A5AFD9-009A-4A4C-94F4-05A23B341CF2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3270816" y="2988783"/>
            <a:ext cx="2317184" cy="54833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900" spc="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8930094A-C63F-1B4B-8A52-5C7320E7BE21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3270816" y="4868879"/>
            <a:ext cx="2317184" cy="54833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900" spc="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C085B0A-AD7F-468E-9CC5-0FE40B937CB6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19A47C88-6D77-40E6-9F1E-6FF92AB2F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034828" cy="148263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con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86AA7C8-7D59-46CE-A267-59CE001AF21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6" y="3727089"/>
            <a:ext cx="2267119" cy="675929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Aft>
                <a:spcPts val="267"/>
              </a:spcAft>
              <a:buNone/>
              <a:defRPr sz="1200" spc="0"/>
            </a:lvl1pPr>
            <a:lvl2pPr marL="378875" indent="-152396">
              <a:lnSpc>
                <a:spcPct val="120000"/>
              </a:lnSpc>
              <a:spcAft>
                <a:spcPts val="267"/>
              </a:spcAft>
              <a:defRPr sz="900" spc="0"/>
            </a:lvl2pPr>
            <a:lvl3pPr marL="687900" indent="-232828">
              <a:defRPr sz="7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D602771-5223-47EB-BA07-406BD8C6942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61124" y="3727089"/>
            <a:ext cx="2326877" cy="675929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Aft>
                <a:spcPts val="267"/>
              </a:spcAft>
              <a:buNone/>
              <a:defRPr sz="1200" spc="0"/>
            </a:lvl1pPr>
            <a:lvl2pPr marL="378875" indent="-152396">
              <a:lnSpc>
                <a:spcPct val="120000"/>
              </a:lnSpc>
              <a:spcAft>
                <a:spcPts val="267"/>
              </a:spcAft>
              <a:defRPr sz="900" spc="0"/>
            </a:lvl2pPr>
            <a:lvl3pPr marL="687900" indent="-232828">
              <a:defRPr sz="7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D47C9E04-F2BD-40A7-B46E-117AEBB53AF0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63906" y="5616954"/>
            <a:ext cx="2267119" cy="675929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Aft>
                <a:spcPts val="267"/>
              </a:spcAft>
              <a:buNone/>
              <a:defRPr sz="1200" spc="0"/>
            </a:lvl1pPr>
            <a:lvl2pPr marL="378875" indent="-152396">
              <a:lnSpc>
                <a:spcPct val="120000"/>
              </a:lnSpc>
              <a:spcAft>
                <a:spcPts val="267"/>
              </a:spcAft>
              <a:defRPr sz="900" spc="0"/>
            </a:lvl2pPr>
            <a:lvl3pPr marL="687900" indent="-232828">
              <a:defRPr sz="7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CE5E9F3F-438C-4859-85E0-F4A6C4DAF8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61124" y="5616954"/>
            <a:ext cx="2326877" cy="675929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Aft>
                <a:spcPts val="267"/>
              </a:spcAft>
              <a:buNone/>
              <a:defRPr sz="1200" spc="0"/>
            </a:lvl1pPr>
            <a:lvl2pPr marL="378875" indent="-152396">
              <a:lnSpc>
                <a:spcPct val="120000"/>
              </a:lnSpc>
              <a:spcAft>
                <a:spcPts val="267"/>
              </a:spcAft>
              <a:defRPr sz="900" spc="0"/>
            </a:lvl2pPr>
            <a:lvl3pPr marL="687900" indent="-232828">
              <a:defRPr sz="7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Slide Number Placeholder 4">
            <a:extLst>
              <a:ext uri="{FF2B5EF4-FFF2-40B4-BE49-F238E27FC236}">
                <a16:creationId xmlns:a16="http://schemas.microsoft.com/office/drawing/2014/main" id="{89496E11-838C-4853-9266-14C470B1EB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1DD1BAC7-1730-495E-82FF-94326537FCF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63906" y="2777347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434F53B-C383-4B15-BF37-0278F10B6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71856" y="2777347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D830F54C-BE4C-4892-AF17-69FB7EE275D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63906" y="465379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743047EE-B643-4307-9434-A43A6442CEA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271856" y="465379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00863BCC-B5EC-45FB-844E-7C3682179BE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055" y="761514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90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D616B35-E779-4164-BE39-DCA9FA4591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7ADC0998-FC91-48CB-BBA2-E75826EA35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6FD7FD53-D3AF-41DB-B84F-D4E80412D914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675596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with transparen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BA091B5-A806-4305-BC24-7E50D3D4B3A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1"/>
            <a:ext cx="5029200" cy="342228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 dirty="0"/>
            </a:lvl1pPr>
            <a:lvl2pPr>
              <a:defRPr lang="en-US" sz="1100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848DCA2-1B24-46EE-95C8-6D3E57E0DD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034827" cy="168467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99F7D69-A9F4-4F01-BFAC-42E7473B3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E7FC8E3-F8D5-4DC5-9A71-8969BF71007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85E86296-46B5-4176-82D9-9548F258FF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141095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with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8C1DAE-07C6-4799-AB2A-6BC4035F1F9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6096000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EFB02FA9-F74D-409A-AE50-03692123A90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79177" y="2870201"/>
            <a:ext cx="5154188" cy="3606799"/>
          </a:xfrm>
        </p:spPr>
        <p:txBody>
          <a:bodyPr>
            <a:noAutofit/>
          </a:bodyPr>
          <a:lstStyle>
            <a:lvl1pPr marL="228594" indent="-228594">
              <a:lnSpc>
                <a:spcPct val="100000"/>
              </a:lnSpc>
              <a:buFont typeface="Arial" panose="020B0604020202020204" pitchFamily="34" charset="0"/>
              <a:buChar char="•"/>
              <a:defRPr sz="1300"/>
            </a:lvl1pPr>
            <a:lvl2pPr>
              <a:lnSpc>
                <a:spcPct val="100000"/>
              </a:lnSpc>
              <a:defRPr sz="1100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4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A66571F9-8F5F-4F9C-B69D-8194767FDE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9176" y="990600"/>
            <a:ext cx="5154025" cy="160803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357B425C-8918-4CBA-983D-6480207069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0792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with transparen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BA091B5-A806-4305-BC24-7E50D3D4B3A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1"/>
            <a:ext cx="5029200" cy="342228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848DCA2-1B24-46EE-95C8-6D3E57E0DD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034827" cy="168467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99F7D69-A9F4-4F01-BFAC-42E7473B3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E7FC8E3-F8D5-4DC5-9A71-8969BF71007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85E86296-46B5-4176-82D9-9548F258FF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0364357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 column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A3358592-959E-4456-B08C-B18561ACD90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67566B7-7005-4688-80F7-DA1BD8DAD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034828" cy="1461733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0A1CBFF-FEB1-426F-8ABF-7C8FF483E89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6" y="2800677"/>
            <a:ext cx="2321893" cy="77593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b="0" spc="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E2F20EC-16BD-48F7-86D9-438E0739413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266107" y="2800677"/>
            <a:ext cx="2321893" cy="77593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b="0" spc="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1A4FF-001F-46B0-B50B-76B7ADF0DB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6" y="3684026"/>
            <a:ext cx="2321893" cy="25383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 dirty="0"/>
            </a:lvl1pPr>
            <a:lvl2pPr>
              <a:defRPr lang="en-US" sz="1100" dirty="0"/>
            </a:lvl2pPr>
            <a:lvl3pPr>
              <a:defRPr lang="en-US" sz="800" dirty="0"/>
            </a:lvl3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DC8C8FE-D77A-44F7-8C57-F06010945CF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66107" y="3684026"/>
            <a:ext cx="2321893" cy="25383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/>
            </a:lvl1pPr>
            <a:lvl2pPr>
              <a:defRPr lang="en-US" sz="1100"/>
            </a:lvl2pPr>
            <a:lvl3pPr>
              <a:defRPr lang="en-US" sz="800"/>
            </a:lvl3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AC2492A7-148D-4E60-BDC4-A6493F242C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1DA0D3C-E618-4E74-AE1A-D790FB5661A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1208D92E-CD7A-49C0-A704-73CF645867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119307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 column icons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BE8071A5-D2DE-4A93-921A-785E22F45F37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096000" y="0"/>
            <a:ext cx="6096000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E98C8BEA-B15D-4061-953B-D90FCE37158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700087"/>
            <a:ext cx="2322323" cy="59269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DB00627B-8E9E-451B-8924-7096742DBBB8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3276411" y="3700087"/>
            <a:ext cx="2322323" cy="59269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71D6F508-837A-4CD5-AC3A-FF7EE23D05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045560" cy="156623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2-column with icon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C411F75-6788-47F4-9D8B-6D1716F8EC0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5" y="4371432"/>
            <a:ext cx="2322323" cy="185090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 dirty="0"/>
            </a:lvl1pPr>
            <a:lvl2pPr>
              <a:defRPr lang="en-US" sz="1100" dirty="0"/>
            </a:lvl2pPr>
            <a:lvl3pPr>
              <a:defRPr lang="en-US" sz="800" dirty="0"/>
            </a:lvl3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B962768-3C7E-49E5-AC1D-7730E96FE84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65679" y="4371432"/>
            <a:ext cx="2322323" cy="185090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/>
            </a:lvl1pPr>
            <a:lvl2pPr>
              <a:defRPr lang="en-US" sz="1100"/>
            </a:lvl2pPr>
            <a:lvl3pPr>
              <a:defRPr lang="en-US" sz="800"/>
            </a:lvl3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A84CF3E9-1E0B-46B7-BF52-271009164E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63D291-DE41-4BB4-9E4C-30D49C50E58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63904" y="3350787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DA18A8E-48CB-4C25-A5F2-E849DDAE33A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76410" y="3350787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C49583F-365C-4C9E-81DD-9046A0055A5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551AB8E0-3E63-4511-8C72-DE00D1124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663289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sm column icons - Graphic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2965406F-4919-4C06-802B-3D3899E60FA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DFF45C6-46F9-8640-A5F1-11290FCEA3EC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63903" y="3034588"/>
            <a:ext cx="2317184" cy="5887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429BA22C-8830-7E4A-B1E1-AC3DC42388CA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563903" y="4932949"/>
            <a:ext cx="2317184" cy="5887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A6A5AFD9-009A-4A4C-94F4-05A23B341CF2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3270816" y="3034588"/>
            <a:ext cx="2317184" cy="5887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8930094A-C63F-1B4B-8A52-5C7320E7BE21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3270816" y="4932949"/>
            <a:ext cx="2317184" cy="5887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19A47C88-6D77-40E6-9F1E-6FF92AB2F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5034828" cy="14965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con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86AA7C8-7D59-46CE-A267-59CE001AF21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6" y="3727089"/>
            <a:ext cx="2326877" cy="67592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1300" dirty="0"/>
            </a:lvl1pPr>
            <a:lvl2pPr>
              <a:lnSpc>
                <a:spcPct val="100000"/>
              </a:lnSpc>
              <a:defRPr lang="en-US" sz="1100" dirty="0"/>
            </a:lvl2pPr>
          </a:lstStyle>
          <a:p>
            <a:pPr marL="0" lvl="0" indent="0">
              <a:lnSpc>
                <a:spcPct val="120000"/>
              </a:lnSpc>
              <a:spcAft>
                <a:spcPts val="267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D602771-5223-47EB-BA07-406BD8C6942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61124" y="3727089"/>
            <a:ext cx="2326877" cy="67592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1300" dirty="0"/>
            </a:lvl1pPr>
            <a:lvl2pPr>
              <a:lnSpc>
                <a:spcPct val="100000"/>
              </a:lnSpc>
              <a:defRPr lang="en-US" sz="1100" dirty="0"/>
            </a:lvl2pPr>
          </a:lstStyle>
          <a:p>
            <a:pPr marL="0" lvl="0" indent="0">
              <a:lnSpc>
                <a:spcPct val="120000"/>
              </a:lnSpc>
              <a:spcAft>
                <a:spcPts val="267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D47C9E04-F2BD-40A7-B46E-117AEBB53AF0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63906" y="5616954"/>
            <a:ext cx="2326877" cy="67592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1300" dirty="0"/>
            </a:lvl1pPr>
            <a:lvl2pPr>
              <a:lnSpc>
                <a:spcPct val="100000"/>
              </a:lnSpc>
              <a:defRPr lang="en-US" sz="1100" dirty="0"/>
            </a:lvl2pPr>
          </a:lstStyle>
          <a:p>
            <a:pPr marL="0" lvl="0" indent="0">
              <a:lnSpc>
                <a:spcPct val="120000"/>
              </a:lnSpc>
              <a:spcAft>
                <a:spcPts val="267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CE5E9F3F-438C-4859-85E0-F4A6C4DAF8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61124" y="5616954"/>
            <a:ext cx="2326877" cy="67592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1300" dirty="0"/>
            </a:lvl1pPr>
            <a:lvl2pPr>
              <a:lnSpc>
                <a:spcPct val="100000"/>
              </a:lnSpc>
              <a:defRPr lang="en-US" sz="1100" dirty="0"/>
            </a:lvl2pPr>
          </a:lstStyle>
          <a:p>
            <a:pPr marL="0" lvl="0" indent="0">
              <a:lnSpc>
                <a:spcPct val="120000"/>
              </a:lnSpc>
              <a:spcAft>
                <a:spcPts val="267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7" name="Slide Number Placeholder 4">
            <a:extLst>
              <a:ext uri="{FF2B5EF4-FFF2-40B4-BE49-F238E27FC236}">
                <a16:creationId xmlns:a16="http://schemas.microsoft.com/office/drawing/2014/main" id="{89496E11-838C-4853-9266-14C470B1EB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1DD1BAC7-1730-495E-82FF-94326537FCF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63906" y="2688935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434F53B-C383-4B15-BF37-0278F10B6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71856" y="2688935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D830F54C-BE4C-4892-AF17-69FB7EE275D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63906" y="4583649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743047EE-B643-4307-9434-A43A6442CEA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271856" y="4583649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36F33AF-48EA-421B-91FF-4AD7EDD725A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EE29C994-41DB-4E88-8A93-3D10E1A8BA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451675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13E34AB2-EB40-45F2-BAE7-A8136E51FF6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714582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/>
            </a:lvl1pPr>
            <a:lvl2pPr>
              <a:defRPr lang="en-US" sz="1100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  <a:p>
            <a:pPr marL="228594" lvl="3" indent="-228594">
              <a:lnSpc>
                <a:spcPct val="100000"/>
              </a:lnSpc>
            </a:pPr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2616182"/>
            <a:ext cx="3357020" cy="80327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EA591F5-58AE-D343-A6EB-87F69740E76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2620628"/>
            <a:ext cx="3357020" cy="80327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B8558003-6140-3442-986E-2C60FA775A53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2616182"/>
            <a:ext cx="3357020" cy="80327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FBBB06B7-9478-4C6F-9560-109718AC49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965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50389FDF-392D-4049-AC2A-1E9DF18496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Content Placeholder 6">
            <a:extLst>
              <a:ext uri="{FF2B5EF4-FFF2-40B4-BE49-F238E27FC236}">
                <a16:creationId xmlns:a16="http://schemas.microsoft.com/office/drawing/2014/main" id="{5CF71C16-241D-4C12-986F-49C011B6FB62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111" y="3714582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/>
            </a:lvl1pPr>
            <a:lvl2pPr>
              <a:defRPr lang="en-US" sz="1100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  <a:p>
            <a:pPr marL="228594" lvl="3" indent="-228594">
              <a:lnSpc>
                <a:spcPct val="100000"/>
              </a:lnSpc>
            </a:pPr>
            <a:r>
              <a:rPr lang="en-US"/>
              <a:t>Fourth level</a:t>
            </a:r>
          </a:p>
        </p:txBody>
      </p:sp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DF591020-88DC-4E7B-BD72-36E6EB59E14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126438" y="3714582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00"/>
            </a:lvl1pPr>
            <a:lvl2pPr>
              <a:defRPr lang="en-US" sz="1100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  <a:p>
            <a:pPr marL="228594" lvl="3" indent="-228594">
              <a:lnSpc>
                <a:spcPct val="100000"/>
              </a:lnSpc>
            </a:pPr>
            <a:r>
              <a:rPr lang="en-US"/>
              <a:t>Four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383FF70-E831-4747-A153-F9977C8D40C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1ACA0FBF-BD85-4A2B-857C-5FEA45B4C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683873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A041BB60-92E2-E24D-A7E4-A3567C28152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63902" y="2518229"/>
            <a:ext cx="3501661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EDAD314-6F73-5C4E-93D2-9F6E7C78F6D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3857639"/>
            <a:ext cx="3363063" cy="51663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E5D9876C-926F-4148-B388-37AF2EC91BA9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3857638"/>
            <a:ext cx="3363063" cy="52199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A0EB0E0-8003-1149-85CF-5D63FB41C1C8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3853193"/>
            <a:ext cx="3363063" cy="52199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5C20FC9A-2038-AF44-9486-38D2103687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48111" y="2518229"/>
            <a:ext cx="3501661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14AE4050-3A50-CC40-A2F2-6040AFDD5C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32320" y="2518229"/>
            <a:ext cx="3494627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664EEB71-E7FA-45C6-8549-2F56C38185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3386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images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AD169A5A-D278-4C7A-80C6-4AAAFCE2E1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77CC832-63CA-4131-ABA9-356B02B9073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2" y="4605092"/>
            <a:ext cx="3363063" cy="1617249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CD16B98-DFE6-42E9-983E-5855355500F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48111" y="4605092"/>
            <a:ext cx="3363063" cy="1617249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43A5D85-76F0-4FEF-A17F-4532934D5A5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25286" y="4605092"/>
            <a:ext cx="3363063" cy="1617249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B14B9EC-8559-42D6-A40F-F7BF924ADBA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A5974834-AF48-48D6-A946-C25C1D483A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581581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D1EB964-31F1-4CBE-82A3-C0D6A156FC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55926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icons</a:t>
            </a:r>
          </a:p>
        </p:txBody>
      </p:sp>
      <p:sp>
        <p:nvSpPr>
          <p:cNvPr id="43" name="Slide Number Placeholder 4">
            <a:extLst>
              <a:ext uri="{FF2B5EF4-FFF2-40B4-BE49-F238E27FC236}">
                <a16:creationId xmlns:a16="http://schemas.microsoft.com/office/drawing/2014/main" id="{EF211203-217C-43EA-B455-2829537E92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DD9E95C-54D7-4CDC-9398-06EA3EF4C2B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63904" y="342900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308B72D-42DD-4AFC-86F7-A60C430A65F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48111" y="342900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92FBA143-4C75-4705-B518-3C3BEB4DB59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25287" y="342900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BFFB3BB-96C3-43AE-AE37-B552C0F815F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1" y="3783515"/>
            <a:ext cx="3383963" cy="59075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557260CF-2100-49E9-84E8-B0D7AFADA565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3782745"/>
            <a:ext cx="3383963" cy="5968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0E159BC0-6118-41FB-BD15-D9B76E35ED35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3778299"/>
            <a:ext cx="3383963" cy="5968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2CDBFEA-91A7-4FE4-AAE2-321927A46CE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1" y="4605092"/>
            <a:ext cx="3383963" cy="1617249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1CBFE74-247B-4E42-8A8C-4D5F9D2997F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48111" y="4605092"/>
            <a:ext cx="3383963" cy="1617249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CD5C99F-F57F-4957-BA17-CF590173E3F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25285" y="4605092"/>
            <a:ext cx="3383963" cy="1617249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415BF8F-879F-4E1A-A7D8-9D683393FD0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3534F201-EBA0-46A0-B1E7-7AF9F7C498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7161152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057549"/>
            <a:ext cx="2552092" cy="51906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35F796C-3FA3-4D4C-9E57-306772BBFEB7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8" y="3057549"/>
            <a:ext cx="2552092" cy="51906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3094BC0-195B-294A-B09B-12005D172A0C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057549"/>
            <a:ext cx="2552092" cy="51906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A941269-22F0-1B4D-A516-00DAC2E11BF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057549"/>
            <a:ext cx="2552092" cy="51906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37A293-3428-4F1D-AFE7-A91A006BF4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5732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</a:t>
            </a:r>
          </a:p>
        </p:txBody>
      </p:sp>
      <p:sp>
        <p:nvSpPr>
          <p:cNvPr id="31" name="Slide Number Placeholder 4">
            <a:extLst>
              <a:ext uri="{FF2B5EF4-FFF2-40B4-BE49-F238E27FC236}">
                <a16:creationId xmlns:a16="http://schemas.microsoft.com/office/drawing/2014/main" id="{1F64BCE5-C4DF-42FB-9C93-FE7C16DD9E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A1B0035-5E54-40B0-935E-AFA22AAC3DE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2" y="3755136"/>
            <a:ext cx="2552095" cy="2422987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180B363-3DB0-4182-92AF-F3299D006F1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13562" y="3755136"/>
            <a:ext cx="2552095" cy="2422987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3B10F2FC-21B2-4819-A881-BDACEDED633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47251" y="3755136"/>
            <a:ext cx="2552095" cy="2422987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E502F68-635D-4926-A522-08E45319622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096911" y="3755136"/>
            <a:ext cx="2552095" cy="2422987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673C67A-6C31-484A-AD1D-2437BA26271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40BD81C6-9DFB-4402-A90A-584421618C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910788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316224"/>
            <a:ext cx="2552092" cy="58433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35F796C-3FA3-4D4C-9E57-306772BBFEB7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8" y="3316224"/>
            <a:ext cx="2552092" cy="58433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3094BC0-195B-294A-B09B-12005D172A0C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316224"/>
            <a:ext cx="2552092" cy="58433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A941269-22F0-1B4D-A516-00DAC2E11BF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316224"/>
            <a:ext cx="2552092" cy="58433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BA943510-C75F-4986-83E1-EC263D204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965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cons</a:t>
            </a:r>
          </a:p>
        </p:txBody>
      </p:sp>
      <p:sp>
        <p:nvSpPr>
          <p:cNvPr id="38" name="Slide Number Placeholder 4">
            <a:extLst>
              <a:ext uri="{FF2B5EF4-FFF2-40B4-BE49-F238E27FC236}">
                <a16:creationId xmlns:a16="http://schemas.microsoft.com/office/drawing/2014/main" id="{73F974E0-E6C8-49D5-B2CA-B9DD7D4D65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A680BB83-959F-4FDD-88B5-B99A3D5A146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2" y="4160176"/>
            <a:ext cx="2552095" cy="2082128"/>
          </a:xfrm>
        </p:spPr>
        <p:txBody>
          <a:bodyPr>
            <a:noAutofit/>
          </a:bodyPr>
          <a:lstStyle>
            <a:lvl1pPr marL="228594" indent="-228594">
              <a:lnSpc>
                <a:spcPct val="140000"/>
              </a:lnSpc>
              <a:buFont typeface="Arial" panose="020B0604020202020204" pitchFamily="34" charset="0"/>
              <a:buChar char="•"/>
              <a:defRPr sz="1300"/>
            </a:lvl1pPr>
            <a:lvl2pPr marL="378875" indent="-152396">
              <a:lnSpc>
                <a:spcPct val="140000"/>
              </a:lnSpc>
              <a:defRPr sz="1100"/>
            </a:lvl2pPr>
            <a:lvl3pPr marL="687900" indent="-232828">
              <a:lnSpc>
                <a:spcPct val="140000"/>
              </a:lnSpc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4B47409-39CC-4AB0-89D1-284C38860D9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13561" y="4160176"/>
            <a:ext cx="2626704" cy="2082128"/>
          </a:xfrm>
        </p:spPr>
        <p:txBody>
          <a:bodyPr>
            <a:noAutofit/>
          </a:bodyPr>
          <a:lstStyle>
            <a:lvl1pPr marL="228594" indent="-228594">
              <a:lnSpc>
                <a:spcPct val="140000"/>
              </a:lnSpc>
              <a:buFont typeface="Arial" panose="020B0604020202020204" pitchFamily="34" charset="0"/>
              <a:buChar char="•"/>
              <a:defRPr sz="1300"/>
            </a:lvl1pPr>
            <a:lvl2pPr marL="378875" indent="-152396">
              <a:lnSpc>
                <a:spcPct val="140000"/>
              </a:lnSpc>
              <a:defRPr sz="1100"/>
            </a:lvl2pPr>
            <a:lvl3pPr marL="687900" indent="-232828">
              <a:lnSpc>
                <a:spcPct val="140000"/>
              </a:lnSpc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F9B79A2-65D9-4B8F-8DB9-71B2D0007C2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47251" y="4160176"/>
            <a:ext cx="2552095" cy="2082128"/>
          </a:xfrm>
        </p:spPr>
        <p:txBody>
          <a:bodyPr>
            <a:noAutofit/>
          </a:bodyPr>
          <a:lstStyle>
            <a:lvl1pPr marL="228594" indent="-228594">
              <a:lnSpc>
                <a:spcPct val="140000"/>
              </a:lnSpc>
              <a:buFont typeface="Arial" panose="020B0604020202020204" pitchFamily="34" charset="0"/>
              <a:buChar char="•"/>
              <a:defRPr sz="1300"/>
            </a:lvl1pPr>
            <a:lvl2pPr marL="378875" indent="-152396">
              <a:lnSpc>
                <a:spcPct val="140000"/>
              </a:lnSpc>
              <a:defRPr sz="1100"/>
            </a:lvl2pPr>
            <a:lvl3pPr marL="687900" indent="-232828">
              <a:lnSpc>
                <a:spcPct val="140000"/>
              </a:lnSpc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AB7D9D7-F3C2-4406-B72E-37E861D8E5AE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96911" y="4160176"/>
            <a:ext cx="2552095" cy="2082128"/>
          </a:xfrm>
        </p:spPr>
        <p:txBody>
          <a:bodyPr>
            <a:noAutofit/>
          </a:bodyPr>
          <a:lstStyle>
            <a:lvl1pPr marL="228594" indent="-228594">
              <a:lnSpc>
                <a:spcPct val="140000"/>
              </a:lnSpc>
              <a:buFont typeface="Arial" panose="020B0604020202020204" pitchFamily="34" charset="0"/>
              <a:buChar char="•"/>
              <a:defRPr sz="1300"/>
            </a:lvl1pPr>
            <a:lvl2pPr marL="378875" indent="-152396">
              <a:lnSpc>
                <a:spcPct val="140000"/>
              </a:lnSpc>
              <a:defRPr sz="1100"/>
            </a:lvl2pPr>
            <a:lvl3pPr marL="687900" indent="-232828">
              <a:lnSpc>
                <a:spcPct val="140000"/>
              </a:lnSpc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325DA913-D561-481D-AC9D-C096DA657E3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3904" y="302763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C337FCA0-79CE-4E7B-B272-E4EFB372C12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403233" y="302763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C2E0F4FC-9970-45E4-9784-BCA838895F5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42563" y="302763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014E5A9-0003-43F7-A198-C160ED979BD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081891" y="302763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F166E02-7641-4BBC-8370-DFA541EB63A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F37FEAB2-9122-4DDC-B50E-7C2AADAF96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783949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Quarterly-Plan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88427184-4D4B-2842-98CC-0D13D99CD8BE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563905" y="3169600"/>
            <a:ext cx="2552092" cy="63196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spcBef>
                <a:spcPts val="0"/>
              </a:spcBef>
              <a:buNone/>
              <a:defRPr sz="4300" b="0" i="0" spc="-241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Q1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A3B11FAB-FB94-FE47-98B7-C4E703DCE021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3389550" y="3169600"/>
            <a:ext cx="2552092" cy="63196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spcBef>
                <a:spcPts val="0"/>
              </a:spcBef>
              <a:buNone/>
              <a:defRPr sz="4300" b="0" i="0" spc="-241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Q2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4F5FE934-EAAA-2544-B7A7-0D9F568038D5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6230186" y="3169600"/>
            <a:ext cx="2552092" cy="63196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spcBef>
                <a:spcPts val="0"/>
              </a:spcBef>
              <a:buNone/>
              <a:defRPr sz="4300" b="0" i="0" spc="-241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Q3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50C5B955-9C7B-6947-9744-010C19BBB567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9055831" y="3169600"/>
            <a:ext cx="2552092" cy="63196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spcBef>
                <a:spcPts val="0"/>
              </a:spcBef>
              <a:buNone/>
              <a:defRPr sz="4300" b="0" i="0" spc="-241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Q4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DA111987-1B3E-4A88-9CE0-11B85B6A696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789061"/>
            <a:ext cx="2552092" cy="52451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CB765974-5A94-44D1-BEFA-32064162636B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8" y="3789061"/>
            <a:ext cx="2552092" cy="52451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2DCDDD54-163E-4B72-AC0A-9025AE8ED3A2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789061"/>
            <a:ext cx="2552092" cy="52451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633A5AB9-6304-4852-84C2-13EE0655D16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789061"/>
            <a:ext cx="2552092" cy="52451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9" name="Title Placeholder 1">
            <a:extLst>
              <a:ext uri="{FF2B5EF4-FFF2-40B4-BE49-F238E27FC236}">
                <a16:creationId xmlns:a16="http://schemas.microsoft.com/office/drawing/2014/main" id="{4EAFF05D-F126-4F6F-BC7A-D37D2D819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524436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Quarterly planning headline here</a:t>
            </a:r>
          </a:p>
        </p:txBody>
      </p:sp>
      <p:sp>
        <p:nvSpPr>
          <p:cNvPr id="42" name="Slide Number Placeholder 4">
            <a:extLst>
              <a:ext uri="{FF2B5EF4-FFF2-40B4-BE49-F238E27FC236}">
                <a16:creationId xmlns:a16="http://schemas.microsoft.com/office/drawing/2014/main" id="{B0C4E4CC-F4EF-41B1-859A-BEB4889102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5150659-4B06-4B5C-AEAE-D63AB44A0A0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63902" y="4480780"/>
            <a:ext cx="2552095" cy="162876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E905DCE-53B2-44BC-A04D-E154A3AAD85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13562" y="4480780"/>
            <a:ext cx="2552095" cy="162876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D54CEA9-0F8B-43FF-86F1-30D0A263E4D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47251" y="4480780"/>
            <a:ext cx="2552095" cy="162876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A21997B-0FCE-4F0F-9413-09FF3CABCAF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96911" y="4480780"/>
            <a:ext cx="2552095" cy="162876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CFF6099-0DAF-43E0-A2BE-4FC739C1BE3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BF218AE5-98EE-4C23-93DE-5E0E691847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250553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480C16A7-AC87-3041-BFCA-5BAE809929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63903" y="2518229"/>
            <a:ext cx="2552092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8AFA0CDB-F372-1847-ACE3-8F2552F32E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01446" y="2518229"/>
            <a:ext cx="2552092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2CEDA4E7-FEF8-A844-BD5D-9125501BED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246246" y="2518229"/>
            <a:ext cx="2552092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0C5331F0-DC53-014A-AC10-09442296B48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076533" y="2518229"/>
            <a:ext cx="2552092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857640"/>
            <a:ext cx="2552092" cy="4363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35F796C-3FA3-4D4C-9E57-306772BBFEB7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8" y="3857640"/>
            <a:ext cx="2552092" cy="4363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3094BC0-195B-294A-B09B-12005D172A0C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857640"/>
            <a:ext cx="2552092" cy="4363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A941269-22F0-1B4D-A516-00DAC2E11BF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857640"/>
            <a:ext cx="2552092" cy="4363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E71F9B75-2801-4E3B-A4AF-EE2F5428DF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478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mages</a:t>
            </a:r>
          </a:p>
        </p:txBody>
      </p:sp>
      <p:sp>
        <p:nvSpPr>
          <p:cNvPr id="40" name="Slide Number Placeholder 4">
            <a:extLst>
              <a:ext uri="{FF2B5EF4-FFF2-40B4-BE49-F238E27FC236}">
                <a16:creationId xmlns:a16="http://schemas.microsoft.com/office/drawing/2014/main" id="{C287D7C0-FDBF-4DC2-A5AD-21F027C218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B282261E-4BBB-4DDF-A272-64831DF6A48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63902" y="4479689"/>
            <a:ext cx="2552095" cy="169843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35DF58A1-C9DA-4098-A483-3AF5EEE2823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13562" y="4479689"/>
            <a:ext cx="2552095" cy="169843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506F507-8135-47B0-B749-1ECA83F7A4C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47251" y="4479689"/>
            <a:ext cx="2552095" cy="169843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D835D938-BABF-448A-911C-81BC403D164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96911" y="4479689"/>
            <a:ext cx="2552095" cy="169843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 marL="378875" indent="-152396">
              <a:defRPr sz="1100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91F740F-284B-4B91-944E-3E248D56447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45924221-968B-489A-B12E-3DB03CF53A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786580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with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8C1DAE-07C6-4799-AB2A-6BC4035F1F9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6096000" cy="6858000"/>
          </a:xfrm>
          <a:solidFill>
            <a:srgbClr val="F2F2F2"/>
          </a:solidFill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EFB02FA9-F74D-409A-AE50-03692123A90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79177" y="2870201"/>
            <a:ext cx="5154188" cy="360679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A66571F9-8F5F-4F9C-B69D-8194767FDE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9176" y="990600"/>
            <a:ext cx="5154025" cy="160803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357B425C-8918-4CBA-983D-6480207069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9454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con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1" y="0"/>
            <a:ext cx="6096001" cy="6858000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24644A4A-627D-4251-93AA-A2954900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2" y="990600"/>
            <a:ext cx="5125733" cy="12700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A8E6EAB-22F0-4C89-85F8-D4D94992ED22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63903" y="2960399"/>
            <a:ext cx="2319867" cy="46860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EF54FC4E-BD10-4F11-B8AA-EB5EF0D89E43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3268133" y="2960397"/>
            <a:ext cx="2319867" cy="46860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E64A8B51-1A62-459A-8DD3-93B84E82D8DE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563903" y="4880033"/>
            <a:ext cx="2319867" cy="46860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D090DEB6-2BCA-46D7-9263-9EB082FE8736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3268133" y="4880033"/>
            <a:ext cx="2319867" cy="46860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B195F9B-18C2-43DD-8D28-DB82565A615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63903" y="3493741"/>
            <a:ext cx="2319868" cy="89664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00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F57C87-BB0F-4D2F-BDF2-DAE041C1A7D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260877" y="3493741"/>
            <a:ext cx="2319868" cy="89664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00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F88AC67-0FCF-4070-8745-F2172B2CACC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63903" y="5421509"/>
            <a:ext cx="2319868" cy="89664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00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3DC3002-031A-4736-AABA-949B2E31DDE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260877" y="5421509"/>
            <a:ext cx="2319868" cy="89664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00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0695B177-CA0C-4E8C-A61A-DBFC0E3A7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1FCFB0F-38DF-40D9-884B-4BB884CABC0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3904" y="255117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AB00DA7-3784-4F1E-BCF7-020A8B5BBBC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70275" y="255117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4BF908E0-620E-4308-B4E4-794556D881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58800" y="45168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982949E-1A10-4260-ACD5-08C3395104A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265171" y="45168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881526-D455-4016-9E25-0B8C0592F64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50C5796D-69C7-4336-93B7-FBE71B2511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260650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F16390-6737-46A8-8714-112CAB201308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2350284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2344656" cy="3425840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>
              <a:defRPr sz="1100"/>
            </a:lvl2pPr>
            <a:lvl3pPr>
              <a:defRPr sz="800"/>
            </a:lvl3pPr>
            <a:lvl4pPr>
              <a:defRPr sz="4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0A03D6A-E3C9-4E0F-9561-1CDE1AE1995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1" y="339201"/>
            <a:ext cx="2701689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486C98BC-16EE-44A7-A5AA-7D9E634104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370369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F16390-6737-46A8-8714-112CAB201308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903365" y="990599"/>
            <a:ext cx="7790845" cy="5035913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451" y="990600"/>
            <a:ext cx="2357007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2344656" cy="3425840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>
              <a:defRPr sz="1100"/>
            </a:lvl2pPr>
            <a:lvl3pPr>
              <a:defRPr sz="800"/>
            </a:lvl3pPr>
            <a:lvl4pPr>
              <a:defRPr sz="4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2854662-684B-46F5-B1C9-A8380A9FAEC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1" y="339201"/>
            <a:ext cx="2729556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BD02289-A003-4F50-8A0B-E04C3A5D3D9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3C0D703A-5C8B-4D7D-9178-8D74110152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434631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2441477-13D0-4DAF-BFCF-92EDFB2CE56C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8" name="Picture 7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C2D43C02-732C-4374-A293-6B6EED828B5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49010" y="788893"/>
            <a:ext cx="9342991" cy="5394456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941345" y="1482178"/>
            <a:ext cx="5719729" cy="3817185"/>
          </a:xfrm>
          <a:prstGeom prst="roundRect">
            <a:avLst>
              <a:gd name="adj" fmla="val 1813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0600"/>
            <a:ext cx="2501421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2" y="3051160"/>
            <a:ext cx="2496125" cy="342584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>
              <a:defRPr sz="900"/>
            </a:lvl2pPr>
            <a:lvl3pPr>
              <a:defRPr sz="700"/>
            </a:lvl3pPr>
            <a:lvl4pPr>
              <a:defRPr sz="3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D5595A6-D46E-43B4-94A2-E3A6720BA94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1" y="339201"/>
            <a:ext cx="2655455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84C20AAF-DB2E-2C46-92D6-BF7375063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999163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compu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205681A-15F4-4542-8501-C515AC30D1BA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4" name="Picture 3" descr="Shape&#10;&#10;Description automatically generated">
            <a:extLst>
              <a:ext uri="{FF2B5EF4-FFF2-40B4-BE49-F238E27FC236}">
                <a16:creationId xmlns:a16="http://schemas.microsoft.com/office/drawing/2014/main" id="{6AA2E0EF-0C6B-4EAA-99C1-1ECA8048BD8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40796" y="656979"/>
            <a:ext cx="8351205" cy="6131456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765964" y="1161013"/>
            <a:ext cx="5979619" cy="3999807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0600"/>
            <a:ext cx="2522248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2" y="3051160"/>
            <a:ext cx="2516908" cy="342584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>
              <a:defRPr sz="900"/>
            </a:lvl2pPr>
            <a:lvl3pPr>
              <a:defRPr sz="700"/>
            </a:lvl3pPr>
            <a:lvl4pPr>
              <a:defRPr sz="3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98962E2-B3FC-4FBC-BC4B-4742A1803A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1" y="339201"/>
            <a:ext cx="2648527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D8634464-E35F-424D-9518-FD1D77E273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222588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1E636F5-6A4B-4828-9183-C8400F5ABCF5}"/>
              </a:ext>
            </a:extLst>
          </p:cNvPr>
          <p:cNvSpPr/>
          <p:nvPr/>
        </p:nvSpPr>
        <p:spPr>
          <a:xfrm>
            <a:off x="5057939" y="0"/>
            <a:ext cx="7134061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/>
          </a:p>
        </p:txBody>
      </p:sp>
      <p:pic>
        <p:nvPicPr>
          <p:cNvPr id="7" name="Picture 6" descr="A picture containing shape&#10;&#10;Description automatically generated">
            <a:extLst>
              <a:ext uri="{FF2B5EF4-FFF2-40B4-BE49-F238E27FC236}">
                <a16:creationId xmlns:a16="http://schemas.microsoft.com/office/drawing/2014/main" id="{45553720-6AD0-4C34-AF96-C4899D7DC8A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78692" y="468831"/>
            <a:ext cx="6557149" cy="6181019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714658" y="831275"/>
            <a:ext cx="3773233" cy="5014700"/>
          </a:xfrm>
          <a:prstGeom prst="roundRect">
            <a:avLst>
              <a:gd name="adj" fmla="val 2134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4127796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4122168" cy="342584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>
              <a:defRPr sz="900"/>
            </a:lvl2pPr>
            <a:lvl3pPr>
              <a:defRPr sz="700"/>
            </a:lvl3pPr>
            <a:lvl4pPr>
              <a:defRPr sz="3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BB01D8E-9815-4F00-B2C4-FCB63EA244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4214091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5B63261B-BB65-7146-AA40-6188B66076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913955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495A01C3-21A9-4B25-AB62-4FAD52B2553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1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841673" y="612774"/>
            <a:ext cx="2611580" cy="5607737"/>
          </a:xfrm>
          <a:prstGeom prst="roundRect">
            <a:avLst>
              <a:gd name="adj" fmla="val 10423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034456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5029200" cy="342584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>
              <a:defRPr sz="900"/>
            </a:lvl2pPr>
            <a:lvl3pPr>
              <a:defRPr sz="700"/>
            </a:lvl3pPr>
            <a:lvl4pPr>
              <a:defRPr sz="3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EE9DBE-1BE0-4560-936E-2E2FA427021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D2941A98-608E-7047-AFCD-92F4920A95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370501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con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24644A4A-627D-4251-93AA-A2954900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2639207" cy="12700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A8E6EAB-22F0-4C89-85F8-D4D94992ED22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63903" y="2960399"/>
            <a:ext cx="2628477" cy="46860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E64A8B51-1A62-459A-8DD3-93B84E82D8DE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563903" y="4880033"/>
            <a:ext cx="2628477" cy="46860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B195F9B-18C2-43DD-8D28-DB82565A615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63903" y="3562115"/>
            <a:ext cx="2628476" cy="828268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00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F88AC67-0FCF-4070-8745-F2172B2CACC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63903" y="5489883"/>
            <a:ext cx="2628476" cy="828268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00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0695B177-CA0C-4E8C-A61A-DBFC0E3A7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444E932-C1FA-4694-B252-213CE981534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3904" y="255117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49D67FC-44E3-4A0F-B284-2778CCA9C97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58800" y="45168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4FEE173B-1D21-4AB4-A421-1AB61B9F8D8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84F5CA4-EDBB-48D4-AAFB-EA7E85ACF64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2722589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F01439ED-29DA-4405-95E2-BA47702ECD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976981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C02DD20F-504D-C649-86C3-0A7F098F66D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110017" y="986527"/>
            <a:ext cx="3518084" cy="4999727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93DBED3D-CA03-E943-B119-9872641B21D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336957" y="986527"/>
            <a:ext cx="3503571" cy="4999727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B2924BE-0F83-44F9-8B78-9A892E025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3431871" cy="12700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7350F883-4CBA-438B-9F10-05CAA3763AF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2612573"/>
            <a:ext cx="3421387" cy="9640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9CBC7F64-D22B-46D6-976F-39473E94D2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A76585B6-D6AA-4B89-AF27-606CBEE93F5F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799" y="3776036"/>
            <a:ext cx="3426244" cy="2225208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/>
            </a:lvl1pPr>
            <a:lvl2pPr>
              <a:defRPr sz="1100"/>
            </a:lvl2pPr>
            <a:lvl3pPr>
              <a:defRPr sz="800"/>
            </a:lvl3pPr>
            <a:lvl4pPr>
              <a:defRPr sz="4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AF259D3-3646-418A-ACF1-144AE8A5AA6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161CFB47-5D97-455D-9076-8BE7CF7DCA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48472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and data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642F883-A541-DB46-9654-B4F21790C041}"/>
              </a:ext>
            </a:extLst>
          </p:cNvPr>
          <p:cNvCxnSpPr>
            <a:cxnSpLocks/>
          </p:cNvCxnSpPr>
          <p:nvPr/>
        </p:nvCxnSpPr>
        <p:spPr>
          <a:xfrm>
            <a:off x="563902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56930F6-4614-C940-AA31-EB153B9A3C14}"/>
              </a:ext>
            </a:extLst>
          </p:cNvPr>
          <p:cNvCxnSpPr>
            <a:cxnSpLocks/>
          </p:cNvCxnSpPr>
          <p:nvPr/>
        </p:nvCxnSpPr>
        <p:spPr>
          <a:xfrm>
            <a:off x="4337616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E609397-087F-854B-9535-E4D803EA438C}"/>
              </a:ext>
            </a:extLst>
          </p:cNvPr>
          <p:cNvCxnSpPr>
            <a:cxnSpLocks/>
          </p:cNvCxnSpPr>
          <p:nvPr/>
        </p:nvCxnSpPr>
        <p:spPr>
          <a:xfrm>
            <a:off x="8125846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F6D98EE6-CE26-5746-9F24-417E0C5D93D7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513103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300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20%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756C9CF0-3AB5-A549-A273-298CB4402764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4308588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300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-300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47EE0A8E-A5BD-3644-A4C4-B97D607EF556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8089559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300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80+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8A16D6C-FD3D-414B-9631-678E295DE32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9F0397D-3C93-7845-879A-16F144523B4C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4164765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A03067A-3923-2647-97D3-023C8639F1D2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1FC53C6-F2F8-42A2-A49B-A9238A0EDA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4756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data</a:t>
            </a:r>
          </a:p>
        </p:txBody>
      </p:sp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8A082190-6F7B-4BB6-90A3-08A8220E1F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1FA8DC3-99FB-49CE-B894-90F025FACC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CAF1C110-2104-4113-AC2A-0735ED1299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737040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 column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A3358592-959E-4456-B08C-B18561ACD90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rgbClr val="F2F2F2"/>
          </a:solidFill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67566B7-7005-4688-80F7-DA1BD8DAD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034828" cy="1461733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0A1CBFF-FEB1-426F-8ABF-7C8FF483E89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6" y="2800677"/>
            <a:ext cx="2321893" cy="77593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E2F20EC-16BD-48F7-86D9-438E0739413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266107" y="2800677"/>
            <a:ext cx="2321893" cy="77593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1A4FF-001F-46B0-B50B-76B7ADF0DB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6" y="3684026"/>
            <a:ext cx="2321893" cy="25383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DC8C8FE-D77A-44F7-8C57-F06010945CF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66107" y="3684026"/>
            <a:ext cx="2321893" cy="25383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AC2492A7-148D-4E60-BDC4-A6493F242C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1DA0D3C-E618-4E74-AE1A-D790FB5661A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1208D92E-CD7A-49C0-A704-73CF645867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0219592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and data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5F276A7-E979-4340-9836-CA9BE4464ED1}"/>
              </a:ext>
            </a:extLst>
          </p:cNvPr>
          <p:cNvCxnSpPr>
            <a:cxnSpLocks/>
          </p:cNvCxnSpPr>
          <p:nvPr/>
        </p:nvCxnSpPr>
        <p:spPr>
          <a:xfrm>
            <a:off x="563902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3936A3C-3E7D-9C41-9C09-B7B969F5C00B}"/>
              </a:ext>
            </a:extLst>
          </p:cNvPr>
          <p:cNvCxnSpPr>
            <a:cxnSpLocks/>
          </p:cNvCxnSpPr>
          <p:nvPr/>
        </p:nvCxnSpPr>
        <p:spPr>
          <a:xfrm>
            <a:off x="4337616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5D45874-2D43-0B46-A5F4-6E94698AFB20}"/>
              </a:ext>
            </a:extLst>
          </p:cNvPr>
          <p:cNvCxnSpPr>
            <a:cxnSpLocks/>
          </p:cNvCxnSpPr>
          <p:nvPr/>
        </p:nvCxnSpPr>
        <p:spPr>
          <a:xfrm>
            <a:off x="8125846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D83CB5A-02A6-8446-87FF-B791E6474486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513103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300" b="0" i="0" spc="0" baseline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20%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D444B7E-7F71-4B46-976B-5429DA2173B3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4308588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300" b="0" i="0" spc="0" baseline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-300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00F2D7A-7571-4B4B-A546-B2325912C04B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8089559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300" b="0" i="0" spc="0" baseline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80+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12EFBABB-5C70-4107-9088-C1B0E1BE156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ACC72060-E493-431B-8465-A5C938B0E36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4164765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B9A7DD94-38AB-4DFD-B3B1-7698117E5AA4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B2DA6EB3-F09E-4753-9759-61F5E48DA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8263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data</a:t>
            </a:r>
          </a:p>
        </p:txBody>
      </p:sp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95FD79ED-DC24-410F-98FA-8961227CA5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9419B13-A039-4394-A6EA-FE5AE56A5A7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73EE716-0BC0-46EB-9154-7E5AAA8CE8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223874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and data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06B558A-BDEC-464B-B491-D9BC21129A9D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513103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300" b="0" i="0" spc="0" baseline="0">
                <a:gradFill>
                  <a:gsLst>
                    <a:gs pos="0">
                      <a:schemeClr val="accent3"/>
                    </a:gs>
                    <a:gs pos="97000">
                      <a:schemeClr val="accent4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20%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6ABD542-E4AD-F141-9F7C-F9D7647A7A44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4308588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300" b="0" i="0" spc="0" baseline="0">
                <a:gradFill>
                  <a:gsLst>
                    <a:gs pos="0">
                      <a:schemeClr val="accent3"/>
                    </a:gs>
                    <a:gs pos="97000">
                      <a:schemeClr val="accent4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-300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67E3190-6EA7-2940-AF53-00DFF865B774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8089559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300" b="0" i="0" spc="0" baseline="0">
                <a:gradFill>
                  <a:gsLst>
                    <a:gs pos="0">
                      <a:schemeClr val="accent3"/>
                    </a:gs>
                    <a:gs pos="97000">
                      <a:schemeClr val="accent4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80+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8AAE14-673A-48C3-AB34-E203F644B8E4}"/>
              </a:ext>
            </a:extLst>
          </p:cNvPr>
          <p:cNvCxnSpPr>
            <a:cxnSpLocks/>
          </p:cNvCxnSpPr>
          <p:nvPr/>
        </p:nvCxnSpPr>
        <p:spPr>
          <a:xfrm>
            <a:off x="563902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3373FB8-5D9C-4D1B-987C-CE9B05227EC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73D7130-65B2-418E-A28A-88D753AF2669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4164765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18B7352-50C9-4EB3-B44F-091AA75BB5B2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25ABD418-4BFF-46CA-8258-2592F20AD1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8960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data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B8A52325-3C8A-4F56-829E-2C83AA7B78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4DB9AD6-305E-4CAC-884E-012D9656B7A1}"/>
              </a:ext>
            </a:extLst>
          </p:cNvPr>
          <p:cNvCxnSpPr>
            <a:cxnSpLocks/>
          </p:cNvCxnSpPr>
          <p:nvPr/>
        </p:nvCxnSpPr>
        <p:spPr>
          <a:xfrm>
            <a:off x="4337616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BB1CD7A-4B2C-478A-8E8D-FA20C6C22242}"/>
              </a:ext>
            </a:extLst>
          </p:cNvPr>
          <p:cNvCxnSpPr>
            <a:cxnSpLocks/>
          </p:cNvCxnSpPr>
          <p:nvPr/>
        </p:nvCxnSpPr>
        <p:spPr>
          <a:xfrm>
            <a:off x="8125846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DF1E74D-467C-4D1D-8B2D-9294B98C5C5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F50940B2-ABB8-4233-B366-97C29744D5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903057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2 data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2462AB-6463-CF4C-ACBF-34DDFE050AC3}"/>
              </a:ext>
            </a:extLst>
          </p:cNvPr>
          <p:cNvCxnSpPr>
            <a:cxnSpLocks/>
          </p:cNvCxnSpPr>
          <p:nvPr/>
        </p:nvCxnSpPr>
        <p:spPr>
          <a:xfrm>
            <a:off x="8121723" y="993221"/>
            <a:ext cx="3506376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1776A2A-B671-AB4E-8FDB-35C6B7BE364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8124669" y="1845940"/>
            <a:ext cx="350637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Description of data option to highlight text with a color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F7A43E-8EF4-FE4A-ACFF-9F5A5EC847DE}"/>
              </a:ext>
            </a:extLst>
          </p:cNvPr>
          <p:cNvCxnSpPr>
            <a:cxnSpLocks/>
          </p:cNvCxnSpPr>
          <p:nvPr/>
        </p:nvCxnSpPr>
        <p:spPr>
          <a:xfrm>
            <a:off x="8121723" y="3346677"/>
            <a:ext cx="3506376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5778F89-154B-F240-B35E-F81B16D999D6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8124669" y="4199396"/>
            <a:ext cx="350637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Description of data option to highlight text with a color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A56877E-29E1-3742-BB24-CC81DFFFE5D8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1723" y="1045030"/>
            <a:ext cx="3506376" cy="800905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3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77%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900FC7C-DD9A-C846-843B-5642805FB71B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8121723" y="3390990"/>
            <a:ext cx="3506376" cy="800905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3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100,000+</a:t>
            </a: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A953F6CF-E655-4E7D-BDFB-6A551D28089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4896179" cy="3399937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 spc="0"/>
            </a:lvl1pPr>
            <a:lvl2pPr>
              <a:defRPr sz="1100" spc="0"/>
            </a:lvl2pPr>
            <a:lvl3pPr>
              <a:defRPr sz="800" spc="0"/>
            </a:lvl3pPr>
            <a:lvl4pPr>
              <a:defRPr sz="400" spc="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35A59425-FB4F-4C38-AD94-620219A101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3220"/>
            <a:ext cx="4901805" cy="170991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with key data right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11798FBB-8372-4722-82BF-FACDB6A640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4127422-6D86-4CED-ABA9-B9D18F6B22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28A8C1EF-D8F4-42D5-AAB0-CC93828312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130278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4 data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2462AB-6463-CF4C-ACBF-34DDFE050AC3}"/>
              </a:ext>
            </a:extLst>
          </p:cNvPr>
          <p:cNvCxnSpPr>
            <a:cxnSpLocks/>
          </p:cNvCxnSpPr>
          <p:nvPr/>
        </p:nvCxnSpPr>
        <p:spPr>
          <a:xfrm>
            <a:off x="9069052" y="993221"/>
            <a:ext cx="255904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1776A2A-B671-AB4E-8FDB-35C6B7BE364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9069051" y="1845940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F7A43E-8EF4-FE4A-ACFF-9F5A5EC847DE}"/>
              </a:ext>
            </a:extLst>
          </p:cNvPr>
          <p:cNvCxnSpPr>
            <a:cxnSpLocks/>
          </p:cNvCxnSpPr>
          <p:nvPr/>
        </p:nvCxnSpPr>
        <p:spPr>
          <a:xfrm>
            <a:off x="9084040" y="3346677"/>
            <a:ext cx="254405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5778F89-154B-F240-B35E-F81B16D999D6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9069051" y="4199396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A56877E-29E1-3742-BB24-CC81DFFFE5D8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9066105" y="1052982"/>
            <a:ext cx="2561996" cy="688453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3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25,000+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900FC7C-DD9A-C846-843B-5642805FB71B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9066105" y="3398942"/>
            <a:ext cx="2561996" cy="688453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3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30%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F9833B0-6B7A-714F-92F0-2318F3988881}"/>
              </a:ext>
            </a:extLst>
          </p:cNvPr>
          <p:cNvCxnSpPr>
            <a:cxnSpLocks/>
          </p:cNvCxnSpPr>
          <p:nvPr/>
        </p:nvCxnSpPr>
        <p:spPr>
          <a:xfrm>
            <a:off x="6235910" y="993221"/>
            <a:ext cx="255904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3FA3CBF-374B-A244-B5C0-E13E40FCC1EA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6235910" y="1845940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116D5F1-B389-8444-92F2-80861F0A60F1}"/>
              </a:ext>
            </a:extLst>
          </p:cNvPr>
          <p:cNvCxnSpPr>
            <a:cxnSpLocks/>
          </p:cNvCxnSpPr>
          <p:nvPr/>
        </p:nvCxnSpPr>
        <p:spPr>
          <a:xfrm>
            <a:off x="6250899" y="3346677"/>
            <a:ext cx="254405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325976-5126-7040-BC43-767BC0796538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6235910" y="4199396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84EF73E-6055-7549-9FBD-CCA53A9BB16F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6232963" y="1052982"/>
            <a:ext cx="2561996" cy="688453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3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77%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96A08685-9430-244D-BED6-B6CDCC29A954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6232963" y="3398942"/>
            <a:ext cx="2561996" cy="688453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3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-50</a:t>
            </a:r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F0978613-50ED-4F51-BBE0-00F6975A767E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4833332" cy="341390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 spc="0"/>
            </a:lvl1pPr>
            <a:lvl2pPr>
              <a:defRPr sz="1100" spc="0"/>
            </a:lvl2pPr>
            <a:lvl3pPr>
              <a:defRPr sz="800" spc="0"/>
            </a:lvl3pPr>
            <a:lvl4pPr>
              <a:defRPr sz="400" spc="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08D8E3A7-A4BC-4E58-A3CD-1366DCB307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3222"/>
            <a:ext cx="4838960" cy="167508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with key data right</a:t>
            </a:r>
          </a:p>
        </p:txBody>
      </p:sp>
      <p:sp>
        <p:nvSpPr>
          <p:cNvPr id="38" name="Slide Number Placeholder 4">
            <a:extLst>
              <a:ext uri="{FF2B5EF4-FFF2-40B4-BE49-F238E27FC236}">
                <a16:creationId xmlns:a16="http://schemas.microsoft.com/office/drawing/2014/main" id="{EB927BF6-B7DB-457A-BD02-2BDF652259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316AFE74-19AA-44F5-A0EC-8E1A24A495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48461BE4-FEE8-4E08-94EF-CF8BE4A0F9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300421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2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2462AB-6463-CF4C-ACBF-34DDFE050AC3}"/>
              </a:ext>
            </a:extLst>
          </p:cNvPr>
          <p:cNvCxnSpPr>
            <a:cxnSpLocks/>
          </p:cNvCxnSpPr>
          <p:nvPr/>
        </p:nvCxnSpPr>
        <p:spPr>
          <a:xfrm>
            <a:off x="8121723" y="993221"/>
            <a:ext cx="3506376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1776A2A-B671-AB4E-8FDB-35C6B7BE364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8124669" y="1599573"/>
            <a:ext cx="3506376" cy="1565295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Description of data with option to highlight text with a color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F7A43E-8EF4-FE4A-ACFF-9F5A5EC847DE}"/>
              </a:ext>
            </a:extLst>
          </p:cNvPr>
          <p:cNvCxnSpPr>
            <a:cxnSpLocks/>
          </p:cNvCxnSpPr>
          <p:nvPr/>
        </p:nvCxnSpPr>
        <p:spPr>
          <a:xfrm>
            <a:off x="8121723" y="3346677"/>
            <a:ext cx="3506376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5778F89-154B-F240-B35E-F81B16D999D6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8124669" y="3953029"/>
            <a:ext cx="3506376" cy="1565295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7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Description of data with option to highlight text with a color</a:t>
            </a: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A953F6CF-E655-4E7D-BDFB-6A551D28089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4896179" cy="3399937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 spc="0"/>
            </a:lvl1pPr>
            <a:lvl2pPr>
              <a:defRPr sz="1100" spc="0"/>
            </a:lvl2pPr>
            <a:lvl3pPr>
              <a:defRPr sz="800" spc="0"/>
            </a:lvl3pPr>
            <a:lvl4pPr>
              <a:defRPr sz="400" spc="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35A59425-FB4F-4C38-AD94-620219A101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3220"/>
            <a:ext cx="4901805" cy="170991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with key data right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11798FBB-8372-4722-82BF-FACDB6A640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4127422-6D86-4CED-ABA9-B9D18F6B22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28A8C1EF-D8F4-42D5-AAB0-CC93828312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BCAD04E-4C2E-418B-8D4E-04445E6DDC9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124670" y="1139204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BDD70ED-054E-4BF0-8B6B-069CF8E5142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121723" y="347758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</p:spTree>
    <p:extLst>
      <p:ext uri="{BB962C8B-B14F-4D97-AF65-F5344CB8AC3E}">
        <p14:creationId xmlns:p14="http://schemas.microsoft.com/office/powerpoint/2010/main" val="40488025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4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2462AB-6463-CF4C-ACBF-34DDFE050AC3}"/>
              </a:ext>
            </a:extLst>
          </p:cNvPr>
          <p:cNvCxnSpPr>
            <a:cxnSpLocks/>
          </p:cNvCxnSpPr>
          <p:nvPr/>
        </p:nvCxnSpPr>
        <p:spPr>
          <a:xfrm>
            <a:off x="9069052" y="993221"/>
            <a:ext cx="255904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1776A2A-B671-AB4E-8FDB-35C6B7BE364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9069051" y="1612208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F7A43E-8EF4-FE4A-ACFF-9F5A5EC847DE}"/>
              </a:ext>
            </a:extLst>
          </p:cNvPr>
          <p:cNvCxnSpPr>
            <a:cxnSpLocks/>
          </p:cNvCxnSpPr>
          <p:nvPr/>
        </p:nvCxnSpPr>
        <p:spPr>
          <a:xfrm>
            <a:off x="9084040" y="3346677"/>
            <a:ext cx="254405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5778F89-154B-F240-B35E-F81B16D999D6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9069051" y="3965664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F9833B0-6B7A-714F-92F0-2318F3988881}"/>
              </a:ext>
            </a:extLst>
          </p:cNvPr>
          <p:cNvCxnSpPr>
            <a:cxnSpLocks/>
          </p:cNvCxnSpPr>
          <p:nvPr/>
        </p:nvCxnSpPr>
        <p:spPr>
          <a:xfrm>
            <a:off x="6235910" y="993221"/>
            <a:ext cx="255904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3FA3CBF-374B-A244-B5C0-E13E40FCC1EA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6235910" y="1612208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116D5F1-B389-8444-92F2-80861F0A60F1}"/>
              </a:ext>
            </a:extLst>
          </p:cNvPr>
          <p:cNvCxnSpPr>
            <a:cxnSpLocks/>
          </p:cNvCxnSpPr>
          <p:nvPr/>
        </p:nvCxnSpPr>
        <p:spPr>
          <a:xfrm>
            <a:off x="6250899" y="3346677"/>
            <a:ext cx="254405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325976-5126-7040-BC43-767BC0796538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6235910" y="3965664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F0978613-50ED-4F51-BBE0-00F6975A767E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4833332" cy="341390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00" spc="0"/>
            </a:lvl1pPr>
            <a:lvl2pPr>
              <a:defRPr sz="1100" spc="0"/>
            </a:lvl2pPr>
            <a:lvl3pPr>
              <a:defRPr sz="800" spc="0"/>
            </a:lvl3pPr>
            <a:lvl4pPr>
              <a:defRPr sz="400" spc="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08D8E3A7-A4BC-4E58-A3CD-1366DCB307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3222"/>
            <a:ext cx="4838960" cy="167508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with key data right</a:t>
            </a:r>
          </a:p>
        </p:txBody>
      </p:sp>
      <p:sp>
        <p:nvSpPr>
          <p:cNvPr id="38" name="Slide Number Placeholder 4">
            <a:extLst>
              <a:ext uri="{FF2B5EF4-FFF2-40B4-BE49-F238E27FC236}">
                <a16:creationId xmlns:a16="http://schemas.microsoft.com/office/drawing/2014/main" id="{EB927BF6-B7DB-457A-BD02-2BDF652259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316AFE74-19AA-44F5-A0EC-8E1A24A495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48461BE4-FEE8-4E08-94EF-CF8BE4A0F9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1529625F-7DEE-402F-BCC7-E3F6B1DFA88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50899" y="1147648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6839659-BE0B-4010-92F6-DAEB5D615CD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50899" y="347971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A83BDD0-E718-4437-ADC5-FDF817E32F4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084040" y="114663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FD13EB52-63CB-4ADD-B22D-D9D6F1D697A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084040" y="3478699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</p:spTree>
    <p:extLst>
      <p:ext uri="{BB962C8B-B14F-4D97-AF65-F5344CB8AC3E}">
        <p14:creationId xmlns:p14="http://schemas.microsoft.com/office/powerpoint/2010/main" val="14701493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eature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6109FABB-685C-064C-97C0-CDEBA83E6A90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75128" y="1681972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9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A94773F4-AAB7-E940-B2A8-EFEBE8948C45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575128" y="3237202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9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67" name="Text Placeholder 3">
            <a:extLst>
              <a:ext uri="{FF2B5EF4-FFF2-40B4-BE49-F238E27FC236}">
                <a16:creationId xmlns:a16="http://schemas.microsoft.com/office/drawing/2014/main" id="{282895ED-6050-3747-8F02-64EC64223ADF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575128" y="4792431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9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87" name="Picture Placeholder 2">
            <a:extLst>
              <a:ext uri="{FF2B5EF4-FFF2-40B4-BE49-F238E27FC236}">
                <a16:creationId xmlns:a16="http://schemas.microsoft.com/office/drawing/2014/main" id="{323133DF-7BD6-514D-BEB7-88A3F593064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803160" y="831957"/>
            <a:ext cx="6603168" cy="5321508"/>
          </a:xfrm>
          <a:prstGeom prst="rect">
            <a:avLst/>
          </a:prstGeom>
          <a:solidFill>
            <a:srgbClr val="121212"/>
          </a:solidFill>
        </p:spPr>
        <p:txBody>
          <a:bodyPr anchor="t" anchorCtr="0">
            <a:noAutofit/>
          </a:bodyPr>
          <a:lstStyle>
            <a:lvl1pPr marL="0" indent="0" algn="ctr">
              <a:buNone/>
              <a:defRPr sz="2500" spc="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1" name="Slide Number Placeholder 4">
            <a:extLst>
              <a:ext uri="{FF2B5EF4-FFF2-40B4-BE49-F238E27FC236}">
                <a16:creationId xmlns:a16="http://schemas.microsoft.com/office/drawing/2014/main" id="{1D2CC720-C5B4-48FE-A1CD-BA2700675B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2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825B61A-3A85-4882-BBB1-5D9D49DE8B11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5128" y="2033026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00" dirty="0">
                <a:solidFill>
                  <a:schemeClr val="tx2"/>
                </a:solidFill>
              </a:defRPr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77C9AC3-9E3A-4EA8-B187-A1C1A3FCF4EC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75128" y="3586888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302676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00" dirty="0">
                <a:solidFill>
                  <a:schemeClr val="tx2"/>
                </a:solidFill>
              </a:defRPr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5D3C119-BE92-4F78-B40B-2CD0BA25798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75128" y="5140751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00" dirty="0">
                <a:solidFill>
                  <a:schemeClr val="tx2"/>
                </a:solidFill>
              </a:defRPr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85E9FFB8-448F-4BEB-9062-AE6453AC476B}"/>
              </a:ext>
            </a:extLst>
          </p:cNvPr>
          <p:cNvSpPr>
            <a:spLocks noGrp="1"/>
          </p:cNvSpPr>
          <p:nvPr>
            <p:ph type="body" sz="half" idx="48" hasCustomPrompt="1"/>
          </p:nvPr>
        </p:nvSpPr>
        <p:spPr>
          <a:xfrm>
            <a:off x="9742445" y="1682132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9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490D1BE3-656B-4816-8D7F-6B972EE99B30}"/>
              </a:ext>
            </a:extLst>
          </p:cNvPr>
          <p:cNvSpPr>
            <a:spLocks noGrp="1"/>
          </p:cNvSpPr>
          <p:nvPr>
            <p:ph type="body" sz="half" idx="50" hasCustomPrompt="1"/>
          </p:nvPr>
        </p:nvSpPr>
        <p:spPr>
          <a:xfrm>
            <a:off x="9742445" y="3237362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9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08A5BB13-4AE6-4F94-B95C-2999ADC2964E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9742445" y="4792591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9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D5A01B2D-2DD4-48BE-9168-CD41BD2A052C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9742445" y="2033186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00" dirty="0">
                <a:solidFill>
                  <a:schemeClr val="tx2"/>
                </a:solidFill>
              </a:defRPr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E50C3374-25F2-4497-910F-A7F20424C332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9742445" y="3587048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00" dirty="0">
                <a:solidFill>
                  <a:schemeClr val="tx2"/>
                </a:solidFill>
              </a:defRPr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7280B0E9-BE28-4C9B-8368-AB8CBD61305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9742445" y="5140911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None/>
              <a:defRPr lang="en-US" sz="900" spc="0" dirty="0">
                <a:solidFill>
                  <a:schemeClr val="tx2"/>
                </a:solidFill>
              </a:defRPr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DB88346-186B-44A2-ACB8-13C6075E17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9008" y="1282135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423CEAC7-9351-44C0-8650-685B42C7DB3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69008" y="283365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92DA7B38-9444-4EC2-8018-21FD1A285F3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569008" y="4385168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9E1862F-9EB8-4655-8F44-7F8EAF7C5A2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742446" y="1296068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09882002-4CDE-4869-868F-E43E999F39D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742446" y="2847584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72D80060-E102-442A-9C04-C7B7F0A30E6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742446" y="43991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100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5EB31E36-A45C-4CA4-BAD6-608235E681A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BA87D479-30B1-45F9-9188-C9837378F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806162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1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FB7DABE0-8F22-F041-8366-E2731CE05EE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1835" y="1591765"/>
            <a:ext cx="280579" cy="224463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C865750-8F0C-6B4A-A308-228D6B53EE0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01837" y="4666993"/>
            <a:ext cx="6314695" cy="22403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300" b="1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254B061-C071-4247-8356-D55F1F50C5D6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01837" y="4952059"/>
            <a:ext cx="6314695" cy="18960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1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E9F3EB2-8419-DA47-B375-D5E047B95E78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C4105021-0C0A-411C-AAFB-43C46FF3DF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8E7470-A9D2-4756-B67E-9B25728B0E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08A76CFF-C17D-4391-AA7D-BE96902F888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64CA91EC-3163-7644-886D-5ED1A8B68D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081550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2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5D7582C7-D8A5-B844-99D4-FF1EF0B26789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1835" y="1591765"/>
            <a:ext cx="280579" cy="22446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4AD1EDD-48E3-1149-9699-942910AF654C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0F001CB-6071-495E-8B33-0D4D8B9A5C6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01837" y="4666993"/>
            <a:ext cx="6314695" cy="22403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300" b="1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D410D66-33BB-4469-B397-AE29D77038D2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01837" y="4952059"/>
            <a:ext cx="6314695" cy="18960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1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30F2DE5F-07B7-44AB-9AE4-5A490A346A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EB9C626-772E-423A-A83B-FDDBB19DAEB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0000"/>
              </a:lnSpc>
              <a:defRPr lang="en-US" sz="400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Click to add quotation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580096A-CA76-40B6-AE91-9B571CCD5D3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0C301F8F-9657-4D42-A3E2-D5C297D493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643299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3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C8151F1-B4B3-4946-ABEC-1380FC0939C0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1835" y="1591765"/>
            <a:ext cx="280579" cy="22446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E73A939-ABFE-FF48-B40B-0547237F3E11}"/>
              </a:ext>
            </a:extLst>
          </p:cNvPr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33BA5D9-8DD3-44FA-97F1-0BE7E11890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01837" y="4666993"/>
            <a:ext cx="6314695" cy="22403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300" b="1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34D1A77-E568-4CF9-B725-C0D0BF9F82C5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01837" y="4952059"/>
            <a:ext cx="6314695" cy="18960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1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41AF0EE6-B3C9-4B84-B580-E17BEB0703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066B250-A33F-47B7-BFD8-B70059A3BAA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0000"/>
              </a:lnSpc>
              <a:defRPr lang="en-US" sz="400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Click to add quotation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B4E9C83-79F0-4C4D-8790-0879E16319C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11787F27-6C12-1C4F-B427-BCADDA6318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997109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up to 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3223"/>
            <a:ext cx="5390425" cy="131883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ontents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F3B1879A-B619-984E-82C7-4434B9F2A25C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558801" y="2478139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1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4BD297AF-7D2D-D94D-B0E8-94538FF52057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1354461" y="3810313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EB822921-0C8E-3C44-A1CD-F57BC9505616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558801" y="3397683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2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DA9D4E5-FBBF-994F-AA3B-A8FD8ADBD704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1354461" y="4734069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B03C4A2-7938-6849-8D46-277EC2DB2F8E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1354461" y="4312232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5E9B8D30-521D-864E-AAD2-9AB01D6BBF2E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558801" y="4317227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3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CF377F4-3F0E-754A-84E9-8885433BCA73}"/>
              </a:ext>
            </a:extLst>
          </p:cNvPr>
          <p:cNvSpPr>
            <a:spLocks noGrp="1"/>
          </p:cNvSpPr>
          <p:nvPr>
            <p:ph type="body" sz="half" idx="33" hasCustomPrompt="1"/>
          </p:nvPr>
        </p:nvSpPr>
        <p:spPr>
          <a:xfrm>
            <a:off x="1342112" y="5657826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8B6D2346-F32B-6245-ABF4-0D656814BDAC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1342112" y="5236769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90907DA3-7813-1343-BE3E-5E4707F98652}"/>
              </a:ext>
            </a:extLst>
          </p:cNvPr>
          <p:cNvSpPr>
            <a:spLocks noGrp="1"/>
          </p:cNvSpPr>
          <p:nvPr>
            <p:ph type="body" sz="half" idx="35" hasCustomPrompt="1"/>
          </p:nvPr>
        </p:nvSpPr>
        <p:spPr>
          <a:xfrm>
            <a:off x="546451" y="5236771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4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FB49C323-7C7D-804E-82D9-2045EA5F8DCA}"/>
              </a:ext>
            </a:extLst>
          </p:cNvPr>
          <p:cNvSpPr>
            <a:spLocks noGrp="1"/>
          </p:cNvSpPr>
          <p:nvPr>
            <p:ph type="body" sz="half" idx="39" hasCustomPrompt="1"/>
          </p:nvPr>
        </p:nvSpPr>
        <p:spPr>
          <a:xfrm>
            <a:off x="1354461" y="2463157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36E9A218-B974-1D4F-81D6-6E343885F274}"/>
              </a:ext>
            </a:extLst>
          </p:cNvPr>
          <p:cNvSpPr>
            <a:spLocks noGrp="1"/>
          </p:cNvSpPr>
          <p:nvPr>
            <p:ph type="body" sz="half" idx="40" hasCustomPrompt="1"/>
          </p:nvPr>
        </p:nvSpPr>
        <p:spPr>
          <a:xfrm>
            <a:off x="1354461" y="3387694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4E0C9FA-1CEF-D442-805C-B1304D12773B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1354461" y="2886557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EA9F760-54C7-4D39-BFBE-CB5FEB9E61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71820893-9915-4BFA-B034-1C8F63FF81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100000"/>
              </a:lnSpc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FFD397-3600-4EC8-8694-6DE9A09E921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3C20764-63DC-41E8-9C7F-E25D307EE557}"/>
              </a:ext>
            </a:extLst>
          </p:cNvPr>
          <p:cNvSpPr>
            <a:spLocks noGrp="1"/>
          </p:cNvSpPr>
          <p:nvPr>
            <p:ph type="body" sz="half" idx="43" hasCustomPrompt="1"/>
          </p:nvPr>
        </p:nvSpPr>
        <p:spPr>
          <a:xfrm>
            <a:off x="6264207" y="2463157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5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54FF577-772A-41CF-B806-B27FEBD63D74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7059868" y="3795330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B55BF2F-380E-4EFB-B046-8182E6C5D20A}"/>
              </a:ext>
            </a:extLst>
          </p:cNvPr>
          <p:cNvSpPr>
            <a:spLocks noGrp="1"/>
          </p:cNvSpPr>
          <p:nvPr>
            <p:ph type="body" sz="half" idx="45" hasCustomPrompt="1"/>
          </p:nvPr>
        </p:nvSpPr>
        <p:spPr>
          <a:xfrm>
            <a:off x="6264207" y="3382701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6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43F57A3-46B0-4550-84B1-CC695920B0EE}"/>
              </a:ext>
            </a:extLst>
          </p:cNvPr>
          <p:cNvSpPr>
            <a:spLocks noGrp="1"/>
          </p:cNvSpPr>
          <p:nvPr>
            <p:ph type="body" sz="half" idx="46" hasCustomPrompt="1"/>
          </p:nvPr>
        </p:nvSpPr>
        <p:spPr>
          <a:xfrm>
            <a:off x="7059868" y="4719086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3789CA6-53C8-4BAE-954E-06003EB6D646}"/>
              </a:ext>
            </a:extLst>
          </p:cNvPr>
          <p:cNvSpPr>
            <a:spLocks noGrp="1"/>
          </p:cNvSpPr>
          <p:nvPr>
            <p:ph type="body" sz="half" idx="47" hasCustomPrompt="1"/>
          </p:nvPr>
        </p:nvSpPr>
        <p:spPr>
          <a:xfrm>
            <a:off x="7059868" y="4297249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6496AA22-DA56-4B97-8E59-16462CD7A335}"/>
              </a:ext>
            </a:extLst>
          </p:cNvPr>
          <p:cNvSpPr>
            <a:spLocks noGrp="1"/>
          </p:cNvSpPr>
          <p:nvPr>
            <p:ph type="body" sz="half" idx="48" hasCustomPrompt="1"/>
          </p:nvPr>
        </p:nvSpPr>
        <p:spPr>
          <a:xfrm>
            <a:off x="6264207" y="4302245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6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4C89E3A-AB27-4036-93FF-BD8A83504130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7047519" y="5642843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0F66D1C-C372-4707-AA8E-384994CA8FB5}"/>
              </a:ext>
            </a:extLst>
          </p:cNvPr>
          <p:cNvSpPr>
            <a:spLocks noGrp="1"/>
          </p:cNvSpPr>
          <p:nvPr>
            <p:ph type="body" sz="half" idx="50" hasCustomPrompt="1"/>
          </p:nvPr>
        </p:nvSpPr>
        <p:spPr>
          <a:xfrm>
            <a:off x="7047519" y="5221786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F21B11E7-AF06-4AAF-A83E-878C585EC666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6251858" y="5221789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8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44A6C6A-3712-4F22-AB73-02EF14791FEB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7059868" y="2448174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98A57429-28BA-4B50-8D4B-BE52589BD153}"/>
              </a:ext>
            </a:extLst>
          </p:cNvPr>
          <p:cNvSpPr>
            <a:spLocks noGrp="1"/>
          </p:cNvSpPr>
          <p:nvPr>
            <p:ph type="body" sz="half" idx="53" hasCustomPrompt="1"/>
          </p:nvPr>
        </p:nvSpPr>
        <p:spPr>
          <a:xfrm>
            <a:off x="7059868" y="3372712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8FE7BF6C-D02D-4BAF-82B1-B39EC24946DD}"/>
              </a:ext>
            </a:extLst>
          </p:cNvPr>
          <p:cNvSpPr>
            <a:spLocks noGrp="1"/>
          </p:cNvSpPr>
          <p:nvPr>
            <p:ph type="body" sz="half" idx="54" hasCustomPrompt="1"/>
          </p:nvPr>
        </p:nvSpPr>
        <p:spPr>
          <a:xfrm>
            <a:off x="7059868" y="2871574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</p:spTree>
    <p:extLst>
      <p:ext uri="{BB962C8B-B14F-4D97-AF65-F5344CB8AC3E}">
        <p14:creationId xmlns:p14="http://schemas.microsoft.com/office/powerpoint/2010/main" val="30538808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 column icons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BE8071A5-D2DE-4A93-921A-785E22F45F37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096000" y="0"/>
            <a:ext cx="6096000" cy="6858000"/>
          </a:xfrm>
          <a:solidFill>
            <a:srgbClr val="F2F2F2"/>
          </a:solidFill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E98C8BEA-B15D-4061-953B-D90FCE37158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700087"/>
            <a:ext cx="2322323" cy="59269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DB00627B-8E9E-451B-8924-7096742DBBB8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3276411" y="3700087"/>
            <a:ext cx="2322323" cy="59269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71D6F508-837A-4CD5-AC3A-FF7EE23D05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045560" cy="156623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2-column with icon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C411F75-6788-47F4-9D8B-6D1716F8EC0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5" y="4371432"/>
            <a:ext cx="2322323" cy="185090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B962768-3C7E-49E5-AC1D-7730E96FE84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65679" y="4371432"/>
            <a:ext cx="2322323" cy="185090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A84CF3E9-1E0B-46B7-BF52-271009164E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63D291-DE41-4BB4-9E4C-30D49C50E58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63904" y="3350787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DA18A8E-48CB-4C25-A5F2-E849DDAE33A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76410" y="3350787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C49583F-365C-4C9E-81DD-9046A0055A5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551AB8E0-3E63-4511-8C72-DE00D1124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030908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C8151F1-B4B3-4946-ABEC-1380FC0939C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1835" y="1591765"/>
            <a:ext cx="280579" cy="224463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33BA5D9-8DD3-44FA-97F1-0BE7E11890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01837" y="4666993"/>
            <a:ext cx="6314695" cy="22403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300" b="1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34D1A77-E568-4CF9-B725-C0D0BF9F82C5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01837" y="4952059"/>
            <a:ext cx="6314695" cy="18960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1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41AF0EE6-B3C9-4B84-B580-E17BEB0703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47AAE0F-8337-4F73-9DD9-D379B007EF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0000"/>
              </a:lnSpc>
              <a:defRPr lang="en-US" sz="400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Click to add quotation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82D5AC4-DFBC-4215-B31F-BE1599178FF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55ACF69D-BB42-FF47-8DEC-EC2E42897E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6427726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C8151F1-B4B3-4946-ABEC-1380FC0939C0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1835" y="1591765"/>
            <a:ext cx="280579" cy="224463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33BA5D9-8DD3-44FA-97F1-0BE7E11890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54742" y="4832497"/>
            <a:ext cx="6314695" cy="224036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300" b="1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34D1A77-E568-4CF9-B725-C0D0BF9F82C5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4554742" y="5117563"/>
            <a:ext cx="6314695" cy="18960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1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400"/>
            </a:lvl2pPr>
            <a:lvl3pPr marL="882171" indent="0">
              <a:buNone/>
              <a:defRPr sz="1200"/>
            </a:lvl3pPr>
            <a:lvl4pPr marL="1323259" indent="0">
              <a:buNone/>
              <a:defRPr sz="1000"/>
            </a:lvl4pPr>
            <a:lvl5pPr marL="1764344" indent="0">
              <a:buNone/>
              <a:defRPr sz="1000"/>
            </a:lvl5pPr>
            <a:lvl6pPr marL="2205432" indent="0">
              <a:buNone/>
              <a:defRPr sz="1000"/>
            </a:lvl6pPr>
            <a:lvl7pPr marL="2646515" indent="0">
              <a:buNone/>
              <a:defRPr sz="1000"/>
            </a:lvl7pPr>
            <a:lvl8pPr marL="3087603" indent="0">
              <a:buNone/>
              <a:defRPr sz="1000"/>
            </a:lvl8pPr>
            <a:lvl9pPr marL="3528689" indent="0">
              <a:buNone/>
              <a:defRPr sz="1000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41AF0EE6-B3C9-4B84-B580-E17BEB0703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47AAE0F-8337-4F73-9DD9-D379B007EF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0000"/>
              </a:lnSpc>
              <a:defRPr lang="en-US" sz="400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Click to add quotation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82D5AC4-DFBC-4215-B31F-BE1599178FF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E376C552-F9A8-7E4A-8D26-C2DA4C751B5A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3401835" y="4542367"/>
            <a:ext cx="1003300" cy="1003300"/>
          </a:xfrm>
          <a:prstGeom prst="ellipse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100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5C90B39F-EC74-9C4E-901C-C3AB7D8EBB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2269862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Title Onl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8DF48D7D-2A31-5342-974B-E6C0A305B6A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2811" y="0"/>
            <a:ext cx="12192000" cy="6858000"/>
          </a:xfrm>
          <a:prstGeom prst="rect">
            <a:avLst/>
          </a:prstGeom>
        </p:spPr>
      </p:pic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CD7246-18F0-9449-830E-610CFE4B430F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5" y="6390603"/>
            <a:ext cx="382947" cy="93184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901BFEB-4EC1-5546-8CB9-5458EA8BFB7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030C35B-EFD4-F346-AB2B-A3DEF9B9CD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0000"/>
              </a:lnSpc>
              <a:defRPr lang="en-US" sz="400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Big message slide. </a:t>
            </a:r>
          </a:p>
        </p:txBody>
      </p:sp>
    </p:spTree>
    <p:extLst>
      <p:ext uri="{BB962C8B-B14F-4D97-AF65-F5344CB8AC3E}">
        <p14:creationId xmlns:p14="http://schemas.microsoft.com/office/powerpoint/2010/main" val="18857009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Logo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3">
            <a:extLst>
              <a:ext uri="{FF2B5EF4-FFF2-40B4-BE49-F238E27FC236}">
                <a16:creationId xmlns:a16="http://schemas.microsoft.com/office/drawing/2014/main" id="{C510C04A-4C93-8F41-A2A2-A25E5474C66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D33CF7D7-AC16-3646-8C16-50DD352C76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D509A92-4588-F647-9E8E-7BC7A9D6CFE4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5" y="6390603"/>
            <a:ext cx="382947" cy="93184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97476FA5-BB2F-6647-A21B-2BCCE42BAE3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FB1AF2D-4E8F-B44A-B999-793CF1A5581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0000"/>
              </a:lnSpc>
              <a:defRPr lang="en-US" sz="400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Big message slide. </a:t>
            </a:r>
          </a:p>
        </p:txBody>
      </p:sp>
    </p:spTree>
    <p:extLst>
      <p:ext uri="{BB962C8B-B14F-4D97-AF65-F5344CB8AC3E}">
        <p14:creationId xmlns:p14="http://schemas.microsoft.com/office/powerpoint/2010/main" val="20045952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3E5F4A29-6D48-F648-ABD6-AF3F5511792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09B2F1A-7938-C940-A33A-3CE54DA17D76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5" y="6390603"/>
            <a:ext cx="382947" cy="93184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08281CA-8FF4-5D40-BF31-07B3DBE6F9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64D382C-48A2-BC4C-8B69-C344737FE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0000"/>
              </a:lnSpc>
              <a:defRPr lang="en-US" sz="400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Big message slide. </a:t>
            </a:r>
          </a:p>
        </p:txBody>
      </p:sp>
    </p:spTree>
    <p:extLst>
      <p:ext uri="{BB962C8B-B14F-4D97-AF65-F5344CB8AC3E}">
        <p14:creationId xmlns:p14="http://schemas.microsoft.com/office/powerpoint/2010/main" val="39597931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A712B4B-CA11-4116-8559-6D5A2D1AD8D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1"/>
            <a:ext cx="5384800" cy="3343785"/>
          </a:xfrm>
        </p:spPr>
        <p:txBody>
          <a:bodyPr>
            <a:noAutofit/>
          </a:bodyPr>
          <a:lstStyle>
            <a:lvl1pPr marL="228594" indent="-228594">
              <a:lnSpc>
                <a:spcPct val="140000"/>
              </a:lnSpc>
              <a:buFont typeface="Arial" panose="020B0604020202020204" pitchFamily="34" charset="0"/>
              <a:buChar char="•"/>
              <a:defRPr sz="1300"/>
            </a:lvl1pPr>
            <a:lvl2pPr>
              <a:lnSpc>
                <a:spcPct val="140000"/>
              </a:lnSpc>
              <a:defRPr sz="1100"/>
            </a:lvl2pPr>
            <a:lvl3pPr>
              <a:lnSpc>
                <a:spcPct val="140000"/>
              </a:lnSpc>
              <a:defRPr sz="800"/>
            </a:lvl3pPr>
            <a:lvl4pPr>
              <a:lnSpc>
                <a:spcPct val="140000"/>
              </a:lnSpc>
              <a:defRPr sz="400"/>
            </a:lvl4pPr>
            <a:lvl5pPr>
              <a:defRPr sz="5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60107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Turn guides on to use this slide’s grid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3984B84-E026-4120-A200-04C1B3AFF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14B2EEA-5915-42C8-9003-8974AFE90EA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B859ACCB-8619-4E02-BC00-0846527E11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7325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840">
          <p15:clr>
            <a:srgbClr val="FBAE40"/>
          </p15:clr>
        </p15:guide>
        <p15:guide id="2" pos="3328">
          <p15:clr>
            <a:srgbClr val="FBAE40"/>
          </p15:clr>
        </p15:guide>
        <p15:guide id="3" pos="3168">
          <p15:clr>
            <a:srgbClr val="FBAE40"/>
          </p15:clr>
        </p15:guide>
        <p15:guide id="4" pos="2560">
          <p15:clr>
            <a:srgbClr val="FBAE40"/>
          </p15:clr>
        </p15:guide>
        <p15:guide id="5" pos="2720">
          <p15:clr>
            <a:srgbClr val="FBAE40"/>
          </p15:clr>
        </p15:guide>
        <p15:guide id="6" pos="2144">
          <p15:clr>
            <a:srgbClr val="FBAE40"/>
          </p15:clr>
        </p15:guide>
        <p15:guide id="7" pos="1952">
          <p15:clr>
            <a:srgbClr val="FBAE40"/>
          </p15:clr>
        </p15:guide>
        <p15:guide id="8" pos="1536">
          <p15:clr>
            <a:srgbClr val="FBAE40"/>
          </p15:clr>
        </p15:guide>
        <p15:guide id="9" pos="1376">
          <p15:clr>
            <a:srgbClr val="FBAE40"/>
          </p15:clr>
        </p15:guide>
        <p15:guide id="10" pos="960">
          <p15:clr>
            <a:srgbClr val="FBAE40"/>
          </p15:clr>
        </p15:guide>
        <p15:guide id="11" pos="800">
          <p15:clr>
            <a:srgbClr val="FBAE40"/>
          </p15:clr>
        </p15:guide>
        <p15:guide id="12" pos="4352">
          <p15:clr>
            <a:srgbClr val="FBAE40"/>
          </p15:clr>
        </p15:guide>
        <p15:guide id="13" pos="4512">
          <p15:clr>
            <a:srgbClr val="FBAE40"/>
          </p15:clr>
        </p15:guide>
        <p15:guide id="14" pos="4960">
          <p15:clr>
            <a:srgbClr val="FBAE40"/>
          </p15:clr>
        </p15:guide>
        <p15:guide id="15" pos="5120">
          <p15:clr>
            <a:srgbClr val="FBAE40"/>
          </p15:clr>
        </p15:guide>
        <p15:guide id="16" pos="5536">
          <p15:clr>
            <a:srgbClr val="FBAE40"/>
          </p15:clr>
        </p15:guide>
        <p15:guide id="17" pos="5728">
          <p15:clr>
            <a:srgbClr val="FBAE40"/>
          </p15:clr>
        </p15:guide>
        <p15:guide id="18" pos="6144">
          <p15:clr>
            <a:srgbClr val="FBAE40"/>
          </p15:clr>
        </p15:guide>
        <p15:guide id="19" pos="6304">
          <p15:clr>
            <a:srgbClr val="FBAE40"/>
          </p15:clr>
        </p15:guide>
        <p15:guide id="20" pos="6720">
          <p15:clr>
            <a:srgbClr val="FBAE40"/>
          </p15:clr>
        </p15:guide>
        <p15:guide id="21" pos="6912">
          <p15:clr>
            <a:srgbClr val="FBAE40"/>
          </p15:clr>
        </p15:guide>
      </p15:sldGuideLst>
    </p:ext>
  </p:extLs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825D1DB-33F5-3C4E-9082-E33280F74383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1000" y="2794000"/>
            <a:ext cx="1270000" cy="1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7494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ullet_Title onl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6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Slide Number Placeholder 1">
            <a:extLst>
              <a:ext uri="{FF2B5EF4-FFF2-40B4-BE49-F238E27FC236}">
                <a16:creationId xmlns:a16="http://schemas.microsoft.com/office/drawing/2014/main" id="{0D4D706C-208E-844B-B810-749D495D892F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430652" y="6376757"/>
            <a:ext cx="382149" cy="366183"/>
          </a:xfrm>
        </p:spPr>
        <p:txBody>
          <a:bodyPr/>
          <a:lstStyle/>
          <a:p>
            <a:fld id="{903ECF40-F530-7A45-B2AB-D7516508951C}" type="slidenum">
              <a:rPr lang="en-US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3603562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6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Footer Placeholder 7">
            <a:extLst>
              <a:ext uri="{FF2B5EF4-FFF2-40B4-BE49-F238E27FC236}">
                <a16:creationId xmlns:a16="http://schemas.microsoft.com/office/drawing/2014/main" id="{4EF6B68D-0B38-B149-9386-D916514FB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4" y="6376758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pPr algn="l"/>
            <a:fld id="{07AB022D-6AB5-0742-A695-7213B7438632}" type="slidenum">
              <a:rPr lang="en-US" smtClean="0"/>
              <a:pPr algn="l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673383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able Placeholder 11"/>
          <p:cNvSpPr>
            <a:spLocks noGrp="1"/>
          </p:cNvSpPr>
          <p:nvPr>
            <p:ph type="tbl" sz="quarter" idx="12"/>
          </p:nvPr>
        </p:nvSpPr>
        <p:spPr>
          <a:xfrm>
            <a:off x="711200" y="1671649"/>
            <a:ext cx="10820400" cy="3544971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700" baseline="0">
                <a:solidFill>
                  <a:schemeClr val="bg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6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691" y="5271704"/>
            <a:ext cx="9573749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727">
              <a:lnSpc>
                <a:spcPct val="100000"/>
              </a:lnSpc>
              <a:spcBef>
                <a:spcPct val="50000"/>
              </a:spcBef>
              <a:buNone/>
              <a:defRPr sz="1600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21C0116-1495-C24E-88AD-7E1DC76FA9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Footer Placeholder 7">
            <a:extLst>
              <a:ext uri="{FF2B5EF4-FFF2-40B4-BE49-F238E27FC236}">
                <a16:creationId xmlns:a16="http://schemas.microsoft.com/office/drawing/2014/main" id="{E70F4A0B-ECC5-3A42-82A3-FA444101A08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4" y="6376758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pPr algn="l"/>
            <a:fld id="{07AB022D-6AB5-0742-A695-7213B7438632}" type="slidenum">
              <a:rPr lang="en-US" smtClean="0"/>
              <a:pPr algn="l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D87744E-0FA4-C545-81AA-2C69A756727B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5459" y="6448094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5876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sm column icons - Graphic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2965406F-4919-4C06-802B-3D3899E60FA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rgbClr val="F2F2F2"/>
          </a:solidFill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DFF45C6-46F9-8640-A5F1-11290FCEA3EC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63903" y="3034588"/>
            <a:ext cx="2317184" cy="58876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429BA22C-8830-7E4A-B1E1-AC3DC42388CA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563903" y="4932949"/>
            <a:ext cx="2317184" cy="58876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A6A5AFD9-009A-4A4C-94F4-05A23B341CF2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3270816" y="3034588"/>
            <a:ext cx="2317184" cy="58876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8930094A-C63F-1B4B-8A52-5C7320E7BE21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3270816" y="4932949"/>
            <a:ext cx="2317184" cy="58876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19A47C88-6D77-40E6-9F1E-6FF92AB2F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5034828" cy="14965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con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86AA7C8-7D59-46CE-A267-59CE001AF21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6" y="3727089"/>
            <a:ext cx="2326877" cy="67592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1333" dirty="0"/>
            </a:lvl1pPr>
            <a:lvl2pPr>
              <a:lnSpc>
                <a:spcPct val="100000"/>
              </a:lnSpc>
              <a:defRPr lang="en-US" sz="1067" dirty="0"/>
            </a:lvl2pPr>
          </a:lstStyle>
          <a:p>
            <a:pPr marL="0" lvl="0" indent="0">
              <a:lnSpc>
                <a:spcPct val="120000"/>
              </a:lnSpc>
              <a:spcAft>
                <a:spcPts val="267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D602771-5223-47EB-BA07-406BD8C6942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61124" y="3727089"/>
            <a:ext cx="2326877" cy="67592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1333" dirty="0"/>
            </a:lvl1pPr>
            <a:lvl2pPr>
              <a:lnSpc>
                <a:spcPct val="100000"/>
              </a:lnSpc>
              <a:defRPr lang="en-US" sz="1067" dirty="0"/>
            </a:lvl2pPr>
          </a:lstStyle>
          <a:p>
            <a:pPr marL="0" lvl="0" indent="0">
              <a:lnSpc>
                <a:spcPct val="120000"/>
              </a:lnSpc>
              <a:spcAft>
                <a:spcPts val="267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D47C9E04-F2BD-40A7-B46E-117AEBB53AF0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63906" y="5616954"/>
            <a:ext cx="2326877" cy="67592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1333" dirty="0"/>
            </a:lvl1pPr>
            <a:lvl2pPr>
              <a:lnSpc>
                <a:spcPct val="100000"/>
              </a:lnSpc>
              <a:defRPr lang="en-US" sz="1067" dirty="0"/>
            </a:lvl2pPr>
          </a:lstStyle>
          <a:p>
            <a:pPr marL="0" lvl="0" indent="0">
              <a:lnSpc>
                <a:spcPct val="120000"/>
              </a:lnSpc>
              <a:spcAft>
                <a:spcPts val="267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CE5E9F3F-438C-4859-85E0-F4A6C4DAF8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61124" y="5616954"/>
            <a:ext cx="2326877" cy="67592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1333" dirty="0"/>
            </a:lvl1pPr>
            <a:lvl2pPr>
              <a:lnSpc>
                <a:spcPct val="100000"/>
              </a:lnSpc>
              <a:defRPr lang="en-US" sz="1067" dirty="0"/>
            </a:lvl2pPr>
          </a:lstStyle>
          <a:p>
            <a:pPr marL="0" lvl="0" indent="0">
              <a:lnSpc>
                <a:spcPct val="120000"/>
              </a:lnSpc>
              <a:spcAft>
                <a:spcPts val="267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7" name="Slide Number Placeholder 4">
            <a:extLst>
              <a:ext uri="{FF2B5EF4-FFF2-40B4-BE49-F238E27FC236}">
                <a16:creationId xmlns:a16="http://schemas.microsoft.com/office/drawing/2014/main" id="{89496E11-838C-4853-9266-14C470B1EB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1DD1BAC7-1730-495E-82FF-94326537FCF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63906" y="2688935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434F53B-C383-4B15-BF37-0278F10B6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71856" y="2688935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D830F54C-BE4C-4892-AF17-69FB7EE275D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63906" y="4583649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743047EE-B643-4307-9434-A43A6442CEA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271856" y="4583649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36F33AF-48EA-421B-91FF-4AD7EDD725A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EE29C994-41DB-4E88-8A93-3D10E1A8BA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8503973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632883" y="1797052"/>
            <a:ext cx="11040076" cy="4098595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80901" marR="0" indent="-380901" algn="ctr" defTabSz="609443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 sz="27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A66C570-DF7E-E444-B755-18B4C0F62A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7">
            <a:extLst>
              <a:ext uri="{FF2B5EF4-FFF2-40B4-BE49-F238E27FC236}">
                <a16:creationId xmlns:a16="http://schemas.microsoft.com/office/drawing/2014/main" id="{17433297-CEF5-EC4D-BD98-2D152935534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4" y="6376758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pPr algn="l"/>
            <a:fld id="{07AB022D-6AB5-0742-A695-7213B7438632}" type="slidenum">
              <a:rPr lang="en-US" smtClean="0"/>
              <a:pPr algn="l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A5764C8-29E8-0F45-91A1-29B40693DE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9" y="6448094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2351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Hero Slide_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7C5D9BEC-BDB6-4847-ABF5-48B27221129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204E3CF6-D789-5144-8251-15FA1A467F9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699222" y="6037383"/>
            <a:ext cx="793559" cy="41498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29FD3DE6-4734-4244-8353-986F5D17189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241796" y="2971800"/>
            <a:ext cx="3708408" cy="457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1447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6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9" name="Footer Placeholder 7">
            <a:extLst>
              <a:ext uri="{FF2B5EF4-FFF2-40B4-BE49-F238E27FC236}">
                <a16:creationId xmlns:a16="http://schemas.microsoft.com/office/drawing/2014/main" id="{4EF6B68D-0B38-B149-9386-D916514FB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4" y="6376758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pPr algn="l"/>
            <a:fld id="{07AB022D-6AB5-0742-A695-7213B7438632}" type="slidenum">
              <a:rPr lang="en-US" smtClean="0"/>
              <a:pPr algn="l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73EE3F-4F93-4D4B-9DE7-44ABAA578D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9" y="6448094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32010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7">
            <a:extLst>
              <a:ext uri="{FF2B5EF4-FFF2-40B4-BE49-F238E27FC236}">
                <a16:creationId xmlns:a16="http://schemas.microsoft.com/office/drawing/2014/main" id="{4EF6B68D-0B38-B149-9386-D916514FB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4" y="6376758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pPr algn="l"/>
            <a:fld id="{07AB022D-6AB5-0742-A695-7213B7438632}" type="slidenum">
              <a:rPr lang="en-US" smtClean="0"/>
              <a:pPr algn="l"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73EE3F-4F93-4D4B-9DE7-44ABAA578D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425459" y="6448094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10919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_no na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9D07771-4768-CA4B-89DD-AED838DEA9B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1761FE31-6117-DE46-B84E-1A67E9C587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4780" y="1063719"/>
            <a:ext cx="3131152" cy="386032"/>
          </a:xfrm>
          <a:prstGeom prst="rect">
            <a:avLst/>
          </a:prstGeom>
        </p:spPr>
      </p:pic>
      <p:sp>
        <p:nvSpPr>
          <p:cNvPr id="18" name="Text Placeholder 40"/>
          <p:cNvSpPr>
            <a:spLocks noGrp="1"/>
          </p:cNvSpPr>
          <p:nvPr>
            <p:ph type="body" sz="quarter" idx="12" hasCustomPrompt="1"/>
          </p:nvPr>
        </p:nvSpPr>
        <p:spPr>
          <a:xfrm>
            <a:off x="625997" y="5745271"/>
            <a:ext cx="11061895" cy="384175"/>
          </a:xfrm>
          <a:prstGeom prst="rect">
            <a:avLst/>
          </a:prstGeom>
        </p:spPr>
        <p:txBody>
          <a:bodyPr lIns="0" tIns="45710" rIns="91420" bIns="45710" anchor="t"/>
          <a:lstStyle>
            <a:lvl1pPr marL="0" indent="0" algn="l">
              <a:buFontTx/>
              <a:buNone/>
              <a:defRPr lang="en-US" sz="1600" b="0" i="0" kern="1200" dirty="0" smtClean="0">
                <a:solidFill>
                  <a:schemeClr val="tx1"/>
                </a:solidFill>
                <a:latin typeface="+mn-lt"/>
                <a:ea typeface="+mn-ea"/>
                <a:cs typeface="CiscoSansTT ExtraLight"/>
              </a:defRPr>
            </a:lvl1pPr>
            <a:lvl2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2pPr>
            <a:lvl3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3pPr>
            <a:lvl4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4pPr>
            <a:lvl5pPr>
              <a:buFontTx/>
              <a:buNone/>
              <a:defRPr lang="en-US" sz="2000" kern="1200" dirty="0" smtClean="0">
                <a:solidFill>
                  <a:schemeClr val="bg1"/>
                </a:solidFill>
                <a:latin typeface="+mj-lt"/>
                <a:ea typeface="+mn-ea"/>
                <a:cs typeface="+mn-cs"/>
              </a:defRPr>
            </a:lvl5pPr>
          </a:lstStyle>
          <a:p>
            <a:pPr lvl="0"/>
            <a:r>
              <a:rPr lang="en-GB"/>
              <a:t>Date</a:t>
            </a:r>
          </a:p>
        </p:txBody>
      </p:sp>
      <p:sp>
        <p:nvSpPr>
          <p:cNvPr id="19" name="Text Placeholder 2"/>
          <p:cNvSpPr>
            <a:spLocks noGrp="1"/>
          </p:cNvSpPr>
          <p:nvPr>
            <p:ph type="body" sz="quarter" idx="13" hasCustomPrompt="1"/>
          </p:nvPr>
        </p:nvSpPr>
        <p:spPr>
          <a:xfrm>
            <a:off x="606001" y="4376434"/>
            <a:ext cx="6262488" cy="889615"/>
          </a:xfrm>
          <a:prstGeom prst="rect">
            <a:avLst/>
          </a:prstGeom>
        </p:spPr>
        <p:txBody>
          <a:bodyPr lIns="0" tIns="45710" rIns="91420" bIns="45710"/>
          <a:lstStyle>
            <a:lvl1pPr marL="0" indent="0">
              <a:buFont typeface="Arial" panose="020B0604020202020204" pitchFamily="34" charset="0"/>
              <a:buNone/>
              <a:defRPr sz="2400" b="0" i="0" baseline="0">
                <a:solidFill>
                  <a:schemeClr val="tx1"/>
                </a:solidFill>
                <a:latin typeface="+mj-lt"/>
                <a:cs typeface="CiscoSansTT ExtraLight"/>
              </a:defRPr>
            </a:lvl1pPr>
            <a:lvl2pPr marL="406355" indent="0">
              <a:buNone/>
              <a:defRPr/>
            </a:lvl2pPr>
            <a:lvl3pPr marL="569840" indent="0">
              <a:buNone/>
              <a:defRPr/>
            </a:lvl3pPr>
            <a:lvl4pPr marL="688891" indent="0">
              <a:buNone/>
              <a:defRPr/>
            </a:lvl4pPr>
            <a:lvl5pPr marL="801588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594780" y="2149235"/>
            <a:ext cx="6281936" cy="2198596"/>
          </a:xfrm>
          <a:prstGeom prst="rect">
            <a:avLst/>
          </a:prstGeom>
        </p:spPr>
        <p:txBody>
          <a:bodyPr lIns="0" anchor="b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3700" b="0" i="0" spc="0" baseline="0">
                <a:solidFill>
                  <a:schemeClr val="tx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 goes here</a:t>
            </a:r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3E7FBE17-7DE2-184F-BADA-74193991090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894333" y="6037383"/>
            <a:ext cx="793559" cy="4149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92309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32343" y="455086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ctr">
              <a:defRPr sz="37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67427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32343" y="455086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ctr">
              <a:defRPr sz="37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07259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8199333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32344" y="455087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ctr">
              <a:defRPr sz="37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413288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32344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ctr">
              <a:defRPr sz="37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36612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13E34AB2-EB40-45F2-BAE7-A8136E51FF6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714582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/>
            </a:lvl1pPr>
            <a:lvl2pPr>
              <a:defRPr lang="en-US" sz="1067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2616182"/>
            <a:ext cx="3357020" cy="8032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EA591F5-58AE-D343-A6EB-87F69740E76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2620628"/>
            <a:ext cx="3357020" cy="8032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B8558003-6140-3442-986E-2C60FA775A53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2616182"/>
            <a:ext cx="3357020" cy="8032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FBBB06B7-9478-4C6F-9560-109718AC49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965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50389FDF-392D-4049-AC2A-1E9DF18496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Content Placeholder 6">
            <a:extLst>
              <a:ext uri="{FF2B5EF4-FFF2-40B4-BE49-F238E27FC236}">
                <a16:creationId xmlns:a16="http://schemas.microsoft.com/office/drawing/2014/main" id="{5CF71C16-241D-4C12-986F-49C011B6FB62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111" y="3714582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DF591020-88DC-4E7B-BD72-36E6EB59E14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126438" y="3714582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383FF70-E831-4747-A153-F9977C8D40C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1ACA0FBF-BD85-4A2B-857C-5FEA45B4C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394088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32344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ctr">
              <a:defRPr sz="37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021126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76" indent="-228584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7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55" indent="-220117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32" indent="-146039">
              <a:buClr>
                <a:schemeClr val="tx1"/>
              </a:buClr>
              <a:buSzPct val="80000"/>
              <a:buFont typeface="Arial"/>
              <a:buChar char="•"/>
              <a:defRPr sz="21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22" indent="-228537">
              <a:buClr>
                <a:schemeClr val="tx1"/>
              </a:buClr>
              <a:buSzPct val="80000"/>
              <a:buFont typeface="Arial"/>
              <a:buChar char="•"/>
              <a:defRPr sz="19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159" indent="-224304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31201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6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4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9693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7" indent="0">
              <a:lnSpc>
                <a:spcPct val="100000"/>
              </a:lnSpc>
              <a:spcBef>
                <a:spcPts val="148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89448" indent="0">
              <a:lnSpc>
                <a:spcPct val="100000"/>
              </a:lnSpc>
              <a:spcBef>
                <a:spcPts val="60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chemeClr val="tx2"/>
                </a:solidFill>
                <a:latin typeface="CiscoSansTT" panose="020B0503020201020303" pitchFamily="34" charset="0"/>
                <a:ea typeface="CiscoSansTT" panose="020B0503020201020303" pitchFamily="34" charset="0"/>
                <a:cs typeface="CiscoSansTT Thin" charset="0"/>
              </a:defRPr>
            </a:lvl2pPr>
            <a:lvl3pPr marL="914354" indent="-146043">
              <a:lnSpc>
                <a:spcPct val="100000"/>
              </a:lnSpc>
              <a:spcAft>
                <a:spcPts val="267"/>
              </a:spcAft>
              <a:buClr>
                <a:schemeClr val="bg2"/>
              </a:buClr>
              <a:buSzPct val="80000"/>
              <a:buFont typeface="Arial"/>
              <a:buChar char="•"/>
              <a:defRPr sz="16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52" indent="-228542">
              <a:lnSpc>
                <a:spcPct val="100000"/>
              </a:lnSpc>
              <a:spcAft>
                <a:spcPts val="267"/>
              </a:spcAft>
              <a:buClr>
                <a:schemeClr val="bg2"/>
              </a:buClr>
              <a:buSzPct val="80000"/>
              <a:buFont typeface="Arial"/>
              <a:buChar char="•"/>
              <a:defRPr sz="15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195" indent="-224309">
              <a:lnSpc>
                <a:spcPct val="100000"/>
              </a:lnSpc>
              <a:spcAft>
                <a:spcPts val="267"/>
              </a:spcAft>
              <a:buClr>
                <a:schemeClr val="bg2"/>
              </a:buClr>
              <a:buSzPct val="80000"/>
              <a:buFont typeface="Arial"/>
              <a:buChar char="•"/>
              <a:defRPr sz="1400" b="0" i="0">
                <a:solidFill>
                  <a:schemeClr val="tx2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11" name="Slide Number Placeholder 1">
            <a:extLst>
              <a:ext uri="{FF2B5EF4-FFF2-40B4-BE49-F238E27FC236}">
                <a16:creationId xmlns:a16="http://schemas.microsoft.com/office/drawing/2014/main" id="{ED35FC21-7FA0-1C42-B35C-578DFDBD328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83689" y="6356351"/>
            <a:ext cx="50913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8FC28B90-9E4B-4646-9D16-5D346AFEF2D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9A2A3D16-7311-C343-A5D9-F571B7852D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070520" y="6356351"/>
            <a:ext cx="620193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en-US"/>
              <a:t>|   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28336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7" y="990602"/>
            <a:ext cx="11080025" cy="127000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pc="-240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2AF7C3D-96F2-4907-A0A5-14E232D98A0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42654169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83687" y="1602317"/>
            <a:ext cx="11076632" cy="4519083"/>
          </a:xfrm>
          <a:prstGeom prst="rect">
            <a:avLst/>
          </a:prstGeom>
        </p:spPr>
        <p:txBody>
          <a:bodyPr lIns="0" tIns="45710" rIns="91420" bIns="45710">
            <a:noAutofit/>
          </a:bodyPr>
          <a:lstStyle>
            <a:lvl1pPr marL="76198" indent="0" algn="l">
              <a:lnSpc>
                <a:spcPct val="100000"/>
              </a:lnSpc>
              <a:spcBef>
                <a:spcPts val="148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2100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89457" indent="0" algn="l">
              <a:lnSpc>
                <a:spcPct val="100000"/>
              </a:lnSpc>
              <a:spcBef>
                <a:spcPts val="60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377EFF"/>
                </a:solidFill>
                <a:latin typeface="CiscoSansTT" panose="020B0503020201020303" pitchFamily="34" charset="0"/>
                <a:ea typeface="CiscoSansTT" panose="020B0503020201020303" pitchFamily="34" charset="0"/>
                <a:cs typeface="CiscoSansTT Thin" charset="0"/>
              </a:defRPr>
            </a:lvl2pPr>
            <a:lvl3pPr marL="914377" indent="-146047" algn="l">
              <a:lnSpc>
                <a:spcPct val="100000"/>
              </a:lnSpc>
              <a:spcAft>
                <a:spcPts val="267"/>
              </a:spcAft>
              <a:buClr>
                <a:schemeClr val="bg2"/>
              </a:buClr>
              <a:buSzPct val="80000"/>
              <a:buFont typeface="Arial"/>
              <a:buChar char="•"/>
              <a:defRPr sz="1600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83" indent="-228548" algn="l">
              <a:lnSpc>
                <a:spcPct val="100000"/>
              </a:lnSpc>
              <a:spcAft>
                <a:spcPts val="267"/>
              </a:spcAft>
              <a:buClr>
                <a:schemeClr val="bg2"/>
              </a:buClr>
              <a:buSzPct val="80000"/>
              <a:buFont typeface="Arial"/>
              <a:buChar char="•"/>
              <a:defRPr sz="1500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231" indent="-224314" algn="l">
              <a:lnSpc>
                <a:spcPct val="100000"/>
              </a:lnSpc>
              <a:spcAft>
                <a:spcPts val="267"/>
              </a:spcAft>
              <a:buClr>
                <a:schemeClr val="bg2"/>
              </a:buClr>
              <a:buSzPct val="80000"/>
              <a:buFont typeface="Arial"/>
              <a:buChar char="•"/>
              <a:defRPr sz="1400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67701F0-0372-9840-BF26-112F5E60BC9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pPr algn="l"/>
            <a:fld id="{07AB022D-6AB5-0742-A695-7213B7438632}" type="slidenum">
              <a:rPr lang="en-US" smtClean="0"/>
              <a:pPr algn="l"/>
              <a:t>‹#›</a:t>
            </a:fld>
            <a:endParaRPr lang="en-US"/>
          </a:p>
        </p:txBody>
      </p:sp>
      <p:sp>
        <p:nvSpPr>
          <p:cNvPr id="9" name="Title 8">
            <a:extLst>
              <a:ext uri="{FF2B5EF4-FFF2-40B4-BE49-F238E27FC236}">
                <a16:creationId xmlns:a16="http://schemas.microsoft.com/office/drawing/2014/main" id="{4834D0A4-482F-244B-AEE7-C327F23BC1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945793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32344" y="455087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 algn="ctr">
              <a:defRPr sz="37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928775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591995" y="256032"/>
            <a:ext cx="11009376" cy="975360"/>
          </a:xfrm>
        </p:spPr>
        <p:txBody>
          <a:bodyPr anchor="b" anchorCtr="0"/>
          <a:lstStyle>
            <a:lvl1pPr>
              <a:defRPr lang="en-US" sz="3700" b="0" i="0" u="none" kern="1200" dirty="0">
                <a:solidFill>
                  <a:schemeClr val="tx2"/>
                </a:solidFill>
                <a:latin typeface="+mj-lt"/>
                <a:ea typeface="CiscoSansTT Light" panose="020B0503020201020303" pitchFamily="34" charset="0"/>
                <a:cs typeface="CiscoSansTT Light" panose="020B05030202010203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/>
          </p:nvPr>
        </p:nvSpPr>
        <p:spPr>
          <a:xfrm>
            <a:off x="591995" y="1145211"/>
            <a:ext cx="11021484" cy="508000"/>
          </a:xfrm>
          <a:prstGeom prst="rect">
            <a:avLst/>
          </a:prstGeom>
        </p:spPr>
        <p:txBody>
          <a:bodyPr/>
          <a:lstStyle>
            <a:lvl1pPr marL="2380" indent="0">
              <a:spcBef>
                <a:spcPts val="0"/>
              </a:spcBef>
              <a:buNone/>
              <a:defRPr sz="2400"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5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160201" y="6507858"/>
            <a:ext cx="479555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800" kern="1200" smtClean="0">
                <a:solidFill>
                  <a:schemeClr val="tx1"/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650B5403-2AD0-5741-908B-41DC2CF49FA3}"/>
              </a:ext>
            </a:extLst>
          </p:cNvPr>
          <p:cNvSpPr>
            <a:spLocks noChangeArrowheads="1"/>
          </p:cNvSpPr>
          <p:nvPr/>
        </p:nvSpPr>
        <p:spPr bwMode="black">
          <a:xfrm>
            <a:off x="7799900" y="6595875"/>
            <a:ext cx="3392613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marL="0" marR="0" lvl="0" indent="0" algn="r" defTabSz="8142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charset="0"/>
                <a:cs typeface="CiscoSansTT Light" panose="020B0503020201020303" pitchFamily="34" charset="0"/>
              </a:rPr>
              <a:t>© 2021  Cisco and/or its affiliates. All rights reserved.   Cisco Public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24B0627-B8CE-2546-AA1A-EBB2809C712F}"/>
              </a:ext>
            </a:extLst>
          </p:cNvPr>
          <p:cNvSpPr txBox="1"/>
          <p:nvPr/>
        </p:nvSpPr>
        <p:spPr>
          <a:xfrm>
            <a:off x="5707917" y="6572249"/>
            <a:ext cx="776174" cy="261610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lvl="0" algn="ctr">
              <a:defRPr/>
            </a:pPr>
            <a:r>
              <a:rPr lang="en-US" sz="1100">
                <a:latin typeface="+mn-lt"/>
                <a:cs typeface="CiscoSansTT Light" panose="020B0503020201020303" pitchFamily="34" charset="0"/>
              </a:rPr>
              <a:t>#</a:t>
            </a:r>
            <a:r>
              <a:rPr lang="en-US" sz="1100" err="1">
                <a:latin typeface="+mn-lt"/>
                <a:cs typeface="CiscoSansTT Light" panose="020B0503020201020303" pitchFamily="34" charset="0"/>
              </a:rPr>
              <a:t>CiscoLive</a:t>
            </a:r>
            <a:endParaRPr lang="en-US" sz="1100"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4" name="Footer Placeholder 2">
            <a:extLst>
              <a:ext uri="{FF2B5EF4-FFF2-40B4-BE49-F238E27FC236}">
                <a16:creationId xmlns:a16="http://schemas.microsoft.com/office/drawing/2014/main" id="{6C632379-59E0-514D-8111-8019CBCEED6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6583333" y="6616600"/>
            <a:ext cx="1216569" cy="185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800" dirty="0">
                <a:solidFill>
                  <a:schemeClr val="tx1"/>
                </a:solidFill>
                <a:latin typeface="+mn-lt"/>
                <a:cs typeface="CiscoSans Thin"/>
              </a:defRPr>
            </a:lvl1pPr>
          </a:lstStyle>
          <a:p>
            <a:pPr defTabSz="814285"/>
            <a:r>
              <a:rPr lang="en-US"/>
              <a:t>Session I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A27671DC-B585-D24E-B92D-EF26ABB875B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95147" y="6339284"/>
            <a:ext cx="3242335" cy="416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00212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7" y="990602"/>
            <a:ext cx="11080025" cy="127000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pc="-240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2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5529747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2"/>
          <p:cNvSpPr>
            <a:spLocks noGrp="1"/>
          </p:cNvSpPr>
          <p:nvPr>
            <p:ph type="chart" sz="quarter" idx="10"/>
          </p:nvPr>
        </p:nvSpPr>
        <p:spPr>
          <a:xfrm>
            <a:off x="685800" y="1796718"/>
            <a:ext cx="10820400" cy="3582068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7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1"/>
          </p:nvPr>
        </p:nvSpPr>
        <p:spPr>
          <a:xfrm>
            <a:off x="583691" y="5530962"/>
            <a:ext cx="9573749" cy="434977"/>
          </a:xfrm>
          <a:prstGeom prst="rect">
            <a:avLst/>
          </a:prstGeom>
        </p:spPr>
        <p:txBody>
          <a:bodyPr wrap="square" lIns="91420" tIns="45710" rIns="91420" bIns="45710" anchor="b" anchorCtr="0">
            <a:noAutofit/>
          </a:bodyPr>
          <a:lstStyle>
            <a:lvl1pPr algn="l" defTabSz="804727">
              <a:lnSpc>
                <a:spcPct val="100000"/>
              </a:lnSpc>
              <a:spcBef>
                <a:spcPct val="50000"/>
              </a:spcBef>
              <a:buNone/>
              <a:defRPr sz="19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>
              <a:buFont typeface="Arial" pitchFamily="34" charset="0"/>
              <a:buNone/>
              <a:defRPr sz="1500"/>
            </a:lvl2pPr>
            <a:lvl3pPr>
              <a:buFont typeface="Arial" pitchFamily="34" charset="0"/>
              <a:buNone/>
              <a:defRPr sz="1500"/>
            </a:lvl3pPr>
            <a:lvl4pPr>
              <a:buFont typeface="Arial" pitchFamily="34" charset="0"/>
              <a:buNone/>
              <a:defRPr sz="1500"/>
            </a:lvl4pPr>
            <a:lvl5pPr>
              <a:buFont typeface="Arial" pitchFamily="34" charset="0"/>
              <a:buNone/>
              <a:defRPr sz="15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93602" y="256034"/>
            <a:ext cx="1100996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>
                <a:solidFill>
                  <a:schemeClr val="tx2"/>
                </a:solidFill>
                <a:latin typeface="+mj-lt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4" name="Slide Number Placeholder 1"/>
          <p:cNvSpPr>
            <a:spLocks noGrp="1"/>
          </p:cNvSpPr>
          <p:nvPr>
            <p:ph type="sldNum" sz="quarter" idx="4"/>
          </p:nvPr>
        </p:nvSpPr>
        <p:spPr>
          <a:xfrm>
            <a:off x="11160201" y="6507858"/>
            <a:ext cx="479555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lang="en-US" sz="800" kern="1200" smtClean="0">
                <a:solidFill>
                  <a:schemeClr val="tx1"/>
                </a:solidFill>
                <a:latin typeface="+mn-lt"/>
                <a:ea typeface="+mn-ea"/>
                <a:cs typeface="CiscoSans Thin"/>
              </a:defRPr>
            </a:lvl1pPr>
          </a:lstStyle>
          <a:p>
            <a:fld id="{96A97DD0-5BE7-4856-A2A9-C42C6688E607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Rectangle 4">
            <a:extLst>
              <a:ext uri="{FF2B5EF4-FFF2-40B4-BE49-F238E27FC236}">
                <a16:creationId xmlns:a16="http://schemas.microsoft.com/office/drawing/2014/main" id="{93096D3D-2248-1240-B3E8-1155076BE7D8}"/>
              </a:ext>
            </a:extLst>
          </p:cNvPr>
          <p:cNvSpPr>
            <a:spLocks noChangeArrowheads="1"/>
          </p:cNvSpPr>
          <p:nvPr/>
        </p:nvSpPr>
        <p:spPr bwMode="black">
          <a:xfrm>
            <a:off x="7799900" y="6595875"/>
            <a:ext cx="3392613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marL="0" marR="0" lvl="0" indent="0" algn="r" defTabSz="81428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1200" cap="none" spc="0" normalizeH="0" baseline="0" noProof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ＭＳ Ｐゴシック" charset="0"/>
                <a:cs typeface="CiscoSansTT Light" panose="020B0503020201020303" pitchFamily="34" charset="0"/>
              </a:rPr>
              <a:t>© 2021  Cisco and/or its affiliates. All rights reserved.   Cisco Public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2C9FF9A-92D5-A24A-AE68-183E82E74B1D}"/>
              </a:ext>
            </a:extLst>
          </p:cNvPr>
          <p:cNvSpPr txBox="1"/>
          <p:nvPr/>
        </p:nvSpPr>
        <p:spPr>
          <a:xfrm>
            <a:off x="5707917" y="6572249"/>
            <a:ext cx="776174" cy="261610"/>
          </a:xfrm>
          <a:prstGeom prst="rect">
            <a:avLst/>
          </a:prstGeom>
          <a:noFill/>
        </p:spPr>
        <p:txBody>
          <a:bodyPr wrap="none" rtlCol="0" anchor="b">
            <a:spAutoFit/>
          </a:bodyPr>
          <a:lstStyle/>
          <a:p>
            <a:pPr lvl="0" algn="ctr">
              <a:defRPr/>
            </a:pPr>
            <a:r>
              <a:rPr lang="en-US" sz="110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rPr>
              <a:t>#</a:t>
            </a:r>
            <a:r>
              <a:rPr lang="en-US" sz="1100" err="1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rPr>
              <a:t>CiscoLive</a:t>
            </a:r>
            <a:endParaRPr lang="en-US" sz="1100">
              <a:solidFill>
                <a:schemeClr val="tx1"/>
              </a:solidFill>
              <a:latin typeface="+mn-lt"/>
              <a:cs typeface="CiscoSansTT Light" panose="020B0503020201020303" pitchFamily="34" charset="0"/>
            </a:endParaRP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166F5E8C-53DF-0D43-BCA0-804B13BF646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white">
          <a:xfrm>
            <a:off x="6583333" y="6616600"/>
            <a:ext cx="1216569" cy="1852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61586" tIns="30792" rIns="61586" bIns="30792" anchor="b">
            <a:spAutoFit/>
          </a:bodyPr>
          <a:lstStyle>
            <a:lvl1pPr algn="l">
              <a:defRPr lang="en-US" sz="800" dirty="0">
                <a:solidFill>
                  <a:schemeClr val="tx1"/>
                </a:solidFill>
                <a:latin typeface="+mn-lt"/>
                <a:cs typeface="CiscoSans Thin"/>
              </a:defRPr>
            </a:lvl1pPr>
          </a:lstStyle>
          <a:p>
            <a:pPr defTabSz="814285"/>
            <a:r>
              <a:rPr lang="en-US"/>
              <a:t>Session ID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4DB24498-328B-6B4B-978C-CAF41ADA28C7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595147" y="6339284"/>
            <a:ext cx="3242335" cy="416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12877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71501" y="4604925"/>
            <a:ext cx="7277100" cy="511087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571501" y="5248892"/>
            <a:ext cx="7277100" cy="9505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0"/>
            <a:ext cx="7277100" cy="2667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6667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1" y="3431818"/>
            <a:ext cx="7277099" cy="105020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2667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 useBgFill="1">
        <p:nvSpPr>
          <p:cNvPr id="2" name="Rectangle 1">
            <a:extLst>
              <a:ext uri="{FF2B5EF4-FFF2-40B4-BE49-F238E27FC236}">
                <a16:creationId xmlns:a16="http://schemas.microsoft.com/office/drawing/2014/main" id="{BCDFB7EC-1392-D7C8-3CE6-E330A3CCB923}"/>
              </a:ext>
            </a:extLst>
          </p:cNvPr>
          <p:cNvSpPr/>
          <p:nvPr/>
        </p:nvSpPr>
        <p:spPr>
          <a:xfrm>
            <a:off x="571501" y="6332295"/>
            <a:ext cx="2855190" cy="3271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pic>
        <p:nvPicPr>
          <p:cNvPr id="6" name="Picture 5" descr="A black and white logo&#10;&#10;Description automatically generated">
            <a:extLst>
              <a:ext uri="{FF2B5EF4-FFF2-40B4-BE49-F238E27FC236}">
                <a16:creationId xmlns:a16="http://schemas.microsoft.com/office/drawing/2014/main" id="{AB0FDB01-F515-D43F-7E45-F9D838F192E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29084" y="609600"/>
            <a:ext cx="1391415" cy="7330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7520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A041BB60-92E2-E24D-A7E4-A3567C28152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63902" y="2518229"/>
            <a:ext cx="3501661" cy="1294891"/>
          </a:xfrm>
          <a:prstGeom prst="rect">
            <a:avLst/>
          </a:prstGeom>
          <a:solidFill>
            <a:srgbClr val="F2F2F2"/>
          </a:solidFill>
        </p:spPr>
        <p:txBody>
          <a:bodyPr anchor="t" anchorCtr="0">
            <a:noAutofit/>
          </a:bodyPr>
          <a:lstStyle>
            <a:lvl1pPr marL="0" indent="0" algn="ctr">
              <a:buNone/>
              <a:defRPr sz="2509" spc="-96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EDAD314-6F73-5C4E-93D2-9F6E7C78F6D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3857639"/>
            <a:ext cx="3363063" cy="516632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E5D9876C-926F-4148-B388-37AF2EC91BA9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3857638"/>
            <a:ext cx="3363063" cy="52199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A0EB0E0-8003-1149-85CF-5D63FB41C1C8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3853193"/>
            <a:ext cx="3363063" cy="52199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5C20FC9A-2038-AF44-9486-38D2103687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48111" y="2518229"/>
            <a:ext cx="3501661" cy="1294891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509" spc="-96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Insert image</a:t>
            </a:r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14AE4050-3A50-CC40-A2F2-6040AFDD5C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32320" y="2518229"/>
            <a:ext cx="3494627" cy="1294891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509" spc="-96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Insert imag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664EEB71-E7FA-45C6-8549-2F56C38185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3386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images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AD169A5A-D278-4C7A-80C6-4AAAFCE2E1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77CC832-63CA-4131-ABA9-356B02B9073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2" y="4605092"/>
            <a:ext cx="3363063" cy="16172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CD16B98-DFE6-42E9-983E-5855355500F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48111" y="4605092"/>
            <a:ext cx="3363063" cy="16172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43A5D85-76F0-4FEF-A17F-4532934D5A5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25286" y="4605092"/>
            <a:ext cx="3363063" cy="16172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B14B9EC-8559-42D6-A40F-F7BF924ADBA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A5974834-AF48-48D6-A946-C25C1D483A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6852713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ive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0"/>
            <a:ext cx="5372100" cy="2514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213C59-7880-41D1-9DE5-B53FA71B4F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48401" y="609601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0BD0D78-FA9C-47FE-A8C5-A942C1A9A1E0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080809" y="609601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4D1B0561-72B3-4A7C-9434-B0EDE523688D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080809" y="1037805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FB88D30E-5998-42C2-BFDA-6C6AA1F33F7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48401" y="1647195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6D18BF23-F279-48A8-8AFF-AC70F73F091E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7080809" y="1647194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8445664B-F9E1-4D1D-9F6E-DA27AF43C21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7080809" y="207539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31F0F46D-89DF-46CA-934B-C124727D937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48401" y="2684789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8BB0DD2A-742F-4019-B2A6-6AC6CF3BEEA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080809" y="2684787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4D48E93A-11A3-45A0-961F-26062021432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080809" y="3112993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365D378F-8BFE-41E2-A048-4F1E113B408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48401" y="3722382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4681FE84-1510-4206-91AF-B290EF3C0E1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7080809" y="3722382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58EB90C9-03A7-449D-A8F3-B379B319950E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7080809" y="4150586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E3E332E3-41A2-4350-A7FE-20CB379706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1" y="475997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948A5A7B-49E0-4CF2-8080-E002145F2FF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09" y="4759974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B8F46644-76D3-4C51-9163-739A1F5F7650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09" y="5188180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41B23B47-5918-4DB0-A1D6-44730C983C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7D1C11A-12D9-461B-A255-03DBC65A944A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627063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Ten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0"/>
            <a:ext cx="53721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2875B737-D8C9-4B5A-A987-E648592F8AB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71501" y="2437942"/>
            <a:ext cx="647700" cy="369332"/>
          </a:xfrm>
        </p:spPr>
        <p:txBody>
          <a:bodyPr>
            <a:spAutoFit/>
          </a:bodyPr>
          <a:lstStyle>
            <a:lvl1pPr algn="l">
              <a:defRPr sz="2400"/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1BC899D-37C3-4568-A4DF-0B0EDE20DC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403909" y="2437942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B5D11EE-1D55-4041-81BF-2D405343AEB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1403909" y="286614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78F2AB5-8A22-4344-B743-464793BF69F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71501" y="3278622"/>
            <a:ext cx="647700" cy="369332"/>
          </a:xfrm>
        </p:spPr>
        <p:txBody>
          <a:bodyPr>
            <a:spAutoFit/>
          </a:bodyPr>
          <a:lstStyle>
            <a:lvl1pPr algn="l">
              <a:defRPr sz="2400"/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2A1D5CE-6473-44B2-BC10-1AC73E1B795C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403909" y="3278622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D8A733FF-648D-413A-A965-9380FF19EB3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403909" y="370682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C4EAFF18-13A5-4454-9A4E-50C9683A086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71501" y="4118818"/>
            <a:ext cx="647700" cy="369332"/>
          </a:xfrm>
        </p:spPr>
        <p:txBody>
          <a:bodyPr>
            <a:spAutoFit/>
          </a:bodyPr>
          <a:lstStyle>
            <a:lvl1pPr algn="l">
              <a:defRPr sz="2400"/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5CFB554-4FA5-44FE-AD9D-94ADB8A1596B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403909" y="4118818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E82D60C9-C7E6-4DE4-8E8B-9A9D85E509A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1403909" y="4547022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1C81A21-CB5C-4EBA-AA54-D73A670B36B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71501" y="4959741"/>
            <a:ext cx="647700" cy="369332"/>
          </a:xfrm>
        </p:spPr>
        <p:txBody>
          <a:bodyPr>
            <a:spAutoFit/>
          </a:bodyPr>
          <a:lstStyle>
            <a:lvl1pPr algn="l">
              <a:defRPr sz="2400"/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3D704AA8-F2E6-4E6E-BA0F-C73614C721D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1403909" y="4959741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66AE59D2-11F7-416C-B366-F23200F2C468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403909" y="5387945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898C6801-7507-4803-A711-42CEC857E56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1" y="2437942"/>
            <a:ext cx="647700" cy="369332"/>
          </a:xfrm>
        </p:spPr>
        <p:txBody>
          <a:bodyPr>
            <a:spAutoFit/>
          </a:bodyPr>
          <a:lstStyle>
            <a:lvl1pPr algn="l">
              <a:defRPr sz="2400"/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7589C976-7FFB-4218-BF7E-1F78F2A1F02C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09" y="2437942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0F3DDABD-EE25-49C3-9A53-2657DAD77A8C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09" y="286614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17167DB7-5308-42DC-AEE9-AAED2ED164D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248401" y="3278622"/>
            <a:ext cx="647700" cy="369332"/>
          </a:xfrm>
        </p:spPr>
        <p:txBody>
          <a:bodyPr>
            <a:spAutoFit/>
          </a:bodyPr>
          <a:lstStyle>
            <a:lvl1pPr algn="l">
              <a:defRPr sz="2400"/>
            </a:lvl1pPr>
          </a:lstStyle>
          <a:p>
            <a:pPr lvl="0"/>
            <a:r>
              <a:rPr lang="en-US"/>
              <a:t>06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620B5D7B-672A-4FB9-9717-E785586DA30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7080809" y="3278622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E23B210E-5C88-4516-A864-36247F88D733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7080809" y="370682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37DB0FAF-76DD-43D1-B897-9417F5B3AB7B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48401" y="4118818"/>
            <a:ext cx="647700" cy="369332"/>
          </a:xfrm>
        </p:spPr>
        <p:txBody>
          <a:bodyPr>
            <a:spAutoFit/>
          </a:bodyPr>
          <a:lstStyle>
            <a:lvl1pPr algn="l">
              <a:defRPr sz="2400"/>
            </a:lvl1pPr>
          </a:lstStyle>
          <a:p>
            <a:pPr lvl="0"/>
            <a:r>
              <a:rPr lang="en-US"/>
              <a:t>07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B0C7BE68-E1A9-48A3-8ADD-8FDB96C02A40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7080809" y="4118818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5195D37A-ED4A-4E1F-A476-81831613075B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080809" y="4547022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62FE476F-78D3-4BBD-ADB0-A014E40BC384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48401" y="4959741"/>
            <a:ext cx="647700" cy="369332"/>
          </a:xfrm>
        </p:spPr>
        <p:txBody>
          <a:bodyPr>
            <a:spAutoFit/>
          </a:bodyPr>
          <a:lstStyle>
            <a:lvl1pPr algn="l">
              <a:defRPr sz="2400"/>
            </a:lvl1pPr>
          </a:lstStyle>
          <a:p>
            <a:pPr lvl="0"/>
            <a:r>
              <a:rPr lang="en-US"/>
              <a:t>08</a:t>
            </a:r>
          </a:p>
        </p:txBody>
      </p:sp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D42D2D51-155D-4C35-BC5F-B8F1C46DC335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7080809" y="4959741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EBF4B885-D002-47D6-8922-12B72E21CACE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7080809" y="5387945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0EEB412-0CE0-4F00-8756-0957743AE431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084363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696DE5-6EFF-4C09-9943-5FCA93FF6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2057400"/>
            <a:ext cx="11045952" cy="4152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011A5B07-96E9-42C8-81C4-56D26550D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13F3EF27-6A14-4D7C-8508-4A99550012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4FE852-4660-4623-83C0-2F7C9B6EDB27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905619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564E15E-85C2-40F1-B654-E42DCFBA1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2057400"/>
            <a:ext cx="11045952" cy="4152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 marL="0" indent="0">
              <a:buNone/>
              <a:defRPr sz="1400"/>
            </a:lvl2pPr>
            <a:lvl3pPr marL="228594" indent="0">
              <a:buNone/>
              <a:defRPr sz="1200"/>
            </a:lvl3pPr>
            <a:lvl4pPr marL="406390" indent="0">
              <a:buNone/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30370F4-DF08-4B4A-A3BB-EB8905622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3BE238-C084-4FBF-86DF-59C91AF8317F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067800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E1C715D-9112-4A01-AD63-361439BFB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E43F6E-A8D0-4155-BD27-8561034BB2B8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554805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8EE2313-2646-4E0B-B6B4-BA07574D2F8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48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594" indent="0">
              <a:buNone/>
              <a:defRPr/>
            </a:lvl3pPr>
            <a:lvl4pPr marL="406390" indent="0">
              <a:buNone/>
              <a:defRPr/>
            </a:lvl4pPr>
            <a:lvl5pPr marL="5714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572B255-D144-453C-90FA-BB07F680CF0A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D9DF569-2B30-EE4C-8D21-F21B97793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949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894527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AC091585-1747-4BE7-B069-B5CB0A31F2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C7D94ED-0F39-4B30-8B40-B8D535783A5C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CE85B47-180E-0542-8A98-FABBBFB2A6D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48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594" indent="0">
              <a:buNone/>
              <a:defRPr/>
            </a:lvl3pPr>
            <a:lvl4pPr marL="406390" indent="0">
              <a:buNone/>
              <a:defRPr/>
            </a:lvl4pPr>
            <a:lvl5pPr marL="5714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265EAF99-811E-0A42-AD86-6F1F07B547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949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BC72363-F3A6-5E44-AD40-7647C83973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2057400"/>
            <a:ext cx="11045952" cy="4152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523559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1" orient="horz" pos="1392">
          <p15:clr>
            <a:srgbClr val="5ACBF0"/>
          </p15:clr>
        </p15:guide>
      </p15:sldGuideLst>
    </p:ext>
  </p:extLst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49195570-1534-4F74-B303-B06313C227F6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66674A7-0DAD-C54D-BB6A-AB4B6F3D1CF2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48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594" indent="0">
              <a:buNone/>
              <a:defRPr/>
            </a:lvl3pPr>
            <a:lvl4pPr marL="406390" indent="0">
              <a:buNone/>
              <a:defRPr/>
            </a:lvl4pPr>
            <a:lvl5pPr marL="5714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4BFEFE0-97D7-B240-BC88-FC22052279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94945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82028C6-D96F-A145-862B-ED80E5C5EF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2057400"/>
            <a:ext cx="11045952" cy="4152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600"/>
            </a:lvl1pPr>
            <a:lvl2pPr marL="0" indent="0">
              <a:buFontTx/>
              <a:buNone/>
              <a:defRPr sz="1400"/>
            </a:lvl2pPr>
            <a:lvl3pPr marL="228594" indent="0">
              <a:buFontTx/>
              <a:buNone/>
              <a:defRPr sz="1200"/>
            </a:lvl3pPr>
            <a:lvl4pPr marL="406390" indent="0">
              <a:buFontTx/>
              <a:buNone/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37027692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1" orient="horz" pos="1392">
          <p15:clr>
            <a:srgbClr val="5ACBF0"/>
          </p15:clr>
        </p15:guide>
      </p15:sldGuideLst>
    </p:ext>
  </p:extLst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8C469D-456E-4ECF-83FA-AF1F3BDB26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501" y="2057402"/>
            <a:ext cx="5372100" cy="4152900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8E86-A92A-495E-A49E-35F25D765A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2057400"/>
            <a:ext cx="5372100" cy="4152901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 marL="746107" indent="-174621">
              <a:defRPr lang="en-US" sz="600" b="0" i="0" kern="1200" spc="0" baseline="0" dirty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07B213B2-4EFE-44E5-8AB3-D9958325FC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274A685-F33F-448C-B6FE-AB508BA75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DAB2D8-1539-4822-9614-2E04B2120F55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087417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, Title &amp;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DC1BA0-9AAE-4457-AB7A-2225418D1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1" y="2057402"/>
            <a:ext cx="5372100" cy="609599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87F35FC-680E-4287-99BA-ED6DF9E6085D}"/>
              </a:ext>
            </a:extLst>
          </p:cNvPr>
          <p:cNvSpPr>
            <a:spLocks noGrp="1"/>
          </p:cNvSpPr>
          <p:nvPr>
            <p:ph type="body" idx="57"/>
          </p:nvPr>
        </p:nvSpPr>
        <p:spPr>
          <a:xfrm>
            <a:off x="6248401" y="2057402"/>
            <a:ext cx="5372100" cy="609599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E451DCD-2B8C-4BF9-8D85-AA8F5ABE2826}"/>
              </a:ext>
            </a:extLst>
          </p:cNvPr>
          <p:cNvSpPr>
            <a:spLocks noGrp="1"/>
          </p:cNvSpPr>
          <p:nvPr>
            <p:ph sz="half" idx="58"/>
          </p:nvPr>
        </p:nvSpPr>
        <p:spPr>
          <a:xfrm>
            <a:off x="571501" y="2819400"/>
            <a:ext cx="5372100" cy="3390901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F39D5E2-4E9E-4B26-9E69-7D77328E4C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2819400"/>
            <a:ext cx="5372100" cy="3390901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 marL="746107" indent="-174621">
              <a:defRPr lang="en-US" sz="600" b="0" i="0" kern="1200" spc="0" baseline="0" dirty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6B7899C7-9188-4B2E-839A-A28FBD4D55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C2285B0-0824-4973-8F1D-C24F2784A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C254480-49EA-44F8-91E6-0FCF9F498DC6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005451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1" orient="horz" pos="1680">
          <p15:clr>
            <a:srgbClr val="5ACBF0"/>
          </p15:clr>
        </p15:guide>
        <p15:guide id="2" orient="horz" pos="1776">
          <p15:clr>
            <a:srgbClr val="5ACBF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D1EB964-31F1-4CBE-82A3-C0D6A156FC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55926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icons</a:t>
            </a:r>
          </a:p>
        </p:txBody>
      </p:sp>
      <p:sp>
        <p:nvSpPr>
          <p:cNvPr id="43" name="Slide Number Placeholder 4">
            <a:extLst>
              <a:ext uri="{FF2B5EF4-FFF2-40B4-BE49-F238E27FC236}">
                <a16:creationId xmlns:a16="http://schemas.microsoft.com/office/drawing/2014/main" id="{EF211203-217C-43EA-B455-2829537E92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DD9E95C-54D7-4CDC-9398-06EA3EF4C2B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63904" y="342900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308B72D-42DD-4AFC-86F7-A60C430A65F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48111" y="342900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92FBA143-4C75-4705-B518-3C3BEB4DB59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25287" y="342900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BFFB3BB-96C3-43AE-AE37-B552C0F815F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1" y="3783515"/>
            <a:ext cx="3383963" cy="59075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557260CF-2100-49E9-84E8-B0D7AFADA565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3782745"/>
            <a:ext cx="3383963" cy="5968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0E159BC0-6118-41FB-BD15-D9B76E35ED35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3778299"/>
            <a:ext cx="3383963" cy="5968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2CDBFEA-91A7-4FE4-AAE2-321927A46CE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1" y="4605092"/>
            <a:ext cx="3383963" cy="16172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1CBFE74-247B-4E42-8A8C-4D5F9D2997F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48111" y="4605092"/>
            <a:ext cx="3383963" cy="16172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CD5C99F-F57F-4957-BA17-CF590173E3F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25285" y="4605092"/>
            <a:ext cx="3383963" cy="16172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415BF8F-879F-4E1A-A7D8-9D683393FD0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3534F201-EBA0-46A0-B1E7-7AF9F7C498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5995345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1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10703F-CBA9-4296-B386-BA35019F8F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849528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8C1C862-6F14-47C3-885D-12D6E1A99AA2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985812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58696A-2388-495D-981D-050920BB5C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1501" y="5625084"/>
            <a:ext cx="5372099" cy="585216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C009990-5F38-4F94-ABE2-44DA301BD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1" y="5625084"/>
            <a:ext cx="5372099" cy="585216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D01E734-4CA7-4CBD-A769-BCC20375564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1501" y="2057401"/>
            <a:ext cx="5372100" cy="3385456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E24BD1C9-BB6F-4B1A-B0AC-70FBFBAD0D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48401" y="2057401"/>
            <a:ext cx="5372100" cy="3385456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9D26F7AB-C797-48E9-9124-37843B1351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C3A3765-3130-474C-96F5-7E50AE68B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CEFB623-3BE4-41A5-AD7A-7D81E50E12FC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60211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1" orient="horz" pos="2904">
          <p15:clr>
            <a:srgbClr val="FBAE40"/>
          </p15:clr>
        </p15:guide>
        <p15:guide id="2" orient="horz" pos="3048">
          <p15:clr>
            <a:srgbClr val="5ACBF0"/>
          </p15:clr>
        </p15:guide>
      </p15:sldGuideLst>
    </p:ext>
  </p:extLs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4BE6003-571D-4817-A40A-6421214126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1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6C3A51EE-51A6-431A-AA0F-AEBB244145E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4156D67-C67F-41CF-BA17-0B2BFD535E25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858304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D6DF483-DD51-444D-AF16-AF31E72FDD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1" y="2057400"/>
            <a:ext cx="5067300" cy="4152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0BAC715-F543-452A-80B1-3A07B10B2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8699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F48862-22C1-482F-B821-3D8CC682DAB1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B5F20A8F-C6EE-45B8-8D29-F4CBE62B85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02723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1E1BB935-C530-47D2-883E-00828E3A8FC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201" y="609602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D970870-8847-48D6-ACCA-B0F7D662F2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1" y="2057400"/>
            <a:ext cx="5067300" cy="4152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8CEBD18-98E9-4568-A90A-5715A834E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8699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26C5CB87-2344-468C-93DD-7615F48011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65330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FEF2E81-694A-4A5A-BEDE-DF13285D820B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5E2598-51C8-4F83-B09D-69C86C142A3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501" y="2057401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737D39F-19A0-4D2A-8E85-527465AFD610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188208" y="2057401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4FE5E7B-ECDC-404D-9B30-E7B580CCEED3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571499" y="2933700"/>
            <a:ext cx="2448576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1CDB75F-12E1-4403-B291-31A3B1C83B04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3188208" y="2933700"/>
            <a:ext cx="2450592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BA687946-9318-4CD5-B900-AA488A7BDA5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201" y="609602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ECBF8DC3-DA3E-470B-AE86-6B154E24E3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8699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D7F2E339-68BB-40B2-BD3E-BEF89AECA4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10264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2" pos="3552">
          <p15:clr>
            <a:srgbClr val="A4A3A4"/>
          </p15:clr>
        </p15:guide>
        <p15:guide id="3" pos="4128">
          <p15:clr>
            <a:srgbClr val="A4A3A4"/>
          </p15:clr>
        </p15:guide>
        <p15:guide id="4" orient="horz" pos="1752">
          <p15:clr>
            <a:srgbClr val="A4A3A4"/>
          </p15:clr>
        </p15:guide>
        <p15:guide id="5" orient="horz" pos="1848">
          <p15:clr>
            <a:srgbClr val="A4A3A4"/>
          </p15:clr>
        </p15:guide>
      </p15:sldGuideLst>
    </p:ext>
  </p:extLs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2" y="0"/>
            <a:ext cx="6095999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>
                <a:solidFill>
                  <a:schemeClr val="tx1"/>
                </a:solidFill>
              </a:defRPr>
            </a:lvl1pPr>
          </a:lstStyle>
          <a:p>
            <a:pPr marL="0" lvl="0" indent="0" algn="ctr" defTabSz="926349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689F426-4C63-454D-B133-BC94D9D160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1" y="2057400"/>
            <a:ext cx="5067300" cy="4152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B15451E-AF4B-4B3A-B376-2003DB48C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8699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784986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2" y="0"/>
            <a:ext cx="6095999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>
                <a:solidFill>
                  <a:schemeClr val="tx1"/>
                </a:solidFill>
              </a:defRPr>
            </a:lvl1pPr>
          </a:lstStyle>
          <a:p>
            <a:pPr marL="0" lvl="0" indent="0" algn="ctr" defTabSz="926349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4E61574-6170-418C-BEDF-8D1CE1D0695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501" y="2057401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0FC9FD5-44CF-4A1A-8431-D92F7740BC12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188208" y="2057401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A41077B9-AFD3-4965-8639-22DEAB59CC69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571499" y="2933700"/>
            <a:ext cx="2448576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36FB99AA-6985-4DAD-8EEA-914B21FD4F12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3188208" y="2933700"/>
            <a:ext cx="2450592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9F1EE91-F457-4893-88BA-AF3B71081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8699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672795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1" pos="3552">
          <p15:clr>
            <a:srgbClr val="A4A3A4"/>
          </p15:clr>
        </p15:guide>
        <p15:guide id="2" pos="4152">
          <p15:clr>
            <a:srgbClr val="A4A3A4"/>
          </p15:clr>
        </p15:guide>
      </p15:sldGuideLst>
    </p:ext>
  </p:extLs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AEEE0BE-B874-4CB1-92B1-404602B5CA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1" y="2057400"/>
            <a:ext cx="5067300" cy="4152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B74128E-BA5E-4242-8B4E-D1F742670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9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613D29C-0961-4A3D-8A56-1E1B5BC7445C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F7417622-23E6-4BE5-84C8-E1A29BAB3C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5794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057549"/>
            <a:ext cx="2552092" cy="51906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35F796C-3FA3-4D4C-9E57-306772BBFEB7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8" y="3057549"/>
            <a:ext cx="2552092" cy="51906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3094BC0-195B-294A-B09B-12005D172A0C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057549"/>
            <a:ext cx="2552092" cy="51906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A941269-22F0-1B4D-A516-00DAC2E11BF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057549"/>
            <a:ext cx="2552092" cy="519064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37A293-3428-4F1D-AFE7-A91A006BF4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5732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</a:t>
            </a:r>
          </a:p>
        </p:txBody>
      </p:sp>
      <p:sp>
        <p:nvSpPr>
          <p:cNvPr id="31" name="Slide Number Placeholder 4">
            <a:extLst>
              <a:ext uri="{FF2B5EF4-FFF2-40B4-BE49-F238E27FC236}">
                <a16:creationId xmlns:a16="http://schemas.microsoft.com/office/drawing/2014/main" id="{1F64BCE5-C4DF-42FB-9C93-FE7C16DD9E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A1B0035-5E54-40B0-935E-AFA22AAC3DE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2" y="3755136"/>
            <a:ext cx="2552095" cy="242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180B363-3DB0-4182-92AF-F3299D006F1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13562" y="3755136"/>
            <a:ext cx="2552095" cy="242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3B10F2FC-21B2-4819-A881-BDACEDED633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47251" y="3755136"/>
            <a:ext cx="2552095" cy="242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E502F68-635D-4926-A522-08E45319622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096911" y="3755136"/>
            <a:ext cx="2552095" cy="242298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673C67A-6C31-484A-AD1D-2437BA26271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40BD81C6-9DFB-4402-A90A-584421618C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3016593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C82BCFB0-2C06-4262-9388-B4438F4E968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68779" y="609602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7CE7532D-7513-48EC-B389-61E514E43A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A91454E-2EA6-44B8-A162-04BA18BBED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1" y="2057400"/>
            <a:ext cx="5067300" cy="4152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E96ABEA8-C693-429B-8E00-CBD848A92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9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941498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2BE86DFA-31C3-4F24-A7FF-57697A0FEFD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68779" y="609602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554C3E3F-6F47-404B-8F5C-6621904ABD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BA23DE7-CFFA-40A9-9A64-A60D8665455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554523" y="2057401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60001BE-2917-4768-B6B6-BEC070C85F3E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71232" y="2057401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0725CC8-668B-42C0-ACB5-A4577AC924B6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6554523" y="2933700"/>
            <a:ext cx="2448576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CE996329-A2C3-44E1-8558-498449CDDA22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171232" y="2933700"/>
            <a:ext cx="2450592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F033B061-30E2-4203-B7D3-0E4FF6C4CC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9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381748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F60A532-8EEA-467C-8E7E-39CF1DB485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" y="0"/>
            <a:ext cx="6095999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>
                <a:solidFill>
                  <a:schemeClr val="tx1"/>
                </a:solidFill>
              </a:defRPr>
            </a:lvl1pPr>
          </a:lstStyle>
          <a:p>
            <a:pPr marL="0" lvl="0" indent="0" algn="ctr" defTabSz="926349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7DE0CBD0-55B2-4C7B-9EC1-F68B63256B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35F03C2-9929-464B-A02D-DE256E706D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1" y="2057400"/>
            <a:ext cx="5067300" cy="4152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6D3B650-5EC2-4F87-A7DF-85C7547613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9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745224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2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F60A532-8EEA-467C-8E7E-39CF1DB485A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2" y="0"/>
            <a:ext cx="6095999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>
                <a:solidFill>
                  <a:schemeClr val="tx1"/>
                </a:solidFill>
              </a:defRPr>
            </a:lvl1pPr>
          </a:lstStyle>
          <a:p>
            <a:pPr marL="0" lvl="0" indent="0" algn="ctr" defTabSz="926349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3F8DA1B8-34C2-4CE7-B79A-2E6B10239E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21796CB-DAD1-4AE0-9C02-26CED897E8EB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554523" y="2057401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FFE0A91-4D67-4469-A7A2-1162EB145D38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71232" y="2057401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071E6EBE-9A1A-4C7B-A790-B9A0A1169725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6554523" y="2933700"/>
            <a:ext cx="2448576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4AFD4863-2474-4609-855F-E56B3AFB7B98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171232" y="2933700"/>
            <a:ext cx="2450592" cy="32766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1F4C626F-9DC5-4A35-B26B-5ACA13A9BF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9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8923573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2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A305123-92F2-4B89-A355-7539327F08C3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1500" y="2971801"/>
            <a:ext cx="3465576" cy="32359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2059959"/>
            <a:ext cx="3465576" cy="76455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2" name="Content Placeholder 4">
            <a:extLst>
              <a:ext uri="{FF2B5EF4-FFF2-40B4-BE49-F238E27FC236}">
                <a16:creationId xmlns:a16="http://schemas.microsoft.com/office/drawing/2014/main" id="{F96C995E-58E0-4A91-AA56-8759CFD3EA73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500" y="2971801"/>
            <a:ext cx="3467099" cy="32359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071BF92C-4C07-4794-8CC8-D51F3173376C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1" y="2059959"/>
            <a:ext cx="3467099" cy="76455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4" name="Content Placeholder 4">
            <a:extLst>
              <a:ext uri="{FF2B5EF4-FFF2-40B4-BE49-F238E27FC236}">
                <a16:creationId xmlns:a16="http://schemas.microsoft.com/office/drawing/2014/main" id="{47F7CD6B-9884-4317-A0E7-31AE02F93993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1" y="2971801"/>
            <a:ext cx="3467100" cy="32359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EECB8C3-35E8-4930-A0AE-3BA62609BFD9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8153401" y="2057401"/>
            <a:ext cx="3467100" cy="76455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86839537-C905-4EE7-8DA4-15B9E53D8C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1D46A44-801A-40B4-8117-1D09F7B03348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9A2394E-0E95-4850-A756-0015178A4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498679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2" orient="horz" pos="1872">
          <p15:clr>
            <a:srgbClr val="A4A3A4"/>
          </p15:clr>
        </p15:guide>
        <p15:guide id="3" orient="horz" pos="1776">
          <p15:clr>
            <a:srgbClr val="A4A3A4"/>
          </p15:clr>
        </p15:guide>
      </p15:sldGuideLst>
    </p:ext>
  </p:extLs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A041BB60-92E2-E24D-A7E4-A3567C28152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77124" y="2057402"/>
            <a:ext cx="3465576" cy="1219199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6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49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5C20FC9A-2038-AF44-9486-38D2103687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81500" y="2057402"/>
            <a:ext cx="3465576" cy="1219199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600" b="0" i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26349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Insert image</a:t>
            </a:r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14AE4050-3A50-CC40-A2F2-6040AFDD5C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53400" y="2057402"/>
            <a:ext cx="3465576" cy="1219199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600" b="0" i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26349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Insert image</a:t>
            </a:r>
          </a:p>
        </p:txBody>
      </p:sp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9CE094B7-A2CC-4860-A57D-F142C2E63FC6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4041160"/>
            <a:ext cx="3465576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E2DCECB4-BB48-48B5-A871-A080DE20BDFF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500" y="4041160"/>
            <a:ext cx="3467099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Content Placeholder 4">
            <a:extLst>
              <a:ext uri="{FF2B5EF4-FFF2-40B4-BE49-F238E27FC236}">
                <a16:creationId xmlns:a16="http://schemas.microsoft.com/office/drawing/2014/main" id="{868F585C-1E6D-44C6-9295-9866846056CD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1" y="4038600"/>
            <a:ext cx="3467100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A1EBBB-1490-4A58-9FEB-3DAB9E66019A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577124" y="3429002"/>
            <a:ext cx="3465576" cy="45975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6C65CC39-4D00-45CB-AE15-8C3D3E976756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1" y="3429002"/>
            <a:ext cx="3467099" cy="45975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9291D51-BC1A-4ED4-8278-30B67F7C4AA7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8153401" y="3426442"/>
            <a:ext cx="3467100" cy="45975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885233BB-7F20-46CA-A47B-2714749903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42E7DBE-A450-4BC3-A3EC-3A1EE7839F65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94344F4-D05A-E24F-A679-CB39B058D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397817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9" orient="horz" pos="2448">
          <p15:clr>
            <a:srgbClr val="A4A3A4"/>
          </p15:clr>
        </p15:guide>
        <p15:guide id="10" orient="horz" pos="2544">
          <p15:clr>
            <a:srgbClr val="A4A3A4"/>
          </p15:clr>
        </p15:guide>
      </p15:sldGuideLst>
    </p:ext>
  </p:extLs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162CE302-798D-4C3C-B604-24580119C934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5" y="4041160"/>
            <a:ext cx="2547076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2F82E59B-78F5-4271-9409-6D4F8A622EB0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3429001" y="4041160"/>
            <a:ext cx="2510731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3530FA65-7386-4E1A-8266-06A3C45F9855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6244533" y="4041160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24F94952-8491-4257-AA6F-19C4844A06E9}"/>
              </a:ext>
            </a:extLst>
          </p:cNvPr>
          <p:cNvSpPr>
            <a:spLocks noGrp="1"/>
          </p:cNvSpPr>
          <p:nvPr>
            <p:ph sz="quarter" idx="74"/>
          </p:nvPr>
        </p:nvSpPr>
        <p:spPr>
          <a:xfrm>
            <a:off x="9088317" y="4041160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90120511-8013-46A5-AB48-656C9A08E558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77125" y="2057402"/>
            <a:ext cx="2547076" cy="1213927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600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49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3" name="Picture Placeholder 2">
            <a:extLst>
              <a:ext uri="{FF2B5EF4-FFF2-40B4-BE49-F238E27FC236}">
                <a16:creationId xmlns:a16="http://schemas.microsoft.com/office/drawing/2014/main" id="{71251F44-1315-46BA-9066-D7F0D073AB3E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29001" y="2057402"/>
            <a:ext cx="2510731" cy="1213927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600" b="0" i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26349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Insert image</a:t>
            </a:r>
          </a:p>
        </p:txBody>
      </p:sp>
      <p:sp>
        <p:nvSpPr>
          <p:cNvPr id="24" name="Picture Placeholder 2">
            <a:extLst>
              <a:ext uri="{FF2B5EF4-FFF2-40B4-BE49-F238E27FC236}">
                <a16:creationId xmlns:a16="http://schemas.microsoft.com/office/drawing/2014/main" id="{37309B44-96DF-4CDE-81BC-2258C6E71093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244533" y="2057402"/>
            <a:ext cx="2518468" cy="1213927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600" b="0" i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26349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Insert image</a:t>
            </a:r>
          </a:p>
        </p:txBody>
      </p:sp>
      <p:sp>
        <p:nvSpPr>
          <p:cNvPr id="29" name="Picture Placeholder 2">
            <a:extLst>
              <a:ext uri="{FF2B5EF4-FFF2-40B4-BE49-F238E27FC236}">
                <a16:creationId xmlns:a16="http://schemas.microsoft.com/office/drawing/2014/main" id="{CA8EE430-AAFC-4CF4-9EBD-B16B5C6C000B}"/>
              </a:ext>
            </a:extLst>
          </p:cNvPr>
          <p:cNvSpPr>
            <a:spLocks noGrp="1"/>
          </p:cNvSpPr>
          <p:nvPr>
            <p:ph type="pic" sz="quarter" idx="75" hasCustomPrompt="1"/>
          </p:nvPr>
        </p:nvSpPr>
        <p:spPr>
          <a:xfrm>
            <a:off x="9088317" y="2057402"/>
            <a:ext cx="2518468" cy="1213927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600" b="0" i="0" kern="120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26349" rtl="0" eaLnBrk="1" latinLnBrk="0" hangingPunct="1">
              <a:lnSpc>
                <a:spcPct val="14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Insert image</a:t>
            </a:r>
          </a:p>
        </p:txBody>
      </p:sp>
      <p:sp>
        <p:nvSpPr>
          <p:cNvPr id="27" name="Slide Number Placeholder 4">
            <a:extLst>
              <a:ext uri="{FF2B5EF4-FFF2-40B4-BE49-F238E27FC236}">
                <a16:creationId xmlns:a16="http://schemas.microsoft.com/office/drawing/2014/main" id="{DE89FC1D-F731-45CA-BEB3-FD18462897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0A1E122E-2E70-433E-8A0D-D79D6755D6F0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6044D87E-1A6E-438B-A219-E849016AFA03}"/>
              </a:ext>
            </a:extLst>
          </p:cNvPr>
          <p:cNvSpPr>
            <a:spLocks noGrp="1"/>
          </p:cNvSpPr>
          <p:nvPr>
            <p:ph type="body" sz="half" idx="77" hasCustomPrompt="1"/>
          </p:nvPr>
        </p:nvSpPr>
        <p:spPr>
          <a:xfrm>
            <a:off x="577125" y="3429002"/>
            <a:ext cx="2547076" cy="45975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5C35AB2A-5190-4140-8D92-14E2DC0A11C9}"/>
              </a:ext>
            </a:extLst>
          </p:cNvPr>
          <p:cNvSpPr>
            <a:spLocks noGrp="1"/>
          </p:cNvSpPr>
          <p:nvPr>
            <p:ph type="body" sz="half" idx="78" hasCustomPrompt="1"/>
          </p:nvPr>
        </p:nvSpPr>
        <p:spPr>
          <a:xfrm>
            <a:off x="3429002" y="3429002"/>
            <a:ext cx="2514599" cy="45975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7D729C91-FFDB-4B44-A432-A2793BE02037}"/>
              </a:ext>
            </a:extLst>
          </p:cNvPr>
          <p:cNvSpPr>
            <a:spLocks noGrp="1"/>
          </p:cNvSpPr>
          <p:nvPr>
            <p:ph type="body" sz="half" idx="79" hasCustomPrompt="1"/>
          </p:nvPr>
        </p:nvSpPr>
        <p:spPr>
          <a:xfrm>
            <a:off x="6244533" y="3426442"/>
            <a:ext cx="2511833" cy="45975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55DD7DF3-8C0F-44F5-A5D7-2DC782CCABE1}"/>
              </a:ext>
            </a:extLst>
          </p:cNvPr>
          <p:cNvSpPr>
            <a:spLocks noGrp="1"/>
          </p:cNvSpPr>
          <p:nvPr>
            <p:ph type="body" sz="half" idx="80" hasCustomPrompt="1"/>
          </p:nvPr>
        </p:nvSpPr>
        <p:spPr>
          <a:xfrm>
            <a:off x="9088317" y="3426442"/>
            <a:ext cx="2511833" cy="45975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A29D5734-D2A2-4C47-AC07-0EF26356A0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092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D5B2182-F588-4B95-8640-6EB546BB27F7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571500" y="2966516"/>
            <a:ext cx="3465576" cy="91409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600" b="0" i="0" kern="0" spc="0" baseline="0" dirty="0" smtClean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371C4569-885C-41EB-9D4E-D3CFBAFF095E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75877" y="2966516"/>
            <a:ext cx="3467099" cy="91409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600" b="0" i="0" kern="0" spc="0" baseline="0" dirty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C69D9AE1-F7FA-4E72-AFD2-4F91DADD8EF3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8147777" y="2966516"/>
            <a:ext cx="3467100" cy="91409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600" b="0" i="0" kern="0" spc="0" baseline="0" dirty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2" name="Content Placeholder 4">
            <a:extLst>
              <a:ext uri="{FF2B5EF4-FFF2-40B4-BE49-F238E27FC236}">
                <a16:creationId xmlns:a16="http://schemas.microsoft.com/office/drawing/2014/main" id="{CA453480-BBA8-4B9F-B586-357B4E19E563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3924303"/>
            <a:ext cx="3465576" cy="2288556"/>
          </a:xfrm>
        </p:spPr>
        <p:txBody>
          <a:bodyPr/>
          <a:lstStyle>
            <a:lvl1pPr>
              <a:lnSpc>
                <a:spcPct val="120000"/>
              </a:lnSpc>
              <a:spcAft>
                <a:spcPts val="600"/>
              </a:spcAft>
              <a:defRPr lang="en-US" sz="2400" b="0" i="0" kern="0" spc="0" baseline="0" dirty="0" smtClean="0">
                <a:solidFill>
                  <a:schemeClr val="tx1"/>
                </a:soli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1A4237F-D9F2-425B-A764-B910E08B0D44}"/>
              </a:ext>
            </a:extLst>
          </p:cNvPr>
          <p:cNvCxnSpPr>
            <a:cxnSpLocks/>
          </p:cNvCxnSpPr>
          <p:nvPr/>
        </p:nvCxnSpPr>
        <p:spPr>
          <a:xfrm>
            <a:off x="565876" y="2722939"/>
            <a:ext cx="3471200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93272D5A-7D98-45B0-A4F9-BAFB3DB5E31D}"/>
              </a:ext>
            </a:extLst>
          </p:cNvPr>
          <p:cNvCxnSpPr>
            <a:cxnSpLocks/>
          </p:cNvCxnSpPr>
          <p:nvPr/>
        </p:nvCxnSpPr>
        <p:spPr>
          <a:xfrm>
            <a:off x="4375876" y="2722939"/>
            <a:ext cx="3471200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7DB506C7-C4B2-414A-A0C3-D1B8DC49A7BB}"/>
              </a:ext>
            </a:extLst>
          </p:cNvPr>
          <p:cNvCxnSpPr>
            <a:cxnSpLocks/>
          </p:cNvCxnSpPr>
          <p:nvPr/>
        </p:nvCxnSpPr>
        <p:spPr>
          <a:xfrm>
            <a:off x="8147776" y="2722939"/>
            <a:ext cx="3471200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2A567E82-12D6-4AE9-B4D9-78AB692A48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406FBD7F-084D-4108-A971-3B3F074548BB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2562205B-CCE4-464A-8729-BED00F209648}"/>
              </a:ext>
            </a:extLst>
          </p:cNvPr>
          <p:cNvSpPr>
            <a:spLocks noGrp="1"/>
          </p:cNvSpPr>
          <p:nvPr>
            <p:ph sz="quarter" idx="53"/>
          </p:nvPr>
        </p:nvSpPr>
        <p:spPr>
          <a:xfrm>
            <a:off x="4375876" y="3924303"/>
            <a:ext cx="3465576" cy="2288556"/>
          </a:xfrm>
        </p:spPr>
        <p:txBody>
          <a:bodyPr/>
          <a:lstStyle>
            <a:lvl1pPr>
              <a:lnSpc>
                <a:spcPct val="120000"/>
              </a:lnSpc>
              <a:spcAft>
                <a:spcPts val="600"/>
              </a:spcAft>
              <a:defRPr lang="en-US" sz="2400" b="0" i="0" kern="0" spc="0" baseline="0" dirty="0" smtClean="0">
                <a:solidFill>
                  <a:schemeClr val="tx1"/>
                </a:soli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4B5AAE29-FDA3-488D-9080-903E0DF59DE9}"/>
              </a:ext>
            </a:extLst>
          </p:cNvPr>
          <p:cNvSpPr>
            <a:spLocks noGrp="1"/>
          </p:cNvSpPr>
          <p:nvPr>
            <p:ph sz="quarter" idx="54"/>
          </p:nvPr>
        </p:nvSpPr>
        <p:spPr>
          <a:xfrm>
            <a:off x="8147776" y="3924303"/>
            <a:ext cx="3465576" cy="2288556"/>
          </a:xfrm>
        </p:spPr>
        <p:txBody>
          <a:bodyPr/>
          <a:lstStyle>
            <a:lvl1pPr>
              <a:lnSpc>
                <a:spcPct val="120000"/>
              </a:lnSpc>
              <a:spcAft>
                <a:spcPts val="600"/>
              </a:spcAft>
              <a:defRPr lang="en-US" sz="2400" b="0" i="0" kern="0" spc="0" baseline="0" dirty="0" smtClean="0">
                <a:solidFill>
                  <a:schemeClr val="tx1"/>
                </a:soli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501BA99F-9084-4A41-BC39-6B585B6228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570922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2" orient="horz" pos="2448">
          <p15:clr>
            <a:srgbClr val="A4A3A4"/>
          </p15:clr>
        </p15:guide>
        <p15:guide id="4" orient="horz" pos="2472">
          <p15:clr>
            <a:srgbClr val="A4A3A4"/>
          </p15:clr>
        </p15:guide>
      </p15:sldGuideLst>
    </p:ext>
  </p:extLs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A5877EA4-4A09-46D2-82FE-1D6A2A18CE0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5E95C68-EC25-4279-A219-13EAA699CFAB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544782C-C2F5-45B3-A604-80B79EBB5C23}"/>
              </a:ext>
            </a:extLst>
          </p:cNvPr>
          <p:cNvSpPr>
            <a:spLocks noGrp="1"/>
          </p:cNvSpPr>
          <p:nvPr>
            <p:ph type="body" sz="half" idx="76" hasCustomPrompt="1"/>
          </p:nvPr>
        </p:nvSpPr>
        <p:spPr>
          <a:xfrm>
            <a:off x="571500" y="2966516"/>
            <a:ext cx="3465576" cy="91409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600" b="0" i="0" kern="0" spc="0" baseline="0" dirty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CFF48D5-E389-4A6C-B64A-67912CE45A53}"/>
              </a:ext>
            </a:extLst>
          </p:cNvPr>
          <p:cNvSpPr>
            <a:spLocks noGrp="1"/>
          </p:cNvSpPr>
          <p:nvPr>
            <p:ph type="body" sz="half" idx="77" hasCustomPrompt="1"/>
          </p:nvPr>
        </p:nvSpPr>
        <p:spPr>
          <a:xfrm>
            <a:off x="4375877" y="2966516"/>
            <a:ext cx="3467099" cy="91409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600" b="0" i="0" kern="0" spc="0" baseline="0" dirty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F88B652E-0041-4A7E-BB10-F4B58E1B7992}"/>
              </a:ext>
            </a:extLst>
          </p:cNvPr>
          <p:cNvSpPr>
            <a:spLocks noGrp="1"/>
          </p:cNvSpPr>
          <p:nvPr>
            <p:ph type="body" sz="half" idx="78" hasCustomPrompt="1"/>
          </p:nvPr>
        </p:nvSpPr>
        <p:spPr>
          <a:xfrm>
            <a:off x="8147777" y="2966516"/>
            <a:ext cx="3467100" cy="91409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600" b="0" i="0" kern="0" spc="0" baseline="0" dirty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97F8836-8CBD-4C32-AA06-8929682EEA32}"/>
              </a:ext>
            </a:extLst>
          </p:cNvPr>
          <p:cNvCxnSpPr>
            <a:cxnSpLocks/>
          </p:cNvCxnSpPr>
          <p:nvPr/>
        </p:nvCxnSpPr>
        <p:spPr>
          <a:xfrm>
            <a:off x="565876" y="2722939"/>
            <a:ext cx="3471200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A32EB293-61A9-488D-84CB-337D153444BE}"/>
              </a:ext>
            </a:extLst>
          </p:cNvPr>
          <p:cNvCxnSpPr>
            <a:cxnSpLocks/>
          </p:cNvCxnSpPr>
          <p:nvPr/>
        </p:nvCxnSpPr>
        <p:spPr>
          <a:xfrm>
            <a:off x="4375876" y="2722939"/>
            <a:ext cx="3471200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0723830B-8B67-4F32-8E4D-4E448BA42EC4}"/>
              </a:ext>
            </a:extLst>
          </p:cNvPr>
          <p:cNvCxnSpPr>
            <a:cxnSpLocks/>
          </p:cNvCxnSpPr>
          <p:nvPr/>
        </p:nvCxnSpPr>
        <p:spPr>
          <a:xfrm>
            <a:off x="8147776" y="2722939"/>
            <a:ext cx="3471200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4">
            <a:extLst>
              <a:ext uri="{FF2B5EF4-FFF2-40B4-BE49-F238E27FC236}">
                <a16:creationId xmlns:a16="http://schemas.microsoft.com/office/drawing/2014/main" id="{3D24466E-FC90-4376-8BD8-E50680EB5AE6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3924303"/>
            <a:ext cx="3465576" cy="2288556"/>
          </a:xfrm>
        </p:spPr>
        <p:txBody>
          <a:bodyPr/>
          <a:lstStyle>
            <a:lvl1pPr>
              <a:lnSpc>
                <a:spcPct val="120000"/>
              </a:lnSpc>
              <a:spcAft>
                <a:spcPts val="600"/>
              </a:spcAft>
              <a:defRPr lang="en-US" sz="2400" b="0" i="0" kern="0" spc="0" baseline="0" dirty="0" smtClean="0">
                <a:solidFill>
                  <a:schemeClr val="tx1"/>
                </a:soli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4">
            <a:extLst>
              <a:ext uri="{FF2B5EF4-FFF2-40B4-BE49-F238E27FC236}">
                <a16:creationId xmlns:a16="http://schemas.microsoft.com/office/drawing/2014/main" id="{678C22E8-F9F2-49FA-9DD8-9CC118CB5DD7}"/>
              </a:ext>
            </a:extLst>
          </p:cNvPr>
          <p:cNvSpPr>
            <a:spLocks noGrp="1"/>
          </p:cNvSpPr>
          <p:nvPr>
            <p:ph sz="quarter" idx="53"/>
          </p:nvPr>
        </p:nvSpPr>
        <p:spPr>
          <a:xfrm>
            <a:off x="4375876" y="3924303"/>
            <a:ext cx="3465576" cy="2288556"/>
          </a:xfrm>
        </p:spPr>
        <p:txBody>
          <a:bodyPr/>
          <a:lstStyle>
            <a:lvl1pPr>
              <a:lnSpc>
                <a:spcPct val="120000"/>
              </a:lnSpc>
              <a:spcAft>
                <a:spcPts val="600"/>
              </a:spcAft>
              <a:defRPr lang="en-US" sz="2400" b="0" i="0" kern="0" spc="0" baseline="0" dirty="0" smtClean="0">
                <a:solidFill>
                  <a:schemeClr val="tx1"/>
                </a:soli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4">
            <a:extLst>
              <a:ext uri="{FF2B5EF4-FFF2-40B4-BE49-F238E27FC236}">
                <a16:creationId xmlns:a16="http://schemas.microsoft.com/office/drawing/2014/main" id="{B4E730FA-1E59-4166-9057-E8D66C30AAE1}"/>
              </a:ext>
            </a:extLst>
          </p:cNvPr>
          <p:cNvSpPr>
            <a:spLocks noGrp="1"/>
          </p:cNvSpPr>
          <p:nvPr>
            <p:ph sz="quarter" idx="54"/>
          </p:nvPr>
        </p:nvSpPr>
        <p:spPr>
          <a:xfrm>
            <a:off x="8147776" y="3924303"/>
            <a:ext cx="3465576" cy="2288556"/>
          </a:xfrm>
        </p:spPr>
        <p:txBody>
          <a:bodyPr/>
          <a:lstStyle>
            <a:lvl1pPr>
              <a:lnSpc>
                <a:spcPct val="120000"/>
              </a:lnSpc>
              <a:spcAft>
                <a:spcPts val="600"/>
              </a:spcAft>
              <a:defRPr lang="en-US" sz="2400" b="0" i="0" kern="0" spc="0" baseline="0" dirty="0" smtClean="0">
                <a:solidFill>
                  <a:schemeClr val="tx1"/>
                </a:soli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09174A1F-AB8A-8146-9C35-B74BD4A357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559729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A6B7296C-F598-427B-A437-D8C765B431B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AD7C8C7-9AFC-476C-A544-C0F944CC1FDB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6279623-6A91-4928-8563-9B47EE7B68EE}"/>
              </a:ext>
            </a:extLst>
          </p:cNvPr>
          <p:cNvSpPr>
            <a:spLocks noGrp="1"/>
          </p:cNvSpPr>
          <p:nvPr>
            <p:ph type="body" sz="half" idx="76" hasCustomPrompt="1"/>
          </p:nvPr>
        </p:nvSpPr>
        <p:spPr>
          <a:xfrm>
            <a:off x="571500" y="2966516"/>
            <a:ext cx="3465576" cy="91409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600" b="0" i="0" kern="0" spc="0" baseline="0" dirty="0">
                <a:gradFill>
                  <a:gsLst>
                    <a:gs pos="0">
                      <a:schemeClr val="accent3"/>
                    </a:gs>
                    <a:gs pos="97000">
                      <a:schemeClr val="accent4"/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2C896221-6AD6-49A1-8E05-717A0BF036AB}"/>
              </a:ext>
            </a:extLst>
          </p:cNvPr>
          <p:cNvSpPr>
            <a:spLocks noGrp="1"/>
          </p:cNvSpPr>
          <p:nvPr>
            <p:ph type="body" sz="half" idx="77" hasCustomPrompt="1"/>
          </p:nvPr>
        </p:nvSpPr>
        <p:spPr>
          <a:xfrm>
            <a:off x="4375877" y="2966516"/>
            <a:ext cx="3467099" cy="91409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600" b="0" i="0" kern="0" spc="0" baseline="0" dirty="0">
                <a:gradFill>
                  <a:gsLst>
                    <a:gs pos="0">
                      <a:schemeClr val="accent3"/>
                    </a:gs>
                    <a:gs pos="97000">
                      <a:schemeClr val="accent4"/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B7128799-D0C6-4DAC-85AF-83E97C868B0F}"/>
              </a:ext>
            </a:extLst>
          </p:cNvPr>
          <p:cNvSpPr>
            <a:spLocks noGrp="1"/>
          </p:cNvSpPr>
          <p:nvPr>
            <p:ph type="body" sz="half" idx="78" hasCustomPrompt="1"/>
          </p:nvPr>
        </p:nvSpPr>
        <p:spPr>
          <a:xfrm>
            <a:off x="8147777" y="2966516"/>
            <a:ext cx="3467100" cy="914096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6600" b="0" i="0" kern="0" spc="0" baseline="0" dirty="0">
                <a:gradFill>
                  <a:gsLst>
                    <a:gs pos="0">
                      <a:schemeClr val="accent3"/>
                    </a:gs>
                    <a:gs pos="97000">
                      <a:schemeClr val="accent4"/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9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05B6F9E6-68BA-4C12-B8D3-A5BCACEDF520}"/>
              </a:ext>
            </a:extLst>
          </p:cNvPr>
          <p:cNvCxnSpPr>
            <a:cxnSpLocks/>
          </p:cNvCxnSpPr>
          <p:nvPr/>
        </p:nvCxnSpPr>
        <p:spPr>
          <a:xfrm>
            <a:off x="565876" y="2722939"/>
            <a:ext cx="3471200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3CD8152-D577-4D1C-9C0E-9299D9CEF857}"/>
              </a:ext>
            </a:extLst>
          </p:cNvPr>
          <p:cNvCxnSpPr>
            <a:cxnSpLocks/>
          </p:cNvCxnSpPr>
          <p:nvPr/>
        </p:nvCxnSpPr>
        <p:spPr>
          <a:xfrm>
            <a:off x="4375876" y="2722939"/>
            <a:ext cx="3471200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B7A5B70D-42C1-4D84-BB5D-B65829ABC4AC}"/>
              </a:ext>
            </a:extLst>
          </p:cNvPr>
          <p:cNvCxnSpPr>
            <a:cxnSpLocks/>
          </p:cNvCxnSpPr>
          <p:nvPr/>
        </p:nvCxnSpPr>
        <p:spPr>
          <a:xfrm>
            <a:off x="8147776" y="2722939"/>
            <a:ext cx="3471200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Content Placeholder 4">
            <a:extLst>
              <a:ext uri="{FF2B5EF4-FFF2-40B4-BE49-F238E27FC236}">
                <a16:creationId xmlns:a16="http://schemas.microsoft.com/office/drawing/2014/main" id="{9FEC68B2-8758-465E-BB66-6EC33A0D1E67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3924303"/>
            <a:ext cx="3465576" cy="2288556"/>
          </a:xfrm>
        </p:spPr>
        <p:txBody>
          <a:bodyPr/>
          <a:lstStyle>
            <a:lvl1pPr>
              <a:lnSpc>
                <a:spcPct val="120000"/>
              </a:lnSpc>
              <a:spcAft>
                <a:spcPts val="600"/>
              </a:spcAft>
              <a:defRPr lang="en-US" sz="2400" b="0" i="0" kern="0" spc="0" baseline="0" dirty="0" smtClean="0">
                <a:solidFill>
                  <a:schemeClr val="tx1"/>
                </a:soli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4">
            <a:extLst>
              <a:ext uri="{FF2B5EF4-FFF2-40B4-BE49-F238E27FC236}">
                <a16:creationId xmlns:a16="http://schemas.microsoft.com/office/drawing/2014/main" id="{424436AA-2AAB-4827-8EEF-FC50A3498F68}"/>
              </a:ext>
            </a:extLst>
          </p:cNvPr>
          <p:cNvSpPr>
            <a:spLocks noGrp="1"/>
          </p:cNvSpPr>
          <p:nvPr>
            <p:ph sz="quarter" idx="53"/>
          </p:nvPr>
        </p:nvSpPr>
        <p:spPr>
          <a:xfrm>
            <a:off x="4375876" y="3924303"/>
            <a:ext cx="3465576" cy="2288556"/>
          </a:xfrm>
        </p:spPr>
        <p:txBody>
          <a:bodyPr/>
          <a:lstStyle>
            <a:lvl1pPr>
              <a:lnSpc>
                <a:spcPct val="120000"/>
              </a:lnSpc>
              <a:spcAft>
                <a:spcPts val="600"/>
              </a:spcAft>
              <a:defRPr lang="en-US" sz="2400" b="0" i="0" kern="0" spc="0" baseline="0" dirty="0" smtClean="0">
                <a:solidFill>
                  <a:schemeClr val="tx1"/>
                </a:soli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Content Placeholder 4">
            <a:extLst>
              <a:ext uri="{FF2B5EF4-FFF2-40B4-BE49-F238E27FC236}">
                <a16:creationId xmlns:a16="http://schemas.microsoft.com/office/drawing/2014/main" id="{C3059A0E-2E05-4C73-9413-A86BB0DCC82D}"/>
              </a:ext>
            </a:extLst>
          </p:cNvPr>
          <p:cNvSpPr>
            <a:spLocks noGrp="1"/>
          </p:cNvSpPr>
          <p:nvPr>
            <p:ph sz="quarter" idx="54"/>
          </p:nvPr>
        </p:nvSpPr>
        <p:spPr>
          <a:xfrm>
            <a:off x="8147776" y="3924303"/>
            <a:ext cx="3465576" cy="2288556"/>
          </a:xfrm>
        </p:spPr>
        <p:txBody>
          <a:bodyPr/>
          <a:lstStyle>
            <a:lvl1pPr>
              <a:lnSpc>
                <a:spcPct val="120000"/>
              </a:lnSpc>
              <a:spcAft>
                <a:spcPts val="600"/>
              </a:spcAft>
              <a:defRPr lang="en-US" sz="2400" b="0" i="0" kern="0" spc="0" baseline="0" dirty="0" smtClean="0">
                <a:solidFill>
                  <a:schemeClr val="tx1"/>
                </a:soli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89FBB4EE-A0F7-D841-A1EF-54832B37E8A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150426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316224"/>
            <a:ext cx="2552092" cy="58433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35F796C-3FA3-4D4C-9E57-306772BBFEB7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8" y="3316224"/>
            <a:ext cx="2552092" cy="58433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3094BC0-195B-294A-B09B-12005D172A0C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316224"/>
            <a:ext cx="2552092" cy="58433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A941269-22F0-1B4D-A516-00DAC2E11BF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316224"/>
            <a:ext cx="2552092" cy="58433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BA943510-C75F-4986-83E1-EC263D204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965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cons</a:t>
            </a:r>
          </a:p>
        </p:txBody>
      </p:sp>
      <p:sp>
        <p:nvSpPr>
          <p:cNvPr id="38" name="Slide Number Placeholder 4">
            <a:extLst>
              <a:ext uri="{FF2B5EF4-FFF2-40B4-BE49-F238E27FC236}">
                <a16:creationId xmlns:a16="http://schemas.microsoft.com/office/drawing/2014/main" id="{73F974E0-E6C8-49D5-B2CA-B9DD7D4D65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A680BB83-959F-4FDD-88B5-B99A3D5A146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2" y="4160176"/>
            <a:ext cx="2552095" cy="208212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4B47409-39CC-4AB0-89D1-284C38860D9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13561" y="4160176"/>
            <a:ext cx="2626704" cy="208212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F9B79A2-65D9-4B8F-8DB9-71B2D0007C2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47251" y="4160176"/>
            <a:ext cx="2552095" cy="208212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AB7D9D7-F3C2-4406-B72E-37E861D8E5AE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96911" y="4160176"/>
            <a:ext cx="2552095" cy="2082128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325DA913-D561-481D-AC9D-C096DA657E3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3904" y="302763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C337FCA0-79CE-4E7B-B272-E4EFB372C12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403233" y="302763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C2E0F4FC-9970-45E4-9784-BCA838895F5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42563" y="302763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014E5A9-0003-43F7-A198-C160ED979BD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081891" y="302763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F166E02-7641-4BBC-8370-DFA541EB63A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F37FEAB2-9122-4DDC-B50E-7C2AADAF96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6525150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162CE302-798D-4C3C-B604-24580119C934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5" y="4177814"/>
            <a:ext cx="2547076" cy="2032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2F82E59B-78F5-4271-9409-6D4F8A622EB0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3429001" y="4177814"/>
            <a:ext cx="2510731" cy="2032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3530FA65-7386-4E1A-8266-06A3C45F9855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6244533" y="4175255"/>
            <a:ext cx="2518468" cy="2032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24F94952-8491-4257-AA6F-19C4844A06E9}"/>
              </a:ext>
            </a:extLst>
          </p:cNvPr>
          <p:cNvSpPr>
            <a:spLocks noGrp="1"/>
          </p:cNvSpPr>
          <p:nvPr>
            <p:ph sz="quarter" idx="74"/>
          </p:nvPr>
        </p:nvSpPr>
        <p:spPr>
          <a:xfrm>
            <a:off x="9088317" y="4175255"/>
            <a:ext cx="2518468" cy="2032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7ABEABA8-0A43-4B21-A605-FA08CE37E6CB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577125" y="3276601"/>
            <a:ext cx="2547076" cy="75516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50039D44-5BB5-4C25-98F6-3E0F66A63D44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3429002" y="3276601"/>
            <a:ext cx="2511833" cy="75516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A19B9925-0BD7-466F-A186-7A549FD6BE3C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6244532" y="3274041"/>
            <a:ext cx="2519576" cy="75516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20EEC14-E3FE-41CD-9F67-FE2892C20ACE}"/>
              </a:ext>
            </a:extLst>
          </p:cNvPr>
          <p:cNvSpPr>
            <a:spLocks noGrp="1"/>
          </p:cNvSpPr>
          <p:nvPr>
            <p:ph type="body" sz="half" idx="76" hasCustomPrompt="1"/>
          </p:nvPr>
        </p:nvSpPr>
        <p:spPr>
          <a:xfrm>
            <a:off x="9088316" y="3274041"/>
            <a:ext cx="2519576" cy="75516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1C7468CB-A68B-434E-9590-D44284A0DC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D3B3576-E092-44AC-9525-9DA3161E6EEC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48B751F9-09AE-2549-8128-BEAB4951A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252196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162CE302-798D-4C3C-B604-24580119C934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5" y="4177814"/>
            <a:ext cx="2547076" cy="2032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2F82E59B-78F5-4271-9409-6D4F8A622EB0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3429001" y="4177814"/>
            <a:ext cx="2510731" cy="2032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3530FA65-7386-4E1A-8266-06A3C45F9855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6244533" y="4175255"/>
            <a:ext cx="2518468" cy="2032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24F94952-8491-4257-AA6F-19C4844A06E9}"/>
              </a:ext>
            </a:extLst>
          </p:cNvPr>
          <p:cNvSpPr>
            <a:spLocks noGrp="1"/>
          </p:cNvSpPr>
          <p:nvPr>
            <p:ph sz="quarter" idx="74"/>
          </p:nvPr>
        </p:nvSpPr>
        <p:spPr>
          <a:xfrm>
            <a:off x="9088317" y="4175255"/>
            <a:ext cx="2518468" cy="2032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7ABEABA8-0A43-4B21-A605-FA08CE37E6CB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577125" y="3276601"/>
            <a:ext cx="2547076" cy="75516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50039D44-5BB5-4C25-98F6-3E0F66A63D44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3429002" y="3276601"/>
            <a:ext cx="2511833" cy="75516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A19B9925-0BD7-466F-A186-7A549FD6BE3C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6244532" y="3274041"/>
            <a:ext cx="2519576" cy="75516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20EEC14-E3FE-41CD-9F67-FE2892C20ACE}"/>
              </a:ext>
            </a:extLst>
          </p:cNvPr>
          <p:cNvSpPr>
            <a:spLocks noGrp="1"/>
          </p:cNvSpPr>
          <p:nvPr>
            <p:ph type="body" sz="half" idx="76" hasCustomPrompt="1"/>
          </p:nvPr>
        </p:nvSpPr>
        <p:spPr>
          <a:xfrm>
            <a:off x="9088316" y="3274041"/>
            <a:ext cx="2519576" cy="75516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A96D39E-5D8D-42D5-A9CB-48811BA791BC}"/>
              </a:ext>
            </a:extLst>
          </p:cNvPr>
          <p:cNvSpPr>
            <a:spLocks noGrp="1"/>
          </p:cNvSpPr>
          <p:nvPr>
            <p:ph type="body" sz="half" idx="59" hasCustomPrompt="1"/>
          </p:nvPr>
        </p:nvSpPr>
        <p:spPr>
          <a:xfrm>
            <a:off x="577125" y="2353338"/>
            <a:ext cx="2547076" cy="75834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b="0" i="0" kern="0" spc="-241" baseline="0" dirty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Q1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E0FEFC4D-2F16-462D-A52D-958E0CB97769}"/>
              </a:ext>
            </a:extLst>
          </p:cNvPr>
          <p:cNvSpPr>
            <a:spLocks noGrp="1"/>
          </p:cNvSpPr>
          <p:nvPr>
            <p:ph type="body" sz="half" idx="60" hasCustomPrompt="1"/>
          </p:nvPr>
        </p:nvSpPr>
        <p:spPr>
          <a:xfrm>
            <a:off x="3429001" y="2353338"/>
            <a:ext cx="2514600" cy="75834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b="0" i="0" kern="0" spc="-241" baseline="0" dirty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Q2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FE20DB42-C25C-467E-8736-EB2196F17DD1}"/>
              </a:ext>
            </a:extLst>
          </p:cNvPr>
          <p:cNvSpPr>
            <a:spLocks noGrp="1"/>
          </p:cNvSpPr>
          <p:nvPr>
            <p:ph type="body" sz="half" idx="61" hasCustomPrompt="1"/>
          </p:nvPr>
        </p:nvSpPr>
        <p:spPr>
          <a:xfrm>
            <a:off x="6244532" y="2353338"/>
            <a:ext cx="2510731" cy="75834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b="0" i="0" kern="0" spc="-241" baseline="0" dirty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Q3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9550F2E3-FD0F-4C51-97C5-36FE28456D38}"/>
              </a:ext>
            </a:extLst>
          </p:cNvPr>
          <p:cNvSpPr>
            <a:spLocks noGrp="1"/>
          </p:cNvSpPr>
          <p:nvPr>
            <p:ph type="body" sz="half" idx="62" hasCustomPrompt="1"/>
          </p:nvPr>
        </p:nvSpPr>
        <p:spPr>
          <a:xfrm>
            <a:off x="9088317" y="2353338"/>
            <a:ext cx="2547076" cy="758349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sz="4400" b="0" i="0" kern="0" spc="-241" baseline="0" dirty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Q4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BACEFDD6-FE69-4740-A6E7-35DA1340075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D2665831-746E-42DD-BA41-26E84A8C2973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E70FC654-A94F-3449-A580-AC30323C29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869930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29002" y="0"/>
            <a:ext cx="8762999" cy="6858000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49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5309CA-3E25-47B8-99B6-670FE796BB9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1" y="2971801"/>
            <a:ext cx="2552700" cy="3238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8B3BBBD-95D5-473C-B5AA-4C86DA04A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0"/>
            <a:ext cx="2552700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160909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2" orient="horz" pos="1872">
          <p15:clr>
            <a:srgbClr val="A4A3A4"/>
          </p15:clr>
        </p15:guide>
        <p15:guide id="3" orient="horz" pos="1680">
          <p15:clr>
            <a:srgbClr val="A4A3A4"/>
          </p15:clr>
        </p15:guide>
      </p15:sldGuideLst>
    </p:ext>
  </p:extLs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76700" y="1083565"/>
            <a:ext cx="7543800" cy="5126736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49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D9E6ED89-1E04-4F6D-B1F3-42C73A6902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336A642-95C4-40BE-AE95-D81502EF3AED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E0708104-F9EC-4157-95F0-FA326192EA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609600"/>
            <a:ext cx="2857500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</a:t>
            </a:r>
            <a:br>
              <a:rPr lang="en-US"/>
            </a:br>
            <a:r>
              <a:rPr lang="en-US"/>
              <a:t>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B1B1C66-A921-41B1-B007-79881FEFA60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1" y="2971801"/>
            <a:ext cx="2857500" cy="3238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3452466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29002" y="0"/>
            <a:ext cx="8762999" cy="6858000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49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500" y="5138199"/>
            <a:ext cx="2552701" cy="246221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71499" y="5486402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000"/>
            </a:lvl1pPr>
            <a:lvl2pPr marL="173034" indent="-173034">
              <a:spcAft>
                <a:spcPts val="300"/>
              </a:spcAft>
              <a:defRPr sz="9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9" y="3631821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000"/>
            </a:lvl1pPr>
            <a:lvl2pPr marL="173034" indent="-173034">
              <a:spcAft>
                <a:spcPts val="300"/>
              </a:spcAft>
              <a:defRPr sz="9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9" y="3283619"/>
            <a:ext cx="2552701" cy="246221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F1A913C-478C-4159-AD61-19314F8B1D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0"/>
            <a:ext cx="2552699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808352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2" y="0"/>
            <a:ext cx="6095999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>
                <a:solidFill>
                  <a:schemeClr val="tx1"/>
                </a:solidFill>
              </a:defRPr>
            </a:lvl1pPr>
          </a:lstStyle>
          <a:p>
            <a:pPr marL="0" lvl="0" indent="0" algn="ctr" defTabSz="926349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94026FE-B789-4F5D-805E-02B0631E7EC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5138199"/>
            <a:ext cx="2552701" cy="246221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0788797-0721-4FDF-B9A8-D8FD6A85E245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71499" y="5486402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000"/>
            </a:lvl1pPr>
            <a:lvl2pPr marL="173034" indent="-173034">
              <a:spcAft>
                <a:spcPts val="300"/>
              </a:spcAft>
              <a:defRPr sz="9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0231F72B-DB93-439F-8D5C-3A98DBB9C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372099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042C4D8C-C05E-40DC-A5F1-D8E216530543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9" y="3631821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000"/>
            </a:lvl1pPr>
            <a:lvl2pPr marL="173034" indent="-173034">
              <a:spcAft>
                <a:spcPts val="300"/>
              </a:spcAft>
              <a:defRPr sz="9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79DD178-20FD-4061-A4CF-ADAD80B00223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9" y="3283619"/>
            <a:ext cx="2552701" cy="246221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55C8534-6B0E-41CD-9706-61F591BFF126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390900" y="5138199"/>
            <a:ext cx="2552701" cy="246221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0DECDBD2-EF07-4EFE-81B0-67DD271A8E4A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390901" y="5486402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000"/>
            </a:lvl1pPr>
            <a:lvl2pPr marL="173034" indent="-173034">
              <a:spcAft>
                <a:spcPts val="300"/>
              </a:spcAft>
              <a:defRPr sz="9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A005CF03-ABB1-4046-89FC-A41C9CAD1DE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3390900" y="3631821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000"/>
            </a:lvl1pPr>
            <a:lvl2pPr marL="173034" indent="-173034">
              <a:spcAft>
                <a:spcPts val="300"/>
              </a:spcAft>
              <a:defRPr sz="9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49AEAAD6-2FA1-420B-BCE8-48233BD945BF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3390900" y="3283619"/>
            <a:ext cx="2552701" cy="246221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16643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3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81501" y="609600"/>
            <a:ext cx="3467100" cy="560070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49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80B26961-BE72-42FE-83E3-E9413C61E43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153401" y="609600"/>
            <a:ext cx="3467100" cy="560070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49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7117EB1-347D-42E5-8273-C02EF79929C2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9" y="3276601"/>
            <a:ext cx="3505201" cy="29337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E1DC698-4F08-40A9-8E7D-20E5FF561A26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9" y="2057400"/>
            <a:ext cx="3505201" cy="1066800"/>
          </a:xfrm>
        </p:spPr>
        <p:txBody>
          <a:bodyPr wrap="square" anchor="b" anchorCtr="0">
            <a:noAutofit/>
          </a:bodyPr>
          <a:lstStyle>
            <a:lvl1pPr>
              <a:defRPr lang="en-US" sz="2000" dirty="0" smtClean="0"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8B30B7B9-9490-49E3-8E9F-B76BDC2773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E0567A-A5F3-4C61-8B3C-08121E05DDC7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D3E41E21-7547-4B83-8F53-91A26F07F5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609600"/>
            <a:ext cx="3505201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16654404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Dessk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6EE0FED-0F8F-1D4B-BDC6-134B0FE8D3AF}"/>
              </a:ext>
            </a:extLst>
          </p:cNvPr>
          <p:cNvSpPr/>
          <p:nvPr/>
        </p:nvSpPr>
        <p:spPr>
          <a:xfrm>
            <a:off x="3429001" y="0"/>
            <a:ext cx="8763001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22" name="Rounded Rectangle 21">
            <a:extLst>
              <a:ext uri="{FF2B5EF4-FFF2-40B4-BE49-F238E27FC236}">
                <a16:creationId xmlns:a16="http://schemas.microsoft.com/office/drawing/2014/main" id="{FAE93A97-9654-7E4F-9CF0-9F35B5FD6339}"/>
              </a:ext>
            </a:extLst>
          </p:cNvPr>
          <p:cNvSpPr/>
          <p:nvPr/>
        </p:nvSpPr>
        <p:spPr>
          <a:xfrm>
            <a:off x="4175645" y="1200179"/>
            <a:ext cx="7217263" cy="4457644"/>
          </a:xfrm>
          <a:prstGeom prst="roundRect">
            <a:avLst>
              <a:gd name="adj" fmla="val 5660"/>
            </a:avLst>
          </a:prstGeom>
          <a:solidFill>
            <a:srgbClr val="262626"/>
          </a:solidFill>
          <a:ln>
            <a:noFill/>
          </a:ln>
          <a:effectLst>
            <a:outerShdw blurRad="218804" dist="106605" dir="2220000" sx="99000" sy="99000" algn="ctr" rotWithShape="0">
              <a:schemeClr val="bg1">
                <a:alpha val="3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00FA166-5D3F-4D89-9646-F16A985660E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1" y="2514601"/>
            <a:ext cx="25527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D5EF8DF4-D66B-4316-8BD1-64264C11AF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E9CD8F1-BCCB-4886-9A5C-6DBC2AED36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609600"/>
            <a:ext cx="25527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title style</a:t>
            </a:r>
          </a:p>
        </p:txBody>
      </p:sp>
      <p:sp>
        <p:nvSpPr>
          <p:cNvPr id="14" name="Picture Placeholder 2">
            <a:extLst>
              <a:ext uri="{FF2B5EF4-FFF2-40B4-BE49-F238E27FC236}">
                <a16:creationId xmlns:a16="http://schemas.microsoft.com/office/drawing/2014/main" id="{8D0EC113-20C8-0445-B4D9-812CEA97220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33238" y="1367247"/>
            <a:ext cx="6902135" cy="4123508"/>
          </a:xfrm>
          <a:prstGeom prst="roundRect">
            <a:avLst>
              <a:gd name="adj" fmla="val 1813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49">
              <a:buNone/>
            </a:pPr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4355238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2" orient="horz" pos="1488">
          <p15:clr>
            <a:srgbClr val="A4A3A4"/>
          </p15:clr>
        </p15:guide>
        <p15:guide id="3" orient="horz" pos="1584">
          <p15:clr>
            <a:srgbClr val="A4A3A4"/>
          </p15:clr>
        </p15:guide>
      </p15:sldGuideLst>
    </p:ext>
  </p:extLs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Tablet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6EE0FED-0F8F-1D4B-BDC6-134B0FE8D3AF}"/>
              </a:ext>
            </a:extLst>
          </p:cNvPr>
          <p:cNvSpPr/>
          <p:nvPr/>
        </p:nvSpPr>
        <p:spPr>
          <a:xfrm>
            <a:off x="3429001" y="0"/>
            <a:ext cx="8763001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00FA166-5D3F-4D89-9646-F16A985660E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1" y="2514601"/>
            <a:ext cx="25527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D5EF8DF4-D66B-4316-8BD1-64264C11AF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E9CD8F1-BCCB-4886-9A5C-6DBC2AED36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609600"/>
            <a:ext cx="25527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title style</a:t>
            </a:r>
          </a:p>
        </p:txBody>
      </p:sp>
      <p:sp>
        <p:nvSpPr>
          <p:cNvPr id="25" name="Rounded Rectangle 24">
            <a:extLst>
              <a:ext uri="{FF2B5EF4-FFF2-40B4-BE49-F238E27FC236}">
                <a16:creationId xmlns:a16="http://schemas.microsoft.com/office/drawing/2014/main" id="{8F62C22D-7C45-2943-966E-FBA4298047A1}"/>
              </a:ext>
            </a:extLst>
          </p:cNvPr>
          <p:cNvSpPr/>
          <p:nvPr/>
        </p:nvSpPr>
        <p:spPr>
          <a:xfrm>
            <a:off x="4727643" y="1015568"/>
            <a:ext cx="6113264" cy="4699192"/>
          </a:xfrm>
          <a:prstGeom prst="roundRect">
            <a:avLst>
              <a:gd name="adj" fmla="val 5660"/>
            </a:avLst>
          </a:prstGeom>
          <a:solidFill>
            <a:srgbClr val="262626"/>
          </a:solidFill>
          <a:ln>
            <a:noFill/>
          </a:ln>
          <a:effectLst>
            <a:outerShdw blurRad="218804" dist="106605" dir="2220000" sx="99000" sy="99000" algn="ctr" rotWithShape="0">
              <a:schemeClr val="bg1">
                <a:alpha val="3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26" name="Picture Placeholder 2">
            <a:extLst>
              <a:ext uri="{FF2B5EF4-FFF2-40B4-BE49-F238E27FC236}">
                <a16:creationId xmlns:a16="http://schemas.microsoft.com/office/drawing/2014/main" id="{4D30945C-DF7E-8D49-8751-AB00D76B8702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876800" y="1170241"/>
            <a:ext cx="5815011" cy="4386184"/>
          </a:xfrm>
          <a:prstGeom prst="roundRect">
            <a:avLst>
              <a:gd name="adj" fmla="val 2700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49">
              <a:buNone/>
            </a:pPr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25823556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2" orient="horz" pos="1488">
          <p15:clr>
            <a:srgbClr val="A4A3A4"/>
          </p15:clr>
        </p15:guide>
        <p15:guide id="3" orient="horz" pos="1584">
          <p15:clr>
            <a:srgbClr val="A4A3A4"/>
          </p15:clr>
        </p15:guide>
      </p15:sldGuideLst>
    </p:ext>
  </p:extLs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Tablet Portra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97389CA-AA00-4146-B54D-B32C999B76FE}"/>
              </a:ext>
            </a:extLst>
          </p:cNvPr>
          <p:cNvSpPr/>
          <p:nvPr/>
        </p:nvSpPr>
        <p:spPr>
          <a:xfrm>
            <a:off x="4991101" y="0"/>
            <a:ext cx="72009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E8B3C47-863B-4574-B144-B549D7CCFA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3852A25-25D6-4B6B-902F-93AEC433B73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1"/>
            <a:ext cx="38100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CC6C67FE-13C1-4F4C-8B7C-A596738753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609600"/>
            <a:ext cx="38100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title style</a:t>
            </a:r>
          </a:p>
        </p:txBody>
      </p:sp>
      <p:sp>
        <p:nvSpPr>
          <p:cNvPr id="17" name="Rounded Rectangle 16">
            <a:extLst>
              <a:ext uri="{FF2B5EF4-FFF2-40B4-BE49-F238E27FC236}">
                <a16:creationId xmlns:a16="http://schemas.microsoft.com/office/drawing/2014/main" id="{8039185F-7095-D049-97FC-BFF7D62AF8EE}"/>
              </a:ext>
            </a:extLst>
          </p:cNvPr>
          <p:cNvSpPr/>
          <p:nvPr/>
        </p:nvSpPr>
        <p:spPr>
          <a:xfrm>
            <a:off x="6575061" y="681135"/>
            <a:ext cx="4052427" cy="5314980"/>
          </a:xfrm>
          <a:prstGeom prst="roundRect">
            <a:avLst>
              <a:gd name="adj" fmla="val 5940"/>
            </a:avLst>
          </a:prstGeom>
          <a:solidFill>
            <a:srgbClr val="262626"/>
          </a:solidFill>
          <a:ln>
            <a:noFill/>
          </a:ln>
          <a:effectLst>
            <a:outerShdw blurRad="218804" dist="106605" dir="2220000" sx="99000" sy="99000" algn="ctr" rotWithShape="0">
              <a:schemeClr val="bg1">
                <a:alpha val="3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18" name="Picture Placeholder 2">
            <a:extLst>
              <a:ext uri="{FF2B5EF4-FFF2-40B4-BE49-F238E27FC236}">
                <a16:creationId xmlns:a16="http://schemas.microsoft.com/office/drawing/2014/main" id="{E032F884-63EC-C749-AC32-E47F61798E5C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723213" y="831275"/>
            <a:ext cx="3756127" cy="5014700"/>
          </a:xfrm>
          <a:prstGeom prst="roundRect">
            <a:avLst>
              <a:gd name="adj" fmla="val 2134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49">
              <a:buNone/>
            </a:pPr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34497200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Quarterly-Plan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88427184-4D4B-2842-98CC-0D13D99CD8BE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563905" y="3131640"/>
            <a:ext cx="2552092" cy="63196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spcBef>
                <a:spcPts val="0"/>
              </a:spcBef>
              <a:buNone/>
              <a:defRPr sz="4267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Q1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A3B11FAB-FB94-FE47-98B7-C4E703DCE021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3389550" y="3131640"/>
            <a:ext cx="2552092" cy="63196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spcBef>
                <a:spcPts val="0"/>
              </a:spcBef>
              <a:buNone/>
              <a:defRPr sz="4267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Q2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4F5FE934-EAAA-2544-B7A7-0D9F568038D5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6230186" y="3131640"/>
            <a:ext cx="2552092" cy="63196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spcBef>
                <a:spcPts val="0"/>
              </a:spcBef>
              <a:buNone/>
              <a:defRPr sz="4267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Q3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50C5B955-9C7B-6947-9744-010C19BBB567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9055831" y="3131640"/>
            <a:ext cx="2552092" cy="63196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spcBef>
                <a:spcPts val="0"/>
              </a:spcBef>
              <a:buNone/>
              <a:defRPr sz="4267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Q4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DA111987-1B3E-4A88-9CE0-11B85B6A696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751101"/>
            <a:ext cx="2552092" cy="52451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CB765974-5A94-44D1-BEFA-32064162636B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8" y="3751101"/>
            <a:ext cx="2552092" cy="52451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2DCDDD54-163E-4B72-AC0A-9025AE8ED3A2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751101"/>
            <a:ext cx="2552092" cy="52451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633A5AB9-6304-4852-84C2-13EE0655D16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751101"/>
            <a:ext cx="2552092" cy="52451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9" name="Title Placeholder 1">
            <a:extLst>
              <a:ext uri="{FF2B5EF4-FFF2-40B4-BE49-F238E27FC236}">
                <a16:creationId xmlns:a16="http://schemas.microsoft.com/office/drawing/2014/main" id="{4EAFF05D-F126-4F6F-BC7A-D37D2D819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524436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Quarterly planning headline here</a:t>
            </a:r>
          </a:p>
        </p:txBody>
      </p:sp>
      <p:sp>
        <p:nvSpPr>
          <p:cNvPr id="42" name="Slide Number Placeholder 4">
            <a:extLst>
              <a:ext uri="{FF2B5EF4-FFF2-40B4-BE49-F238E27FC236}">
                <a16:creationId xmlns:a16="http://schemas.microsoft.com/office/drawing/2014/main" id="{B0C4E4CC-F4EF-41B1-859A-BEB4889102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5150659-4B06-4B5C-AEAE-D63AB44A0A0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63902" y="4442820"/>
            <a:ext cx="2552095" cy="162876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E905DCE-53B2-44BC-A04D-E154A3AAD85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13562" y="4442820"/>
            <a:ext cx="2552095" cy="162876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D54CEA9-0F8B-43FF-86F1-30D0A263E4D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47251" y="4442820"/>
            <a:ext cx="2552095" cy="162876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A21997B-0FCE-4F0F-9413-09FF3CABCAF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96911" y="4442820"/>
            <a:ext cx="2552095" cy="162876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CFF6099-0DAF-43E0-A2BE-4FC739C1BE3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BF218AE5-98EE-4C23-93DE-5E0E691847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67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7191764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5F55B17-88C3-D348-889E-49139B7173C6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4AE6AC6C-422E-43F2-83DB-CC011DBDD8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C55F65A-E884-4545-813B-8B12A150F0E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1"/>
            <a:ext cx="47244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C7E4F0C-628A-4B9F-8B0B-ACF8C8FB35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47244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title style</a:t>
            </a:r>
          </a:p>
        </p:txBody>
      </p:sp>
      <p:sp>
        <p:nvSpPr>
          <p:cNvPr id="16" name="Rounded Rectangle 15">
            <a:extLst>
              <a:ext uri="{FF2B5EF4-FFF2-40B4-BE49-F238E27FC236}">
                <a16:creationId xmlns:a16="http://schemas.microsoft.com/office/drawing/2014/main" id="{6FF90C28-67B9-1E49-AC7E-EF109D7D3A43}"/>
              </a:ext>
            </a:extLst>
          </p:cNvPr>
          <p:cNvSpPr/>
          <p:nvPr/>
        </p:nvSpPr>
        <p:spPr>
          <a:xfrm>
            <a:off x="7699814" y="478003"/>
            <a:ext cx="2895300" cy="5901995"/>
          </a:xfrm>
          <a:prstGeom prst="roundRect">
            <a:avLst>
              <a:gd name="adj" fmla="val 11930"/>
            </a:avLst>
          </a:prstGeom>
          <a:solidFill>
            <a:srgbClr val="262626"/>
          </a:solidFill>
          <a:ln>
            <a:noFill/>
          </a:ln>
          <a:effectLst>
            <a:outerShdw blurRad="218804" dist="106605" dir="2220000" sx="99000" sy="99000" algn="ctr" rotWithShape="0">
              <a:schemeClr val="bg1">
                <a:alpha val="35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17" name="Picture Placeholder 2">
            <a:extLst>
              <a:ext uri="{FF2B5EF4-FFF2-40B4-BE49-F238E27FC236}">
                <a16:creationId xmlns:a16="http://schemas.microsoft.com/office/drawing/2014/main" id="{C15CA0BD-F8C5-A84E-939A-8F74A46BD59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854197" y="621958"/>
            <a:ext cx="2586531" cy="5614087"/>
          </a:xfrm>
          <a:prstGeom prst="roundRect">
            <a:avLst>
              <a:gd name="adj" fmla="val 9942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49">
              <a:buNone/>
            </a:pPr>
            <a:r>
              <a:rPr lang="en-US"/>
              <a:t>Insert image</a:t>
            </a:r>
          </a:p>
        </p:txBody>
      </p:sp>
    </p:spTree>
    <p:extLst>
      <p:ext uri="{BB962C8B-B14F-4D97-AF65-F5344CB8AC3E}">
        <p14:creationId xmlns:p14="http://schemas.microsoft.com/office/powerpoint/2010/main" val="12216415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wo Data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7848779" y="3506728"/>
            <a:ext cx="3769708" cy="689420"/>
          </a:xfrm>
        </p:spPr>
        <p:txBody>
          <a:bodyPr wrap="square" anchor="b" anchorCtr="0">
            <a:spAutoFit/>
          </a:bodyPr>
          <a:lstStyle>
            <a:lvl1pPr>
              <a:defRPr lang="en-US" sz="4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847689" y="4298129"/>
            <a:ext cx="3772811" cy="1242697"/>
          </a:xfrm>
        </p:spPr>
        <p:txBody>
          <a:bodyPr/>
          <a:lstStyle>
            <a:lvl1pPr>
              <a:spcAft>
                <a:spcPts val="300"/>
              </a:spcAft>
              <a:defRPr lang="en-US" sz="24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7848601" y="1930781"/>
            <a:ext cx="3771900" cy="1242697"/>
          </a:xfrm>
        </p:spPr>
        <p:txBody>
          <a:bodyPr/>
          <a:lstStyle>
            <a:lvl1pPr>
              <a:spcAft>
                <a:spcPts val="300"/>
              </a:spcAft>
              <a:defRPr sz="2400">
                <a:latin typeface="+mj-lt"/>
              </a:defRPr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7848601" y="1213248"/>
            <a:ext cx="3771900" cy="615553"/>
          </a:xfrm>
        </p:spPr>
        <p:txBody>
          <a:bodyPr wrap="square" anchor="b" anchorCtr="0">
            <a:spAutoFit/>
          </a:bodyPr>
          <a:lstStyle>
            <a:lvl1pPr>
              <a:defRPr sz="40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XX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E4E13D-43FB-4287-8055-FE35994AA77F}"/>
              </a:ext>
            </a:extLst>
          </p:cNvPr>
          <p:cNvCxnSpPr>
            <a:cxnSpLocks/>
          </p:cNvCxnSpPr>
          <p:nvPr/>
        </p:nvCxnSpPr>
        <p:spPr>
          <a:xfrm>
            <a:off x="7847934" y="1066800"/>
            <a:ext cx="3780167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F04E06-6C46-46FE-9956-F0E8ED6633DF}"/>
              </a:ext>
            </a:extLst>
          </p:cNvPr>
          <p:cNvCxnSpPr>
            <a:cxnSpLocks/>
          </p:cNvCxnSpPr>
          <p:nvPr/>
        </p:nvCxnSpPr>
        <p:spPr>
          <a:xfrm>
            <a:off x="7847934" y="3429000"/>
            <a:ext cx="3780167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414493C8-3418-4410-BB03-4585076B5A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652CDCF-A770-46B4-8121-F76B79BBD16B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BC8C455-2242-44E3-A715-51CE102AB98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1" y="2514601"/>
            <a:ext cx="53721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C222245D-C3A3-4396-926D-88ECBE5C8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53721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23394998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Four Data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067269" y="3506728"/>
            <a:ext cx="2551216" cy="689420"/>
          </a:xfrm>
        </p:spPr>
        <p:txBody>
          <a:bodyPr wrap="square" anchor="b" anchorCtr="0">
            <a:spAutoFit/>
          </a:bodyPr>
          <a:lstStyle>
            <a:lvl1pPr>
              <a:defRPr lang="en-US" sz="4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9067185" y="4298129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9067801" y="1778381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067801" y="1060848"/>
            <a:ext cx="2552700" cy="615553"/>
          </a:xfrm>
        </p:spPr>
        <p:txBody>
          <a:bodyPr wrap="square" anchor="b" anchorCtr="0">
            <a:spAutoFit/>
          </a:bodyPr>
          <a:lstStyle>
            <a:lvl1pPr>
              <a:defRPr sz="40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XX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E4E13D-43FB-4287-8055-FE35994AA77F}"/>
              </a:ext>
            </a:extLst>
          </p:cNvPr>
          <p:cNvCxnSpPr>
            <a:cxnSpLocks/>
          </p:cNvCxnSpPr>
          <p:nvPr/>
        </p:nvCxnSpPr>
        <p:spPr>
          <a:xfrm>
            <a:off x="9069806" y="9144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F04E06-6C46-46FE-9956-F0E8ED6633DF}"/>
              </a:ext>
            </a:extLst>
          </p:cNvPr>
          <p:cNvCxnSpPr>
            <a:cxnSpLocks/>
          </p:cNvCxnSpPr>
          <p:nvPr/>
        </p:nvCxnSpPr>
        <p:spPr>
          <a:xfrm>
            <a:off x="9069806" y="342899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13425D7-1452-4F87-AE64-7C2F048C2469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248485" y="3506728"/>
            <a:ext cx="2551216" cy="689420"/>
          </a:xfrm>
        </p:spPr>
        <p:txBody>
          <a:bodyPr wrap="square" anchor="b" anchorCtr="0">
            <a:spAutoFit/>
          </a:bodyPr>
          <a:lstStyle>
            <a:lvl1pPr>
              <a:defRPr lang="en-US" sz="4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806E283-8E77-44C1-84BC-00B971D42EBD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248401" y="4298129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BDD5CD07-CCF1-451E-8B13-2BE3821C220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249017" y="1778386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sz="1600">
                <a:latin typeface="+mj-lt"/>
              </a:defRPr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DD3D7F-C0BF-415A-9378-D8759CED06B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9017" y="1060853"/>
            <a:ext cx="2552700" cy="615553"/>
          </a:xfrm>
        </p:spPr>
        <p:txBody>
          <a:bodyPr wrap="square" anchor="b" anchorCtr="0">
            <a:spAutoFit/>
          </a:bodyPr>
          <a:lstStyle>
            <a:lvl1pPr>
              <a:defRPr sz="40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XX%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B67A14D-E25C-4D75-8D2E-0D450CE9656D}"/>
              </a:ext>
            </a:extLst>
          </p:cNvPr>
          <p:cNvCxnSpPr>
            <a:cxnSpLocks/>
          </p:cNvCxnSpPr>
          <p:nvPr/>
        </p:nvCxnSpPr>
        <p:spPr>
          <a:xfrm>
            <a:off x="6251020" y="91440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9FFCD6B-6781-45B9-A0FF-441B99A220B5}"/>
              </a:ext>
            </a:extLst>
          </p:cNvPr>
          <p:cNvCxnSpPr>
            <a:cxnSpLocks/>
          </p:cNvCxnSpPr>
          <p:nvPr/>
        </p:nvCxnSpPr>
        <p:spPr>
          <a:xfrm>
            <a:off x="6251020" y="34290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12C73FE7-56E8-42D5-818A-03C740681C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8239EE2-4739-4DF9-A78C-6994DD9D6E29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8EBC35A6-C3F6-4CAA-B6FE-77A0C0F6904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1" y="2514601"/>
            <a:ext cx="53721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367F26D2-980E-498C-9B01-AEF3F1821C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53721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title style</a:t>
            </a:r>
          </a:p>
        </p:txBody>
      </p:sp>
    </p:spTree>
    <p:extLst>
      <p:ext uri="{BB962C8B-B14F-4D97-AF65-F5344CB8AC3E}">
        <p14:creationId xmlns:p14="http://schemas.microsoft.com/office/powerpoint/2010/main" val="27743135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ea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7" name="Picture Placeholder 2">
            <a:extLst>
              <a:ext uri="{FF2B5EF4-FFF2-40B4-BE49-F238E27FC236}">
                <a16:creationId xmlns:a16="http://schemas.microsoft.com/office/drawing/2014/main" id="{323133DF-7BD6-514D-BEB7-88A3F593064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803160" y="914401"/>
            <a:ext cx="6603168" cy="5295900"/>
          </a:xfrm>
          <a:prstGeom prst="rect">
            <a:avLst/>
          </a:prstGeom>
          <a:solidFill>
            <a:srgbClr val="121212"/>
          </a:solidFill>
        </p:spPr>
        <p:txBody>
          <a:bodyPr anchor="t" anchorCtr="0">
            <a:noAutofit/>
          </a:bodyPr>
          <a:lstStyle>
            <a:lvl1pPr marL="0" indent="0" algn="ctr">
              <a:buNone/>
              <a:defRPr sz="2509" spc="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27" name="Text Placeholder 5">
            <a:extLst>
              <a:ext uri="{FF2B5EF4-FFF2-40B4-BE49-F238E27FC236}">
                <a16:creationId xmlns:a16="http://schemas.microsoft.com/office/drawing/2014/main" id="{A2C6815B-F25D-4FB8-A5B2-8C120A8430E3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5129" y="1676401"/>
            <a:ext cx="1901372" cy="800099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E3D3A1F5-B3FB-4DAD-8501-E8B08F8FBBE5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575129" y="1337628"/>
            <a:ext cx="1901372" cy="246221"/>
          </a:xfrm>
        </p:spPr>
        <p:txBody>
          <a:bodyPr wrap="square" anchor="t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37" name="Text Placeholder 5">
            <a:extLst>
              <a:ext uri="{FF2B5EF4-FFF2-40B4-BE49-F238E27FC236}">
                <a16:creationId xmlns:a16="http://schemas.microsoft.com/office/drawing/2014/main" id="{4F3FC5E1-11E3-4A29-B448-36F606A1DD72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575129" y="3286585"/>
            <a:ext cx="1901372" cy="800099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5BABFD98-27DB-4A98-A530-907CFCD67D52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575129" y="2937828"/>
            <a:ext cx="1901372" cy="246221"/>
          </a:xfrm>
        </p:spPr>
        <p:txBody>
          <a:bodyPr wrap="square" anchor="t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0" name="Text Placeholder 5">
            <a:extLst>
              <a:ext uri="{FF2B5EF4-FFF2-40B4-BE49-F238E27FC236}">
                <a16:creationId xmlns:a16="http://schemas.microsoft.com/office/drawing/2014/main" id="{91B94912-A095-46D8-B475-7D14C4A4D493}"/>
              </a:ext>
            </a:extLst>
          </p:cNvPr>
          <p:cNvSpPr>
            <a:spLocks noGrp="1"/>
          </p:cNvSpPr>
          <p:nvPr>
            <p:ph type="body" sz="quarter" idx="73"/>
          </p:nvPr>
        </p:nvSpPr>
        <p:spPr>
          <a:xfrm>
            <a:off x="575129" y="4884308"/>
            <a:ext cx="1901372" cy="800099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2">
            <a:extLst>
              <a:ext uri="{FF2B5EF4-FFF2-40B4-BE49-F238E27FC236}">
                <a16:creationId xmlns:a16="http://schemas.microsoft.com/office/drawing/2014/main" id="{CB0FCE86-9DE6-4ACA-BEA2-7D0E7A7043DD}"/>
              </a:ext>
            </a:extLst>
          </p:cNvPr>
          <p:cNvSpPr>
            <a:spLocks noGrp="1"/>
          </p:cNvSpPr>
          <p:nvPr>
            <p:ph type="body" sz="quarter" idx="74" hasCustomPrompt="1"/>
          </p:nvPr>
        </p:nvSpPr>
        <p:spPr>
          <a:xfrm>
            <a:off x="575129" y="4534512"/>
            <a:ext cx="1901372" cy="246221"/>
          </a:xfrm>
        </p:spPr>
        <p:txBody>
          <a:bodyPr wrap="square" anchor="t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3" name="Text Placeholder 5">
            <a:extLst>
              <a:ext uri="{FF2B5EF4-FFF2-40B4-BE49-F238E27FC236}">
                <a16:creationId xmlns:a16="http://schemas.microsoft.com/office/drawing/2014/main" id="{ACAE389D-4DB8-4A87-8DB7-6A40E505504C}"/>
              </a:ext>
            </a:extLst>
          </p:cNvPr>
          <p:cNvSpPr>
            <a:spLocks noGrp="1"/>
          </p:cNvSpPr>
          <p:nvPr>
            <p:ph type="body" sz="quarter" idx="75"/>
          </p:nvPr>
        </p:nvSpPr>
        <p:spPr>
          <a:xfrm>
            <a:off x="9717315" y="1677440"/>
            <a:ext cx="1901372" cy="800099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304526EE-39A8-42A9-8B14-951E99FC0D79}"/>
              </a:ext>
            </a:extLst>
          </p:cNvPr>
          <p:cNvSpPr>
            <a:spLocks noGrp="1"/>
          </p:cNvSpPr>
          <p:nvPr>
            <p:ph type="body" sz="quarter" idx="76" hasCustomPrompt="1"/>
          </p:nvPr>
        </p:nvSpPr>
        <p:spPr>
          <a:xfrm>
            <a:off x="9717315" y="1338668"/>
            <a:ext cx="1901372" cy="246221"/>
          </a:xfrm>
        </p:spPr>
        <p:txBody>
          <a:bodyPr wrap="square" anchor="t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5" name="Text Placeholder 5">
            <a:extLst>
              <a:ext uri="{FF2B5EF4-FFF2-40B4-BE49-F238E27FC236}">
                <a16:creationId xmlns:a16="http://schemas.microsoft.com/office/drawing/2014/main" id="{AE17BDD6-5D8A-41F9-8EED-B1F52BC6F0BA}"/>
              </a:ext>
            </a:extLst>
          </p:cNvPr>
          <p:cNvSpPr>
            <a:spLocks noGrp="1"/>
          </p:cNvSpPr>
          <p:nvPr>
            <p:ph type="body" sz="quarter" idx="77"/>
          </p:nvPr>
        </p:nvSpPr>
        <p:spPr>
          <a:xfrm>
            <a:off x="9717315" y="3287625"/>
            <a:ext cx="1901372" cy="800099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6" name="Text Placeholder 2">
            <a:extLst>
              <a:ext uri="{FF2B5EF4-FFF2-40B4-BE49-F238E27FC236}">
                <a16:creationId xmlns:a16="http://schemas.microsoft.com/office/drawing/2014/main" id="{BD6C943B-DC67-46A3-A209-4925548303D3}"/>
              </a:ext>
            </a:extLst>
          </p:cNvPr>
          <p:cNvSpPr>
            <a:spLocks noGrp="1"/>
          </p:cNvSpPr>
          <p:nvPr>
            <p:ph type="body" sz="quarter" idx="78" hasCustomPrompt="1"/>
          </p:nvPr>
        </p:nvSpPr>
        <p:spPr>
          <a:xfrm>
            <a:off x="9717315" y="2938868"/>
            <a:ext cx="1901372" cy="246221"/>
          </a:xfrm>
        </p:spPr>
        <p:txBody>
          <a:bodyPr wrap="square" anchor="t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57" name="Text Placeholder 5">
            <a:extLst>
              <a:ext uri="{FF2B5EF4-FFF2-40B4-BE49-F238E27FC236}">
                <a16:creationId xmlns:a16="http://schemas.microsoft.com/office/drawing/2014/main" id="{2DD0A6E6-7217-4CA9-B8AD-DE8CD1BE8D88}"/>
              </a:ext>
            </a:extLst>
          </p:cNvPr>
          <p:cNvSpPr>
            <a:spLocks noGrp="1"/>
          </p:cNvSpPr>
          <p:nvPr>
            <p:ph type="body" sz="quarter" idx="79"/>
          </p:nvPr>
        </p:nvSpPr>
        <p:spPr>
          <a:xfrm>
            <a:off x="9717315" y="4884308"/>
            <a:ext cx="1901372" cy="800099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E0EEB87A-E2A9-4F6E-A9BF-99389EA9D735}"/>
              </a:ext>
            </a:extLst>
          </p:cNvPr>
          <p:cNvSpPr>
            <a:spLocks noGrp="1"/>
          </p:cNvSpPr>
          <p:nvPr>
            <p:ph type="body" sz="quarter" idx="80" hasCustomPrompt="1"/>
          </p:nvPr>
        </p:nvSpPr>
        <p:spPr>
          <a:xfrm>
            <a:off x="9717315" y="4535551"/>
            <a:ext cx="1901372" cy="246221"/>
          </a:xfrm>
        </p:spPr>
        <p:txBody>
          <a:bodyPr wrap="square" anchor="t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text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4E8EA484-BEB3-4E97-8703-06A3D85D61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9D829AE-DC62-4440-B780-EBAB901AC0E0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407054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C865750-8F0C-6B4A-A308-228D6B53EE0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1"/>
            <a:ext cx="7239000" cy="21544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254B061-C071-4247-8356-D55F1F50C5D6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2"/>
            <a:ext cx="7239000" cy="18466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8E7470-A9D2-4756-B67E-9B25728B0E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594" indent="-457189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68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AF4BA1F4-B51F-43B9-BB5B-BF3A6CFF800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E2BE28-CF01-49D3-AF0B-092C5B9F5DD1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8508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3CF4D5D8-BD86-4A59-A49A-CC44295EC6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6A164E9-1234-4BC2-B8E7-F3047AC35998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9BFEE4A-F2C6-4F21-8071-313D1B3C613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1"/>
            <a:ext cx="7239000" cy="21544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361C734-A636-4E0E-A708-B9C530351863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2"/>
            <a:ext cx="7239000" cy="18466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DDA5770-9471-B746-BDC8-3306A09120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594" indent="-457189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68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</p:spTree>
    <p:extLst>
      <p:ext uri="{BB962C8B-B14F-4D97-AF65-F5344CB8AC3E}">
        <p14:creationId xmlns:p14="http://schemas.microsoft.com/office/powerpoint/2010/main" val="11254289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DF60AD67-D5E4-438D-BC4B-1DE6B0688A8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89CBA9FE-67A6-43C6-8EE8-C7E8559F1DB7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1486C46-F4F9-421A-A39F-3E52A938244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1"/>
            <a:ext cx="7239000" cy="21544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BE82382-DE4E-4A48-A33B-C56A93877509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2"/>
            <a:ext cx="7239000" cy="18466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FAB8C5-AE86-9F4C-A87D-A5551D4E663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594" indent="-457189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68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</p:spTree>
    <p:extLst>
      <p:ext uri="{BB962C8B-B14F-4D97-AF65-F5344CB8AC3E}">
        <p14:creationId xmlns:p14="http://schemas.microsoft.com/office/powerpoint/2010/main" val="34009115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3F40CCC7-D537-4FB4-B366-622F4AD808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41C625C8-55F7-42AB-8D8D-C82E654BC331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D0186643-EF92-49AB-B9EF-F60B91CE51F2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1"/>
            <a:ext cx="7239000" cy="21544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79F60B38-DDF4-4AEE-AF0D-7CCB700281A7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2"/>
            <a:ext cx="7239000" cy="18466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09A891F-DADF-8F49-BA2B-2DA9C580F4A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594" indent="-457189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68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</p:spTree>
    <p:extLst>
      <p:ext uri="{BB962C8B-B14F-4D97-AF65-F5344CB8AC3E}">
        <p14:creationId xmlns:p14="http://schemas.microsoft.com/office/powerpoint/2010/main" val="10819512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-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2B69982-B253-4DE6-9C5E-FB93C3A27F4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22572" y="4880810"/>
            <a:ext cx="6145427" cy="24128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lang="en-US" sz="1400" b="0" i="0" kern="0" spc="0" baseline="0" dirty="0">
                <a:solidFill>
                  <a:schemeClr val="tx1"/>
                </a:solidFill>
                <a:latin typeface="CiscoSansTT Medium" panose="020B0903020201020303" pitchFamily="34" charset="0"/>
                <a:ea typeface="+mn-ea"/>
                <a:cs typeface="CiscoSansTT Medium" panose="020B09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Insert name her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46ED238B-31FF-436C-9838-14BADBEE1071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3429001" y="4648201"/>
            <a:ext cx="952500" cy="952500"/>
          </a:xfrm>
          <a:prstGeom prst="ellipse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67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13AA95C-29B9-4045-B598-AA928D1B9666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4522572" y="5225970"/>
            <a:ext cx="6145427" cy="206851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lang="en-US" sz="12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Job title, company, location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250445FA-EEE1-4137-AB6F-26D4A3DB4B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C98AB57-B534-43CE-8598-7264AC2F5F2D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FB38577-29E6-6546-851F-B5859A13FFB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594" indent="-457189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68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</p:spTree>
    <p:extLst>
      <p:ext uri="{BB962C8B-B14F-4D97-AF65-F5344CB8AC3E}">
        <p14:creationId xmlns:p14="http://schemas.microsoft.com/office/powerpoint/2010/main" val="20023822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054F9D6-4889-4D51-9ADF-D453DFF1E8E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96465F4-B55E-463E-9A4A-F93B1EE9FD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6809" y="6364638"/>
            <a:ext cx="503671" cy="22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80496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480C16A7-AC87-3041-BFCA-5BAE809929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63903" y="2518229"/>
            <a:ext cx="2552092" cy="1294891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US" sz="2509" spc="-96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302676" lvl="0" indent="-302676" algn="ctr"/>
            <a:r>
              <a:rPr lang="en-US"/>
              <a:t>Insert image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8AFA0CDB-F372-1847-ACE3-8F2552F32E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01446" y="2518229"/>
            <a:ext cx="2552092" cy="1294891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US" sz="2509" spc="-96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302676" lvl="0" indent="-302676" algn="ctr"/>
            <a:r>
              <a:rPr lang="en-US"/>
              <a:t>Insert imag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2CEDA4E7-FEF8-A844-BD5D-9125501BED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246246" y="2518229"/>
            <a:ext cx="2552092" cy="1294891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US" sz="2509" spc="-96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302676" lvl="0" indent="-302676" algn="ctr"/>
            <a:r>
              <a:rPr lang="en-US"/>
              <a:t>Insert imag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0C5331F0-DC53-014A-AC10-09442296B48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076533" y="2518229"/>
            <a:ext cx="2552092" cy="1294891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 marL="0" indent="0">
              <a:buNone/>
              <a:defRPr lang="en-US" sz="2509" spc="-96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302676" lvl="0" indent="-302676" algn="ctr"/>
            <a:r>
              <a:rPr lang="en-US"/>
              <a:t>Insert imag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857640"/>
            <a:ext cx="2552092" cy="43638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35F796C-3FA3-4D4C-9E57-306772BBFEB7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8" y="3857640"/>
            <a:ext cx="2552092" cy="43638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3094BC0-195B-294A-B09B-12005D172A0C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857640"/>
            <a:ext cx="2552092" cy="43638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A941269-22F0-1B4D-A516-00DAC2E11BF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857640"/>
            <a:ext cx="2552092" cy="43638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E71F9B75-2801-4E3B-A4AF-EE2F5428DF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478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mages</a:t>
            </a:r>
          </a:p>
        </p:txBody>
      </p:sp>
      <p:sp>
        <p:nvSpPr>
          <p:cNvPr id="40" name="Slide Number Placeholder 4">
            <a:extLst>
              <a:ext uri="{FF2B5EF4-FFF2-40B4-BE49-F238E27FC236}">
                <a16:creationId xmlns:a16="http://schemas.microsoft.com/office/drawing/2014/main" id="{C287D7C0-FDBF-4DC2-A5AD-21F027C218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B282261E-4BBB-4DDF-A272-64831DF6A48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63902" y="4479689"/>
            <a:ext cx="2552095" cy="169843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35DF58A1-C9DA-4098-A483-3AF5EEE2823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13562" y="4479689"/>
            <a:ext cx="2552095" cy="169843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506F507-8135-47B0-B749-1ECA83F7A4C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47251" y="4479689"/>
            <a:ext cx="2552095" cy="169843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D835D938-BABF-448A-911C-81BC403D164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96911" y="4479689"/>
            <a:ext cx="2552095" cy="1698433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91F740F-284B-4B91-944E-3E248D56447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45924221-968B-489A-B12E-3DB03CF53A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3884923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-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20F9E4-16CA-4B30-ADCC-BD4809B439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0FB953B-93BA-45FD-AD0D-5A607DEF5ABD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5964755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6" y="6431692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92773B-7150-44D2-AFDB-DE60A8A0F625}"/>
              </a:ext>
            </a:extLst>
          </p:cNvPr>
          <p:cNvSpPr/>
          <p:nvPr/>
        </p:nvSpPr>
        <p:spPr>
          <a:xfrm>
            <a:off x="304800" y="6414274"/>
            <a:ext cx="2819400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pic>
        <p:nvPicPr>
          <p:cNvPr id="2" name="Picture 1" descr="A black and white logo&#10;&#10;Description automatically generated">
            <a:extLst>
              <a:ext uri="{FF2B5EF4-FFF2-40B4-BE49-F238E27FC236}">
                <a16:creationId xmlns:a16="http://schemas.microsoft.com/office/drawing/2014/main" id="{BD331E5D-3242-D851-2010-1FA5EF23114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32668" y="2552700"/>
            <a:ext cx="3326663" cy="1752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12017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1B612A0-3EA5-FC80-F513-4D6E4F71126D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7441602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8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8" y="990604"/>
            <a:ext cx="11080025" cy="127000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F82149-F45F-43B8-A3A4-A806FF41D82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iscoSansTT Light"/>
              <a:ea typeface="+mn-ea"/>
              <a:cs typeface="+mn-cs"/>
            </a:endParaRP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3568727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8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D667F840-8562-40AC-BE3D-8404AB46E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3984B84-E026-4120-A200-04C1B3AFF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3ADC711-D282-4C9D-AD92-4B5C00C5CDD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8531782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71501" y="4604925"/>
            <a:ext cx="7277100" cy="511087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571501" y="5248892"/>
            <a:ext cx="7277100" cy="950523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0"/>
            <a:ext cx="7277100" cy="2667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6667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1" y="3431818"/>
            <a:ext cx="7277099" cy="105020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2667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C5784175-C811-4384-815B-F3763C6C330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33354" y="6061499"/>
            <a:ext cx="1633196" cy="499323"/>
          </a:xfrm>
          <a:prstGeom prst="rect">
            <a:avLst/>
          </a:prstGeom>
        </p:spPr>
      </p:pic>
      <p:sp useBgFill="1">
        <p:nvSpPr>
          <p:cNvPr id="2" name="Rectangle 1">
            <a:extLst>
              <a:ext uri="{FF2B5EF4-FFF2-40B4-BE49-F238E27FC236}">
                <a16:creationId xmlns:a16="http://schemas.microsoft.com/office/drawing/2014/main" id="{BCDFB7EC-1392-D7C8-3CE6-E330A3CCB923}"/>
              </a:ext>
            </a:extLst>
          </p:cNvPr>
          <p:cNvSpPr/>
          <p:nvPr/>
        </p:nvSpPr>
        <p:spPr>
          <a:xfrm>
            <a:off x="571501" y="6332295"/>
            <a:ext cx="2855190" cy="3271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543387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6" y="6431692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92773B-7150-44D2-AFDB-DE60A8A0F625}"/>
              </a:ext>
            </a:extLst>
          </p:cNvPr>
          <p:cNvSpPr/>
          <p:nvPr/>
        </p:nvSpPr>
        <p:spPr>
          <a:xfrm>
            <a:off x="304800" y="6414274"/>
            <a:ext cx="2819400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D6BBC4DA-0B82-4DC4-A56E-D13F5D8076D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600575" y="2324100"/>
            <a:ext cx="2990851" cy="2209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37240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8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9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7" y="990604"/>
            <a:ext cx="5471387" cy="127000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marL="0" algn="l" defTabSz="88212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i="0" kern="100" spc="-133" baseline="0" dirty="0">
                <a:solidFill>
                  <a:srgbClr val="121212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2E1E7C4-6F1A-6123-7FD2-CA229A820B2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58801" y="2260602"/>
            <a:ext cx="5006792" cy="3858843"/>
          </a:xfrm>
        </p:spPr>
        <p:txBody>
          <a:bodyPr/>
          <a:lstStyle>
            <a:lvl1pPr marL="0" indent="0" algn="l" defTabSz="914377" rtl="0" eaLnBrk="1" latinLnBrk="0" hangingPunct="1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32" name="Footer Placeholder 3">
            <a:extLst>
              <a:ext uri="{FF2B5EF4-FFF2-40B4-BE49-F238E27FC236}">
                <a16:creationId xmlns:a16="http://schemas.microsoft.com/office/drawing/2014/main" id="{3EA5A0BF-E069-F924-CC2C-86B8F0126CA7}"/>
              </a:ext>
            </a:extLst>
          </p:cNvPr>
          <p:cNvSpPr txBox="1">
            <a:spLocks/>
          </p:cNvSpPr>
          <p:nvPr/>
        </p:nvSpPr>
        <p:spPr>
          <a:xfrm>
            <a:off x="8153491" y="6511927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kumimoji="0" lang="en-US" sz="1100" b="0" i="0" u="none" strike="noStrike" kern="1200" cap="none" spc="27" normalizeH="0" baseline="0" smtClean="0">
                <a:ln>
                  <a:noFill/>
                </a:ln>
                <a:solidFill>
                  <a:srgbClr val="00BCF5">
                    <a:lumMod val="75000"/>
                  </a:srgbClr>
                </a:solidFill>
                <a:effectLst/>
                <a:uLnTx/>
                <a:uFillTx/>
                <a:latin typeface="CiscoSansTT Light" panose="020B0503020201020303" pitchFamily="34" charset="0"/>
                <a:ea typeface="+mn-ea"/>
                <a:cs typeface="CiscoSansTT Light" panose="020B05030202010203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814225">
              <a:defRPr/>
            </a:pPr>
            <a:endParaRPr lang="en-GB" sz="1100"/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EA26FDE3-9E2A-5DEB-7EC2-C4148596E1D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263525" y="6266088"/>
            <a:ext cx="5006792" cy="366489"/>
          </a:xfrm>
        </p:spPr>
        <p:txBody>
          <a:bodyPr/>
          <a:lstStyle>
            <a:lvl1pPr marL="0" indent="0" algn="l" defTabSz="814165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en-US" sz="1200" kern="1200" spc="27" dirty="0">
                <a:solidFill>
                  <a:srgbClr val="00BCF5">
                    <a:lumMod val="75000"/>
                  </a:srgbClr>
                </a:solidFill>
                <a:latin typeface="CiscoSansTT Light"/>
                <a:ea typeface="+mn-ea"/>
                <a:cs typeface="CiscoSansTT Light" panose="020B05030202010203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363534A6-5F6C-F7D4-F797-E122CDFE88FB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596471" y="376259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lang="en-US" sz="800" b="0" i="0" kern="0" spc="0" baseline="0" dirty="0">
                <a:solidFill>
                  <a:srgbClr val="00BCF5">
                    <a:lumMod val="75000"/>
                  </a:srgbClr>
                </a:solidFill>
                <a:latin typeface="CiscoSansTT Ligh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938475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2" pos="2631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orient="horz" pos="4178">
          <p15:clr>
            <a:srgbClr val="FBAE40"/>
          </p15:clr>
        </p15:guide>
        <p15:guide id="6" orient="horz" pos="1076">
          <p15:clr>
            <a:srgbClr val="FBAE40"/>
          </p15:clr>
        </p15:guide>
        <p15:guide id="8" pos="7333">
          <p15:clr>
            <a:srgbClr val="FBAE40"/>
          </p15:clr>
        </p15:guide>
        <p15:guide id="9" pos="2835">
          <p15:clr>
            <a:srgbClr val="FBAE40"/>
          </p15:clr>
        </p15:guide>
      </p15:sldGuideLst>
    </p:ext>
  </p:extLst>
</p:sldLayout>
</file>

<file path=ppt/slideLayouts/slideLayout38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E1C715D-9112-4A01-AD63-361439BFB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2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CECC346-19EE-9BE6-3100-3E256FE4E00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056376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8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6EE0FED-0F8F-1D4B-BDC6-134B0FE8D3AF}"/>
              </a:ext>
            </a:extLst>
          </p:cNvPr>
          <p:cNvSpPr/>
          <p:nvPr/>
        </p:nvSpPr>
        <p:spPr>
          <a:xfrm>
            <a:off x="3428999" y="0"/>
            <a:ext cx="8763001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00FA166-5D3F-4D89-9646-F16A985660E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25527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E9CD8F1-BCCB-4886-9A5C-6DBC2AED36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25527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8F119A-0C2E-4A56-861D-52501224E76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90451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>
        <p15:guide id="2" orient="horz" pos="1488">
          <p15:clr>
            <a:srgbClr val="A4A3A4"/>
          </p15:clr>
        </p15:guide>
        <p15:guide id="3" orient="horz" pos="1584">
          <p15:clr>
            <a:srgbClr val="A4A3A4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con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1" y="0"/>
            <a:ext cx="6096001" cy="6858000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509" spc="-96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Insert image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24644A4A-627D-4251-93AA-A2954900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2" y="990600"/>
            <a:ext cx="5125733" cy="12700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A8E6EAB-22F0-4C89-85F8-D4D94992ED22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63903" y="2960399"/>
            <a:ext cx="2319867" cy="46860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EF54FC4E-BD10-4F11-B8AA-EB5EF0D89E43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3268133" y="2960397"/>
            <a:ext cx="2319867" cy="46860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E64A8B51-1A62-459A-8DD3-93B84E82D8DE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563903" y="4880033"/>
            <a:ext cx="2319867" cy="46860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D090DEB6-2BCA-46D7-9263-9EB082FE8736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3268133" y="4880033"/>
            <a:ext cx="2319867" cy="46860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B195F9B-18C2-43DD-8D28-DB82565A615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63903" y="3493741"/>
            <a:ext cx="2319868" cy="89664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33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F57C87-BB0F-4D2F-BDF2-DAE041C1A7D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260877" y="3493741"/>
            <a:ext cx="2319868" cy="89664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33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F88AC67-0FCF-4070-8745-F2172B2CACC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63903" y="5421509"/>
            <a:ext cx="2319868" cy="89664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33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3DC3002-031A-4736-AABA-949B2E31DDE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260877" y="5421509"/>
            <a:ext cx="2319868" cy="89664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33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0695B177-CA0C-4E8C-A61A-DBFC0E3A7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1FCFB0F-38DF-40D9-884B-4BB884CABC0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3904" y="255117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AB00DA7-3784-4F1E-BCF7-020A8B5BBBC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70275" y="255117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4BF908E0-620E-4308-B4E4-794556D881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58800" y="45168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982949E-1A10-4260-ACD5-08C3395104A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265171" y="45168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881526-D455-4016-9E25-0B8C0592F64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50C5796D-69C7-4336-93B7-FBE71B2511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8256263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9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Heading w 2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 descr="Section title">
            <a:extLst>
              <a:ext uri="{FF2B5EF4-FFF2-40B4-BE49-F238E27FC236}">
                <a16:creationId xmlns:a16="http://schemas.microsoft.com/office/drawing/2014/main" id="{20BBFC84-0D1A-41D8-BAF7-77889FB4926E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5928" y="392612"/>
            <a:ext cx="5486400" cy="30480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71" indent="0">
              <a:buNone/>
              <a:defRPr/>
            </a:lvl2pPr>
            <a:lvl3pPr marL="569863" indent="0">
              <a:buNone/>
              <a:defRPr/>
            </a:lvl3pPr>
            <a:lvl4pPr marL="688920" indent="0">
              <a:buNone/>
              <a:defRPr/>
            </a:lvl4pPr>
            <a:lvl5pPr marL="801621" indent="0">
              <a:buNone/>
              <a:defRPr/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EB3BF19B-575A-779B-73CC-537ABB67E7D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722735"/>
            <a:ext cx="10972800" cy="68580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A2705B8E-4073-4179-061E-6BB2F2D366C9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0" y="1619250"/>
            <a:ext cx="5211763" cy="45148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020ADB6-8EC0-CC3A-6343-8EB97EAED4A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71699" y="1619250"/>
            <a:ext cx="5211763" cy="45148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722513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extLst>
    <p:ext uri="{DCECCB84-F9BA-43D5-87BE-67443E8EF086}">
      <p15:sldGuideLst xmlns:p15="http://schemas.microsoft.com/office/powerpoint/2012/main"/>
    </p:ext>
  </p:extLst>
</p:sldLayout>
</file>

<file path=ppt/slideLayouts/slideLayout3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ull Bleed 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054F9D6-4889-4D51-9ADF-D453DFF1E8E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905000"/>
            <a:ext cx="12192000" cy="43053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algn="ctr"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3476B1-5604-4136-9D0F-58F8AF89B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CDEE37D-020A-4A22-922F-31441A6C8745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4004773-EABB-35C0-D50F-A474E36D9B54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034578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9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13E34AB2-EB40-45F2-BAE7-A8136E51FF6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2" y="3714583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/>
            </a:lvl1pPr>
            <a:lvl2pPr>
              <a:defRPr lang="en-US" sz="1067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  <a:p>
            <a:pPr marL="228589" lvl="3" indent="-228589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3" y="2616184"/>
            <a:ext cx="3357020" cy="8032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EA591F5-58AE-D343-A6EB-87F69740E76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2620629"/>
            <a:ext cx="3357020" cy="8032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B8558003-6140-3442-986E-2C60FA775A53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2616184"/>
            <a:ext cx="3357020" cy="80327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FBBB06B7-9478-4C6F-9560-109718AC49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5390428" cy="14965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50389FDF-392D-4049-AC2A-1E9DF18496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Content Placeholder 6">
            <a:extLst>
              <a:ext uri="{FF2B5EF4-FFF2-40B4-BE49-F238E27FC236}">
                <a16:creationId xmlns:a16="http://schemas.microsoft.com/office/drawing/2014/main" id="{5CF71C16-241D-4C12-986F-49C011B6FB62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113" y="3714583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  <a:p>
            <a:pPr marL="228589" lvl="3" indent="-228589"/>
            <a:r>
              <a:rPr lang="en-US"/>
              <a:t>Fourth level</a:t>
            </a:r>
          </a:p>
        </p:txBody>
      </p:sp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DF591020-88DC-4E7B-BD72-36E6EB59E14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126439" y="3714583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  <a:p>
            <a:pPr marL="228589" lvl="3" indent="-228589"/>
            <a:r>
              <a:rPr lang="en-US"/>
              <a:t>Four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383FF70-E831-4747-A153-F9977C8D40C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1ACA0FBF-BD85-4A2B-857C-5FEA45B4C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1D72EE3F-A9EA-D241-B239-463E7169C46E}"/>
              </a:ext>
            </a:extLst>
          </p:cNvPr>
          <p:cNvGrpSpPr/>
          <p:nvPr/>
        </p:nvGrpSpPr>
        <p:grpSpPr>
          <a:xfrm>
            <a:off x="11247353" y="6271282"/>
            <a:ext cx="406115" cy="343967"/>
            <a:chOff x="4510061" y="4362686"/>
            <a:chExt cx="304586" cy="257975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2C1947CF-6419-404B-B0AC-4A2A786B38B9}"/>
                </a:ext>
              </a:extLst>
            </p:cNvPr>
            <p:cNvSpPr/>
            <p:nvPr/>
          </p:nvSpPr>
          <p:spPr>
            <a:xfrm>
              <a:off x="4510061" y="4446061"/>
              <a:ext cx="304586" cy="139847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432"/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C99E714C-8B9D-B140-B737-F22D20AD1E1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533388" y="4362686"/>
              <a:ext cx="257933" cy="257975"/>
            </a:xfrm>
            <a:prstGeom prst="rect">
              <a:avLst/>
            </a:prstGeom>
          </p:spPr>
        </p:pic>
      </p:grpSp>
      <p:pic>
        <p:nvPicPr>
          <p:cNvPr id="21" name="Picture 20">
            <a:extLst>
              <a:ext uri="{FF2B5EF4-FFF2-40B4-BE49-F238E27FC236}">
                <a16:creationId xmlns:a16="http://schemas.microsoft.com/office/drawing/2014/main" id="{860894AA-E583-CB44-AD95-52B9A1CB9FB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22600" y="6319964"/>
            <a:ext cx="405145" cy="426345"/>
          </a:xfrm>
          <a:prstGeom prst="rect">
            <a:avLst/>
          </a:prstGeom>
          <a:solidFill>
            <a:schemeClr val="bg2"/>
          </a:solidFill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33A4C81A-C009-7F42-AE45-BBEC9EAA355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240406" y="6300846"/>
            <a:ext cx="405145" cy="426345"/>
          </a:xfrm>
          <a:prstGeom prst="rect">
            <a:avLst/>
          </a:prstGeom>
          <a:solidFill>
            <a:schemeClr val="bg2"/>
          </a:solidFill>
        </p:spPr>
      </p:pic>
    </p:spTree>
    <p:extLst>
      <p:ext uri="{BB962C8B-B14F-4D97-AF65-F5344CB8AC3E}">
        <p14:creationId xmlns:p14="http://schemas.microsoft.com/office/powerpoint/2010/main" val="27248464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9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2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71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9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162312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9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0601"/>
            <a:ext cx="11080025" cy="127000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8630004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9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8" y="990604"/>
            <a:ext cx="11080025" cy="127000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7604566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</p:sldLayout>
</file>

<file path=ppt/slideLayouts/slideLayout3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4869789"/>
            <a:ext cx="7277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1500" y="5248892"/>
            <a:ext cx="72771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790701"/>
            <a:ext cx="7277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0" y="3431817"/>
            <a:ext cx="7277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0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C213C3D1-EB09-4146-8395-36A5B8D30F2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00053" y="6133088"/>
            <a:ext cx="1366496" cy="41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48234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lf &amp; Half Title Slide Dark Layout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4869789"/>
            <a:ext cx="5372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1500" y="5248892"/>
            <a:ext cx="53721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790701"/>
            <a:ext cx="5372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0" y="3431817"/>
            <a:ext cx="5372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0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73A75F9-B823-4C33-BC6A-70650FACD3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48400" y="0"/>
            <a:ext cx="5943600" cy="6858000"/>
          </a:xfrm>
          <a:noFill/>
        </p:spPr>
        <p:txBody>
          <a:bodyPr anchor="ctr" anchorCtr="0"/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234756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3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ive Topics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3721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213C59-7880-41D1-9DE5-B53FA71B4F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48400" y="609600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0BD0D78-FA9C-47FE-A8C5-A942C1A9A1E0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080810" y="609600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4D1B0561-72B3-4A7C-9434-B0EDE523688D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080810" y="1037804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FB88D30E-5998-42C2-BFDA-6C6AA1F33F7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48400" y="164719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6D18BF23-F279-48A8-8AFF-AC70F73F091E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7080810" y="1647193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8445664B-F9E1-4D1D-9F6E-DA27AF43C21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7080810" y="2075397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31F0F46D-89DF-46CA-934B-C124727D937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48400" y="2684788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8BB0DD2A-742F-4019-B2A6-6AC6CF3BEEA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080810" y="2684787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4D48E93A-11A3-45A0-961F-26062021432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080810" y="3112991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365D378F-8BFE-41E2-A048-4F1E113B408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48400" y="3722381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4681FE84-1510-4206-91AF-B290EF3C0E1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7080810" y="3722381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58EB90C9-03A7-449D-A8F3-B379B319950E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7080810" y="4150585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E3E332E3-41A2-4350-A7FE-20CB379706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0" y="475997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948A5A7B-49E0-4CF2-8080-E002145F2FF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10" y="4759974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B8F46644-76D3-4C51-9163-739A1F5F7650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10" y="5188178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7D1C11A-12D9-461B-A255-03DBC65A944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EA8191E0-49D0-4036-B896-597B5FEF138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15169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unlimited 2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3223"/>
            <a:ext cx="5390425" cy="131883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ontents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EA9F760-54C7-4D39-BFBE-CB5FEB9E61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71820893-9915-4BFA-B034-1C8F63FF81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100000"/>
              </a:lnSpc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FFD397-3600-4EC8-8694-6DE9A09E921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4E693A-514B-4840-BF84-65FC4630DA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558800" y="2494135"/>
            <a:ext cx="11074400" cy="3539164"/>
          </a:xfrm>
        </p:spPr>
        <p:txBody>
          <a:bodyPr numCol="2" spcCol="457200">
            <a:noAutofit/>
          </a:bodyPr>
          <a:lstStyle>
            <a:lvl1pPr marL="383108" indent="-383108">
              <a:lnSpc>
                <a:spcPct val="120000"/>
              </a:lnSpc>
              <a:buSzPct val="100000"/>
              <a:buFont typeface="+mj-lt"/>
              <a:buAutoNum type="arabicPeriod"/>
              <a:defRPr>
                <a:latin typeface="+mj-lt"/>
              </a:defRPr>
            </a:lvl1pPr>
            <a:lvl2pPr>
              <a:lnSpc>
                <a:spcPct val="120000"/>
              </a:lnSpc>
              <a:defRPr>
                <a:latin typeface="+mj-lt"/>
              </a:defRPr>
            </a:lvl2pPr>
            <a:lvl3pPr>
              <a:lnSpc>
                <a:spcPct val="120000"/>
              </a:lnSpc>
              <a:defRPr>
                <a:latin typeface="+mj-lt"/>
              </a:defRPr>
            </a:lvl3pPr>
            <a:lvl4pPr>
              <a:lnSpc>
                <a:spcPct val="120000"/>
              </a:lnSpc>
              <a:defRPr>
                <a:latin typeface="+mj-lt"/>
              </a:defRPr>
            </a:lvl4pPr>
            <a:lvl5pPr>
              <a:lnSpc>
                <a:spcPct val="120000"/>
              </a:lnSpc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442849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F16390-6737-46A8-8714-112CAB201308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509" spc="-96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2350284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2344656" cy="3425840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>
              <a:defRPr sz="1067"/>
            </a:lvl2pPr>
            <a:lvl3pPr>
              <a:defRPr sz="800"/>
            </a:lvl3pPr>
            <a:lvl4pPr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0A03D6A-E3C9-4E0F-9561-1CDE1AE1995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1" y="339201"/>
            <a:ext cx="2701689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486C98BC-16EE-44A7-A5AA-7D9E634104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4804925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Ten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3721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2875B737-D8C9-4B5A-A987-E648592F8AB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71500" y="2437942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1BC899D-37C3-4568-A4DF-0B0EDE20DC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403910" y="243794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B5D11EE-1D55-4041-81BF-2D405343AEB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1403910" y="286614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78F2AB5-8A22-4344-B743-464793BF69F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71500" y="327862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2A1D5CE-6473-44B2-BC10-1AC73E1B795C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403910" y="327862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D8A733FF-648D-413A-A965-9380FF19EB3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403910" y="370682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C4EAFF18-13A5-4454-9A4E-50C9683A086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71500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3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5CFB554-4FA5-44FE-AD9D-94ADB8A1596B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403910" y="4118817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E82D60C9-C7E6-4DE4-8E8B-9A9D85E509A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1403910" y="4547021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1C81A21-CB5C-4EBA-AA54-D73A670B36B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71500" y="4959740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4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3D704AA8-F2E6-4E6E-BA0F-C73614C721D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1403910" y="4959740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66AE59D2-11F7-416C-B366-F23200F2C468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403910" y="5387944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898C6801-7507-4803-A711-42CEC857E56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0" y="243794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5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7589C976-7FFB-4218-BF7E-1F78F2A1F02C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10" y="243794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0F3DDABD-EE25-49C3-9A53-2657DAD77A8C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10" y="286614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17167DB7-5308-42DC-AEE9-AAED2ED164D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248400" y="327862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6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620B5D7B-672A-4FB9-9717-E785586DA30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7080810" y="327862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E23B210E-5C88-4516-A864-36247F88D733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7080810" y="370682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37DB0FAF-76DD-43D1-B897-9417F5B3AB7B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48400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7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B0C7BE68-E1A9-48A3-8ADD-8FDB96C02A40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7080810" y="4118817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5195D37A-ED4A-4E1F-A476-81831613075B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080810" y="4547021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62FE476F-78D3-4BBD-ADB0-A014E40BC384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48400" y="4959740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8</a:t>
            </a:r>
          </a:p>
        </p:txBody>
      </p:sp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D42D2D51-155D-4C35-BC5F-B8F1C46DC335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7080810" y="4959740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EBF4B885-D002-47D6-8922-12B72E21CACE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7080810" y="5387944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0EEB412-0CE0-4F00-8756-0957743AE431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2DB28A58-94F9-401A-ADF6-47C90FEA956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49007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696DE5-6EFF-4C09-9943-5FCA93FF6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011A5B07-96E9-42C8-81C4-56D26550D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4FE852-4660-4623-83C0-2F7C9B6EDB27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CCC6C03-EF21-44ED-8593-CDA31C61E8DD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41313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564E15E-85C2-40F1-B654-E42DCFBA1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 marL="0" indent="0">
              <a:buNone/>
              <a:defRPr sz="1400"/>
            </a:lvl2pPr>
            <a:lvl3pPr marL="228600" indent="0">
              <a:buNone/>
              <a:defRPr sz="1200"/>
            </a:lvl3pPr>
            <a:lvl4pPr marL="406400" indent="0"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30370F4-DF08-4B4A-A3BB-EB8905622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3BE238-C084-4FBF-86DF-59C91AF8317F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1E1701B-4C10-476A-8FDF-6089699136E1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55526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E1C715D-9112-4A01-AD63-361439BFB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E43F6E-A8D0-4155-BD27-8561034BB2B8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A02B8EA-12A2-4673-BF3F-8D4FB8234D2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95373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8EE2313-2646-4E0B-B6B4-BA07574D2F8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572B255-D144-453C-90FA-BB07F680CF0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D9DF569-2B30-EE4C-8D21-F21B97793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C61E8BE-7C30-466D-96E8-145E0409391E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73300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7C7D94ED-0F39-4B30-8B40-B8D535783A5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CE85B47-180E-0542-8A98-FABBBFB2A6D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265EAF99-811E-0A42-AD86-6F1F07B547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BC72363-F3A6-5E44-AD40-7647C83973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 marL="174625" indent="-174625">
              <a:defRPr sz="1400"/>
            </a:lvl2pPr>
            <a:lvl3pPr marL="346075" indent="-171450"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A216F31-D19E-4174-ACB7-CAFBD6AE68A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283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49195570-1534-4F74-B303-B06313C227F6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66674A7-0DAD-C54D-BB6A-AB4B6F3D1CF2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48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4BFEFE0-97D7-B240-BC88-FC22052279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82028C6-D96F-A145-862B-ED80E5C5EF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600"/>
            </a:lvl1pPr>
            <a:lvl2pPr marL="0" indent="0">
              <a:buFontTx/>
              <a:buNone/>
              <a:defRPr sz="1400"/>
            </a:lvl2pPr>
            <a:lvl3pPr marL="228600" indent="0">
              <a:buFontTx/>
              <a:buNone/>
              <a:defRPr sz="1200"/>
            </a:lvl3pPr>
            <a:lvl4pPr marL="406400" indent="0">
              <a:buFontTx/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A8F312C-C046-4076-8AB0-7EBEDB95055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18196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8C469D-456E-4ECF-83FA-AF1F3BDB26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500" y="1905000"/>
            <a:ext cx="5372100" cy="4305301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8E86-A92A-495E-A49E-35F25D765A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1905000"/>
            <a:ext cx="5372100" cy="4305302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512763" indent="-169863"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  <a:lvl5pPr marL="746125" indent="-174625">
              <a:defRPr lang="en-US" sz="600" b="0" i="0" kern="1200" spc="0" baseline="0" dirty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274A685-F33F-448C-B6FE-AB508BA75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DAB2D8-1539-4822-9614-2E04B2120F5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9306D53-D47B-4F16-A012-78C12883E1D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60501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, Title &amp;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DC1BA0-9AAE-4457-AB7A-2225418D1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2663" y="1905000"/>
            <a:ext cx="5372100" cy="30777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87F35FC-680E-4287-99BA-ED6DF9E6085D}"/>
              </a:ext>
            </a:extLst>
          </p:cNvPr>
          <p:cNvSpPr>
            <a:spLocks noGrp="1"/>
          </p:cNvSpPr>
          <p:nvPr>
            <p:ph type="body" idx="57"/>
          </p:nvPr>
        </p:nvSpPr>
        <p:spPr>
          <a:xfrm>
            <a:off x="6249563" y="1905000"/>
            <a:ext cx="5372100" cy="307777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E451DCD-2B8C-4BF9-8D85-AA8F5ABE2826}"/>
              </a:ext>
            </a:extLst>
          </p:cNvPr>
          <p:cNvSpPr>
            <a:spLocks noGrp="1"/>
          </p:cNvSpPr>
          <p:nvPr>
            <p:ph sz="half" idx="58"/>
          </p:nvPr>
        </p:nvSpPr>
        <p:spPr>
          <a:xfrm>
            <a:off x="571500" y="2369053"/>
            <a:ext cx="5372100" cy="3841249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F39D5E2-4E9E-4B26-9E69-7D77328E4C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2369052"/>
            <a:ext cx="5372100" cy="3841249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 marL="746125" indent="-174625">
              <a:defRPr lang="en-US" sz="600" b="0" i="0" kern="1200" spc="0" baseline="0" dirty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C2285B0-0824-4973-8F1D-C24F2784A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C254480-49EA-44F8-91E6-0FCF9F498DC6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D5DBBD6-CA78-4551-B263-2F8BFC4E781A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126311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58696A-2388-495D-981D-050920BB5C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5334000"/>
            <a:ext cx="5372099" cy="876300"/>
          </a:xfrm>
        </p:spPr>
        <p:txBody>
          <a:bodyPr>
            <a:noAutofit/>
          </a:bodyPr>
          <a:lstStyle>
            <a:lvl1pPr marL="0" indent="0">
              <a:buNone/>
              <a:tabLst/>
              <a:defRPr sz="16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C009990-5F38-4F94-ABE2-44DA301BD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0" y="5334000"/>
            <a:ext cx="5372099" cy="876300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D01E734-4CA7-4CBD-A769-BCC20375564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1500" y="1905000"/>
            <a:ext cx="5372100" cy="3271156"/>
          </a:xfrm>
          <a:solidFill>
            <a:schemeClr val="bg2"/>
          </a:solidFill>
        </p:spPr>
        <p:txBody>
          <a:bodyPr anchor="ctr" anchorCtr="0">
            <a:no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2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E24BD1C9-BB6F-4B1A-B0AC-70FBFBAD0DD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48400" y="1905000"/>
            <a:ext cx="5372100" cy="3271156"/>
          </a:xfrm>
          <a:solidFill>
            <a:schemeClr val="bg2"/>
          </a:solidFill>
        </p:spPr>
        <p:txBody>
          <a:bodyPr anchor="ctr" anchorCtr="0">
            <a:no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2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C3A3765-3130-474C-96F5-7E50AE68B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CEFB623-3BE4-41A5-AD7A-7D81E50E12F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840F6A6-3445-46E0-90CD-B778CB75CB3D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5045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F16390-6737-46A8-8714-112CAB201308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240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903365" y="990599"/>
            <a:ext cx="7790845" cy="5035913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509" spc="-96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2350284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2344656" cy="3425840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>
              <a:defRPr sz="1067"/>
            </a:lvl2pPr>
            <a:lvl3pPr>
              <a:defRPr sz="800"/>
            </a:lvl3pPr>
            <a:lvl4pPr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2854662-684B-46F5-B1C9-A8380A9FAEC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1" y="339201"/>
            <a:ext cx="2729556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BD02289-A003-4F50-8A0B-E04C3A5D3D9F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3C0D703A-5C8B-4D7D-9178-8D74110152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9882793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8C1C862-6F14-47C3-885D-12D6E1A99AA2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AD8007C-DE91-4E81-8041-976C5135CD04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1519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DDEF7496-FB76-482F-B4DC-5B78B30B1B0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054F9D6-4889-4D51-9ADF-D453DFF1E8E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905000"/>
            <a:ext cx="12192000" cy="43053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algn="ctr"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3476B1-5604-4136-9D0F-58F8AF89B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CDEE37D-020A-4A22-922F-31441A6C8745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68979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054F9D6-4889-4D51-9ADF-D453DFF1E8E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blipFill dpi="0" rotWithShape="1">
            <a:blip r:embed="rId2">
              <a:alphaModFix amt="2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DEF7496-FB76-482F-B4DC-5B78B30B1B0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96465F4-B55E-463E-9A4A-F93B1EE9FD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6807" y="6364637"/>
            <a:ext cx="503671" cy="221124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81D1E80-33EB-4E5D-9415-4B0EE02EBDF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77017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6734A84-A20E-4265-848D-432FAF49C4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2236BEA-8B84-4433-AC6E-DE816054A44B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76FF25-9CEA-4D73-9CD8-BCF0613C55EA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66818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4BE6003-571D-4817-A40A-6421214126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4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4156D67-C67F-41CF-BA17-0B2BFD535E2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92C7D0-4978-4D65-A39E-9CB076EFBCC3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04223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10703F-CBA9-4296-B386-BA35019F8F44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79EE8F-1900-4C5E-A4C1-BB6BE90235E1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42129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D6DF483-DD51-444D-AF16-AF31E72FDD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514350" indent="-171450">
              <a:buFont typeface="Arial" panose="020B0604020202020204" pitchFamily="34" charset="0"/>
              <a:buChar char="•"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0BAC715-F543-452A-80B1-3A07B10B2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73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F48862-22C1-482F-B821-3D8CC682DAB1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524910-4FFE-49EA-99DE-65BFB724546B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63223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4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1E1BB935-C530-47D2-883E-00828E3A8FC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200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D970870-8847-48D6-ACCA-B0F7D662F2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 marL="514350" indent="-171450">
              <a:buFont typeface="Arial" panose="020B0604020202020204" pitchFamily="34" charset="0"/>
              <a:buChar char="•"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8CEBD18-98E9-4568-A90A-5715A834E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73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38F8A1A-3A97-4C8E-9550-2C62BC10A83F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89565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4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FEF2E81-694A-4A5A-BEDE-DF13285D820B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5E2598-51C8-4F83-B09D-69C86C142A3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1905000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737D39F-19A0-4D2A-8E85-527465AFD610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188208" y="1905000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4FE5E7B-ECDC-404D-9B30-E7B580CCEED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714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1CDB75F-12E1-4403-B291-31A3B1C83B0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1882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BA687946-9318-4CD5-B900-AA488A7BDA5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200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ECBF8DC3-DA3E-470B-AE86-6B154E24E3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73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312C61A-B9D3-456C-953D-82B30FE7C4A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5158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552">
          <p15:clr>
            <a:srgbClr val="A4A3A4"/>
          </p15:clr>
        </p15:guide>
        <p15:guide id="3" pos="4128">
          <p15:clr>
            <a:srgbClr val="A4A3A4"/>
          </p15:clr>
        </p15:guide>
        <p15:guide id="4" orient="horz" pos="1656">
          <p15:clr>
            <a:srgbClr val="A4A3A4"/>
          </p15:clr>
        </p15:guide>
        <p15:guide id="5" orient="horz" pos="1752">
          <p15:clr>
            <a:srgbClr val="A4A3A4"/>
          </p15:clr>
        </p15:guide>
      </p15:sldGuideLst>
    </p:ext>
  </p:extLst>
</p:sldLayout>
</file>

<file path=ppt/slideLayouts/slideLayout4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689F426-4C63-454D-B133-BC94D9D160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B15451E-AF4B-4B3A-B376-2003DB48C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67545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2441477-13D0-4DAF-BFCF-92EDFB2CE56C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2400"/>
          </a:p>
        </p:txBody>
      </p:sp>
      <p:pic>
        <p:nvPicPr>
          <p:cNvPr id="4" name="Picture 3" descr="Shape&#10;&#10;Description automatically generated">
            <a:extLst>
              <a:ext uri="{FF2B5EF4-FFF2-40B4-BE49-F238E27FC236}">
                <a16:creationId xmlns:a16="http://schemas.microsoft.com/office/drawing/2014/main" id="{9230B9B9-BCBD-4356-9BF1-AF8137B137B8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4360" t="7770" r="20142" b="9149"/>
          <a:stretch/>
        </p:blipFill>
        <p:spPr>
          <a:xfrm>
            <a:off x="3405576" y="0"/>
            <a:ext cx="8786424" cy="685800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857849" y="1427665"/>
            <a:ext cx="5830683" cy="3929236"/>
          </a:xfrm>
          <a:prstGeom prst="roundRect">
            <a:avLst>
              <a:gd name="adj" fmla="val 705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Autofit/>
          </a:bodyPr>
          <a:lstStyle>
            <a:lvl1pPr>
              <a:defRPr lang="en-US" sz="1824" kern="1200" dirty="0">
                <a:solidFill>
                  <a:schemeClr val="bg1"/>
                </a:solidFill>
              </a:defRPr>
            </a:lvl1pPr>
          </a:lstStyle>
          <a:p>
            <a:pPr marL="0" lvl="0" indent="0" algn="ctr" defTabSz="926372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2658548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2652920" cy="3425840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>
              <a:defRPr sz="1067"/>
            </a:lvl2pPr>
            <a:lvl3pPr>
              <a:defRPr sz="800"/>
            </a:lvl3pPr>
            <a:lvl4pPr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3C7D3DC-2DC5-4057-B84E-B06E1CD75C2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2743491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8C15C4C3-36C5-465F-B4BF-6BEB4287779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A1FD2D83-81B0-4F92-BC25-92C64DA93F1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052423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9F1EE91-F457-4893-88BA-AF3B71081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490D2D3-F0B6-4527-A912-AE8F2F7E703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714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D27C7EF2-E1C7-403F-81BA-2822B0BADEE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1882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322DDD1-796F-4817-A0A2-B54629B89214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1905000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5075854-0A14-4136-BC79-1BC72756705A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188208" y="1905000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384332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552">
          <p15:clr>
            <a:srgbClr val="A4A3A4"/>
          </p15:clr>
        </p15:guide>
        <p15:guide id="2" pos="4152">
          <p15:clr>
            <a:srgbClr val="A4A3A4"/>
          </p15:clr>
        </p15:guide>
      </p15:sldGuideLst>
    </p:ext>
  </p:extLst>
</p:sldLayout>
</file>

<file path=ppt/slideLayouts/slideLayout4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AEEE0BE-B874-4CB1-92B1-404602B5CA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B74128E-BA5E-4242-8B4E-D1F742670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613D29C-0961-4A3D-8A56-1E1B5BC7445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1F61BA1-F848-4E08-8C07-5D6D5E6C0A8C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99966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4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C82BCFB0-2C06-4262-9388-B4438F4E968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68778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E96ABEA8-C693-429B-8E00-CBD848A92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1F330DC-3ED8-470C-84C4-C7D10A9020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8BD350E-1BA7-4789-8917-9D2180DC456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90419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4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2BE86DFA-31C3-4F24-A7FF-57697A0FEFD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68778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BA23DE7-CFFA-40A9-9A64-A60D8665455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553199" y="1910149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60001BE-2917-4768-B6B6-BEC070C85F3E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71232" y="1910149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F033B061-30E2-4203-B7D3-0E4FF6C4CC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4F90B59D-E2BD-42BC-B3BC-06F77504882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5531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8269256-DD80-4564-A3AF-D017D4A7ED5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1699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BB20381-4C93-463A-927C-0BB3E602CAA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27470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4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F60A532-8EEA-467C-8E7E-39CF1DB485A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6D3B650-5EC2-4F87-A7DF-85C7547613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4FB1BE2-EC71-4AA4-B103-A670DCD7AA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55836A8-05ED-470D-9C33-44AD1D4866F1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45810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4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F60A532-8EEA-467C-8E7E-39CF1DB485A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9A0B76E-2F1E-4BD6-AA72-3682A69C9C34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553199" y="1910149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5818B49-B6BC-412E-A21D-631A69222221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71232" y="1910149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442FDF7C-40C4-4C20-819D-D8B06F0E8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7B14163-B0FE-4287-968A-93DE8034681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5531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4927BC81-4C08-47F4-BA08-8F857CA477A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1699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E009170-4223-4B7A-A077-F74B3DE3688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98852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4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A305123-92F2-4B89-A355-7539327F08C3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1500" y="2787408"/>
            <a:ext cx="3465576" cy="3420333"/>
          </a:xfrm>
        </p:spPr>
        <p:txBody>
          <a:bodyPr/>
          <a:lstStyle>
            <a:lvl3pPr>
              <a:defRPr/>
            </a:lvl3pPr>
            <a:lvl4pPr marL="514350" indent="-17145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1907558"/>
            <a:ext cx="3465576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2" name="Content Placeholder 4">
            <a:extLst>
              <a:ext uri="{FF2B5EF4-FFF2-40B4-BE49-F238E27FC236}">
                <a16:creationId xmlns:a16="http://schemas.microsoft.com/office/drawing/2014/main" id="{F96C995E-58E0-4A91-AA56-8759CFD3EA73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499" y="2787408"/>
            <a:ext cx="3467099" cy="3420333"/>
          </a:xfrm>
        </p:spPr>
        <p:txBody>
          <a:bodyPr/>
          <a:lstStyle>
            <a:lvl3pPr>
              <a:defRPr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071BF92C-4C07-4794-8CC8-D51F3173376C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0" y="1907558"/>
            <a:ext cx="3467099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4" name="Content Placeholder 4">
            <a:extLst>
              <a:ext uri="{FF2B5EF4-FFF2-40B4-BE49-F238E27FC236}">
                <a16:creationId xmlns:a16="http://schemas.microsoft.com/office/drawing/2014/main" id="{47F7CD6B-9884-4317-A0E7-31AE02F93993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0" y="2787408"/>
            <a:ext cx="3467100" cy="3420333"/>
          </a:xfrm>
        </p:spPr>
        <p:txBody>
          <a:bodyPr/>
          <a:lstStyle>
            <a:lvl3pPr marL="346075" indent="-171450">
              <a:buFont typeface="Arial" panose="020B0604020202020204" pitchFamily="34" charset="0"/>
              <a:buChar char="•"/>
              <a:defRPr/>
            </a:lvl3pPr>
            <a:lvl4pPr marL="512763" indent="-169863"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EECB8C3-35E8-4930-A0AE-3BA62609BFD9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8153400" y="1904999"/>
            <a:ext cx="3467100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1D46A44-801A-40B4-8117-1D09F7B03348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9A2394E-0E95-4850-A756-0015178A4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50DAF14-F79F-48F1-BCFF-1EC74CF6ED79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992400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9CE094B7-A2CC-4860-A57D-F142C2E63FC6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4041159"/>
            <a:ext cx="3465576" cy="2169141"/>
          </a:xfrm>
        </p:spPr>
        <p:txBody>
          <a:bodyPr/>
          <a:lstStyle>
            <a:lvl3pPr marL="346075" indent="-17145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E2DCECB4-BB48-48B5-A871-A080DE20BDFF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499" y="4041159"/>
            <a:ext cx="3467099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Content Placeholder 4">
            <a:extLst>
              <a:ext uri="{FF2B5EF4-FFF2-40B4-BE49-F238E27FC236}">
                <a16:creationId xmlns:a16="http://schemas.microsoft.com/office/drawing/2014/main" id="{868F585C-1E6D-44C6-9295-9866846056CD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0" y="4038600"/>
            <a:ext cx="3467100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A1EBBB-1490-4A58-9FEB-3DAB9E66019A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577124" y="3429000"/>
            <a:ext cx="3465576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6C65CC39-4D00-45CB-AE15-8C3D3E976756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0" y="3429000"/>
            <a:ext cx="3467099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9291D51-BC1A-4ED4-8278-30B67F7C4AA7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8153400" y="3426441"/>
            <a:ext cx="3467100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42E7DBE-A450-4BC3-A3EC-3A1EE7839F6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94344F4-D05A-E24F-A679-CB39B058D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1084CAD-AB1E-47FC-A2EF-2D347CCE071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58991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8D3B3576-E092-44AC-9525-9DA3161E6EE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C21223BB-13C2-46FE-9733-BCC3C77A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2102BF9D-05AF-4C40-AEC2-376EE9F4E666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577124" y="4041159"/>
            <a:ext cx="2514600" cy="2169141"/>
          </a:xfrm>
        </p:spPr>
        <p:txBody>
          <a:bodyPr/>
          <a:lstStyle>
            <a:lvl3pPr>
              <a:defRPr/>
            </a:lvl3pPr>
            <a:lvl4pPr marL="342900" indent="0">
              <a:buNone/>
              <a:defRPr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F548FAB6-7AFF-4D5A-A1E9-06C746623E4C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429001" y="4041159"/>
            <a:ext cx="2510730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FB91503-30B7-4FD7-846E-47F4CF9F474A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6244532" y="4041159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E14F77AB-427A-46FA-9A58-62890F9733C1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9088316" y="4041159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72B32549-6990-4E43-A843-9EEA9CC29CF0}"/>
              </a:ext>
            </a:extLst>
          </p:cNvPr>
          <p:cNvSpPr>
            <a:spLocks noGrp="1"/>
          </p:cNvSpPr>
          <p:nvPr>
            <p:ph type="body" sz="half" idx="77" hasCustomPrompt="1"/>
          </p:nvPr>
        </p:nvSpPr>
        <p:spPr>
          <a:xfrm>
            <a:off x="577124" y="3429000"/>
            <a:ext cx="25146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A54DA02-E155-45D5-B886-1EDF7135C93F}"/>
              </a:ext>
            </a:extLst>
          </p:cNvPr>
          <p:cNvSpPr>
            <a:spLocks noGrp="1"/>
          </p:cNvSpPr>
          <p:nvPr>
            <p:ph type="body" sz="half" idx="78" hasCustomPrompt="1"/>
          </p:nvPr>
        </p:nvSpPr>
        <p:spPr>
          <a:xfrm>
            <a:off x="3429001" y="3429000"/>
            <a:ext cx="2514599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EC4E001-5A82-4221-8FE3-9B25D98B0EA9}"/>
              </a:ext>
            </a:extLst>
          </p:cNvPr>
          <p:cNvSpPr>
            <a:spLocks noGrp="1"/>
          </p:cNvSpPr>
          <p:nvPr>
            <p:ph type="body" sz="half" idx="79" hasCustomPrompt="1"/>
          </p:nvPr>
        </p:nvSpPr>
        <p:spPr>
          <a:xfrm>
            <a:off x="6244532" y="3426441"/>
            <a:ext cx="2511833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E779C7D-755B-428C-BB0F-6496238D6D83}"/>
              </a:ext>
            </a:extLst>
          </p:cNvPr>
          <p:cNvSpPr>
            <a:spLocks noGrp="1"/>
          </p:cNvSpPr>
          <p:nvPr>
            <p:ph type="body" sz="half" idx="80" hasCustomPrompt="1"/>
          </p:nvPr>
        </p:nvSpPr>
        <p:spPr>
          <a:xfrm>
            <a:off x="9088316" y="3426441"/>
            <a:ext cx="2511833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A758410-2F69-431F-99F7-B6259194CBFF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26924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29000" y="0"/>
            <a:ext cx="8762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5309CA-3E25-47B8-99B6-670FE796BB9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971800"/>
            <a:ext cx="2552700" cy="3238500"/>
          </a:xfrm>
        </p:spPr>
        <p:txBody>
          <a:bodyPr/>
          <a:lstStyle>
            <a:lvl3pPr marL="346075" indent="-17145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8B3BBBD-95D5-473C-B5AA-4C86DA04A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2552700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713081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872">
          <p15:clr>
            <a:srgbClr val="A4A3A4"/>
          </p15:clr>
        </p15:guide>
        <p15:guide id="3" orient="horz" pos="1680">
          <p15:clr>
            <a:srgbClr val="A4A3A4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compu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205681A-15F4-4542-8501-C515AC30D1BA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2400"/>
          </a:p>
        </p:txBody>
      </p:sp>
      <p:pic>
        <p:nvPicPr>
          <p:cNvPr id="7" name="Picture 6" descr="Shape&#10;&#10;Description automatically generated">
            <a:extLst>
              <a:ext uri="{FF2B5EF4-FFF2-40B4-BE49-F238E27FC236}">
                <a16:creationId xmlns:a16="http://schemas.microsoft.com/office/drawing/2014/main" id="{7C31CFF2-9CE4-4C8C-B374-53D157BB711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13415" t="1786" r="13313" b="5272"/>
          <a:stretch/>
        </p:blipFill>
        <p:spPr>
          <a:xfrm>
            <a:off x="3405576" y="-1"/>
            <a:ext cx="8786424" cy="6858001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876199" y="1233573"/>
            <a:ext cx="5787064" cy="3876959"/>
          </a:xfrm>
          <a:prstGeom prst="roundRect">
            <a:avLst>
              <a:gd name="adj" fmla="val 0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Autofit/>
          </a:bodyPr>
          <a:lstStyle>
            <a:lvl1pPr>
              <a:defRPr lang="en-US" sz="1824" kern="1200" dirty="0">
                <a:solidFill>
                  <a:schemeClr val="bg1"/>
                </a:solidFill>
              </a:defRPr>
            </a:lvl1pPr>
          </a:lstStyle>
          <a:p>
            <a:pPr marL="0" lvl="0" indent="0" algn="ctr" defTabSz="926372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2658548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2652920" cy="3425840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>
              <a:defRPr sz="1067"/>
            </a:lvl2pPr>
            <a:lvl3pPr>
              <a:defRPr sz="800"/>
            </a:lvl3pPr>
            <a:lvl4pPr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68B830AC-8012-4125-8901-3EA856DB354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1" y="339201"/>
            <a:ext cx="2736524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455A85-3BAA-4504-A757-E35C45FC3E1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734BE57E-606B-4977-A535-DBC83B71049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444290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76700" y="609600"/>
            <a:ext cx="75438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4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336A642-95C4-40BE-AE95-D81502EF3AE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E0708104-F9EC-4157-95F0-FA326192EA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609600"/>
            <a:ext cx="2857500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</a:t>
            </a:r>
            <a:br>
              <a:rPr lang="en-US"/>
            </a:br>
            <a:r>
              <a:rPr lang="en-US"/>
              <a:t>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B1B1C66-A921-41B1-B007-79881FEFA60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971800"/>
            <a:ext cx="2857500" cy="3238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C2511D1-1C83-4E3F-B853-447E699CCCF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58552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29000" y="0"/>
            <a:ext cx="8762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4891977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71499" y="5486401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8" y="3631820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8" y="3037396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F1A913C-478C-4159-AD61-19314F8B1D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2552699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482244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94026FE-B789-4F5D-805E-02B0631E7EC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8" y="4891977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0788797-0721-4FDF-B9A8-D8FD6A85E245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71498" y="5486401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0231F72B-DB93-439F-8D5C-3A98DBB9C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609600"/>
            <a:ext cx="5372099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042C4D8C-C05E-40DC-A5F1-D8E216530543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8" y="3631820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79DD178-20FD-4061-A4CF-ADAD80B00223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8" y="3037396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55C8534-6B0E-41CD-9706-61F591BFF126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390900" y="4891977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0DECDBD2-EF07-4EFE-81B0-67DD271A8E4A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390900" y="5486401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A005CF03-ABB1-4046-89FC-A41C9CAD1DE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3390899" y="3631820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49AEAAD6-2FA1-420B-BCE8-48233BD945BF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3390899" y="3037396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977571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4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81500" y="609600"/>
            <a:ext cx="34671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</a:t>
            </a:r>
            <a:br>
              <a:rPr lang="en-US"/>
            </a:br>
            <a:r>
              <a:rPr lang="en-US"/>
              <a:t>photo here or click or tap </a:t>
            </a:r>
            <a:br>
              <a:rPr lang="en-US"/>
            </a:br>
            <a:r>
              <a:rPr lang="en-US"/>
              <a:t>icon 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80B26961-BE72-42FE-83E3-E9413C61E43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153400" y="609600"/>
            <a:ext cx="34671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</a:t>
            </a:r>
            <a:br>
              <a:rPr lang="en-US"/>
            </a:br>
            <a:r>
              <a:rPr lang="en-US"/>
              <a:t>photo here or click or tap </a:t>
            </a:r>
            <a:br>
              <a:rPr lang="en-US"/>
            </a:br>
            <a:r>
              <a:rPr lang="en-US"/>
              <a:t>icon 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7117EB1-347D-42E5-8273-C02EF79929C2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8" y="3276600"/>
            <a:ext cx="3505201" cy="29337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E1DC698-4F08-40A9-8E7D-20E5FF561A26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8" y="2057400"/>
            <a:ext cx="3505201" cy="1066800"/>
          </a:xfrm>
        </p:spPr>
        <p:txBody>
          <a:bodyPr wrap="square" anchor="b" anchorCtr="0">
            <a:noAutofit/>
          </a:bodyPr>
          <a:lstStyle>
            <a:lvl1pPr>
              <a:defRPr lang="en-US" sz="2000" dirty="0" smtClean="0"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E0567A-A5F3-4C61-8B3C-08121E05DDC7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D3E41E21-7547-4B83-8F53-91A26F07F5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3505201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6FBF98B-2A50-454A-BE00-7C981795572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14865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6EE0FED-0F8F-1D4B-BDC6-134B0FE8D3AF}"/>
              </a:ext>
            </a:extLst>
          </p:cNvPr>
          <p:cNvSpPr/>
          <p:nvPr/>
        </p:nvSpPr>
        <p:spPr>
          <a:xfrm>
            <a:off x="3428999" y="0"/>
            <a:ext cx="8763001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00FA166-5D3F-4D89-9646-F16A985660E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25527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E9CD8F1-BCCB-4886-9A5C-6DBC2AED36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25527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8F119A-0C2E-4A56-861D-52501224E76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8076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488">
          <p15:clr>
            <a:srgbClr val="A4A3A4"/>
          </p15:clr>
        </p15:guide>
        <p15:guide id="3" orient="horz" pos="1584">
          <p15:clr>
            <a:srgbClr val="A4A3A4"/>
          </p15:clr>
        </p15:guide>
      </p15:sldGuideLst>
    </p:ext>
  </p:extLst>
</p:sldLayout>
</file>

<file path=ppt/slideLayouts/slideLayout4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97389CA-AA00-4146-B54D-B32C999B76FE}"/>
              </a:ext>
            </a:extLst>
          </p:cNvPr>
          <p:cNvSpPr/>
          <p:nvPr/>
        </p:nvSpPr>
        <p:spPr>
          <a:xfrm>
            <a:off x="4991100" y="0"/>
            <a:ext cx="72009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3852A25-25D6-4B6B-902F-93AEC433B73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38100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CC6C67FE-13C1-4F4C-8B7C-A596738753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38100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74ED29-7748-494F-852C-C675DE7124A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7099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5F55B17-88C3-D348-889E-49139B7173C6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C55F65A-E884-4545-813B-8B12A150F0E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47244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C7E4F0C-628A-4B9F-8B0B-ACF8C8FB35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47244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B4C80E-343D-4240-BC0E-A777164C587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8409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wo Data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7848600" y="1905380"/>
            <a:ext cx="3771900" cy="1242697"/>
          </a:xfrm>
        </p:spPr>
        <p:txBody>
          <a:bodyPr/>
          <a:lstStyle>
            <a:lvl1pPr>
              <a:spcAft>
                <a:spcPts val="300"/>
              </a:spcAft>
              <a:defRPr sz="2400">
                <a:latin typeface="+mj-lt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7848600" y="1172402"/>
            <a:ext cx="3771900" cy="553998"/>
          </a:xfrm>
        </p:spPr>
        <p:txBody>
          <a:bodyPr wrap="square" anchor="t" anchorCtr="0">
            <a:spAutoFit/>
          </a:bodyPr>
          <a:lstStyle>
            <a:lvl1pPr>
              <a:defRPr sz="3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XX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E4E13D-43FB-4287-8055-FE35994AA77F}"/>
              </a:ext>
            </a:extLst>
          </p:cNvPr>
          <p:cNvCxnSpPr>
            <a:cxnSpLocks/>
          </p:cNvCxnSpPr>
          <p:nvPr/>
        </p:nvCxnSpPr>
        <p:spPr>
          <a:xfrm>
            <a:off x="7847932" y="1066800"/>
            <a:ext cx="3780167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F04E06-6C46-46FE-9956-F0E8ED6633DF}"/>
              </a:ext>
            </a:extLst>
          </p:cNvPr>
          <p:cNvCxnSpPr>
            <a:cxnSpLocks/>
          </p:cNvCxnSpPr>
          <p:nvPr/>
        </p:nvCxnSpPr>
        <p:spPr>
          <a:xfrm>
            <a:off x="7847932" y="3429000"/>
            <a:ext cx="3780167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C652CDCF-A770-46B4-8121-F76B79BBD16B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BC8C455-2242-44E3-A715-51CE102AB98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53721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C222245D-C3A3-4396-926D-88ECBE5C8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53721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0676A19-4AB7-4E11-A8A8-87E09D920368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848600" y="4276402"/>
            <a:ext cx="3771900" cy="1242697"/>
          </a:xfrm>
        </p:spPr>
        <p:txBody>
          <a:bodyPr/>
          <a:lstStyle>
            <a:lvl1pPr>
              <a:spcAft>
                <a:spcPts val="300"/>
              </a:spcAft>
              <a:defRPr sz="2400">
                <a:latin typeface="+mj-lt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05020DF-F1F5-4BD5-B207-F94988F4F455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848600" y="3543424"/>
            <a:ext cx="37719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A0EEA72-5966-4ADA-9370-9330195584D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01152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Four Data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067269" y="3539749"/>
            <a:ext cx="2551216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9067184" y="4298127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9067800" y="1778380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067800" y="1020002"/>
            <a:ext cx="25527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E4E13D-43FB-4287-8055-FE35994AA77F}"/>
              </a:ext>
            </a:extLst>
          </p:cNvPr>
          <p:cNvCxnSpPr>
            <a:cxnSpLocks/>
          </p:cNvCxnSpPr>
          <p:nvPr/>
        </p:nvCxnSpPr>
        <p:spPr>
          <a:xfrm>
            <a:off x="9069804" y="9144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F04E06-6C46-46FE-9956-F0E8ED6633DF}"/>
              </a:ext>
            </a:extLst>
          </p:cNvPr>
          <p:cNvCxnSpPr>
            <a:cxnSpLocks/>
          </p:cNvCxnSpPr>
          <p:nvPr/>
        </p:nvCxnSpPr>
        <p:spPr>
          <a:xfrm>
            <a:off x="9069804" y="342899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13425D7-1452-4F87-AE64-7C2F048C2469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248485" y="3539749"/>
            <a:ext cx="2551216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806E283-8E77-44C1-84BC-00B971D42EBD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248400" y="4298127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BDD5CD07-CCF1-451E-8B13-2BE3821C220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249016" y="1778385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sz="1600">
                <a:latin typeface="+mj-lt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DD3D7F-C0BF-415A-9378-D8759CED06B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9016" y="1020002"/>
            <a:ext cx="25527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B67A14D-E25C-4D75-8D2E-0D450CE9656D}"/>
              </a:ext>
            </a:extLst>
          </p:cNvPr>
          <p:cNvCxnSpPr>
            <a:cxnSpLocks/>
          </p:cNvCxnSpPr>
          <p:nvPr/>
        </p:nvCxnSpPr>
        <p:spPr>
          <a:xfrm>
            <a:off x="6251020" y="91440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9FFCD6B-6781-45B9-A0FF-441B99A220B5}"/>
              </a:ext>
            </a:extLst>
          </p:cNvPr>
          <p:cNvCxnSpPr>
            <a:cxnSpLocks/>
          </p:cNvCxnSpPr>
          <p:nvPr/>
        </p:nvCxnSpPr>
        <p:spPr>
          <a:xfrm>
            <a:off x="6251020" y="34290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58239EE2-4739-4DF9-A78C-6994DD9D6E29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8EBC35A6-C3F6-4CAA-B6FE-77A0C0F6904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53721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367F26D2-980E-498C-9B01-AEF3F1821C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53721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1DE9A97B-CB1E-4FA3-9806-5D1E1D446DEE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331728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C865750-8F0C-6B4A-A308-228D6B53EE0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254B061-C071-4247-8356-D55F1F50C5D6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8E7470-A9D2-4756-B67E-9B25728B0E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E2BE28-CF01-49D3-AF0B-092C5B9F5DD1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7E1B09A-7737-4F73-8857-1144D4CA24F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8905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1E636F5-6A4B-4828-9183-C8400F5ABCF5}"/>
              </a:ext>
            </a:extLst>
          </p:cNvPr>
          <p:cNvSpPr/>
          <p:nvPr/>
        </p:nvSpPr>
        <p:spPr>
          <a:xfrm>
            <a:off x="5057939" y="0"/>
            <a:ext cx="7134061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2400"/>
          </a:p>
        </p:txBody>
      </p:sp>
      <p:pic>
        <p:nvPicPr>
          <p:cNvPr id="4" name="Picture 3" descr="Shape&#10;&#10;Description automatically generated with low confidence">
            <a:extLst>
              <a:ext uri="{FF2B5EF4-FFF2-40B4-BE49-F238E27FC236}">
                <a16:creationId xmlns:a16="http://schemas.microsoft.com/office/drawing/2014/main" id="{6B69FA11-F1E1-4B33-8E32-5B46A1FDAB9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233" t="7036" r="21762" b="5471"/>
          <a:stretch/>
        </p:blipFill>
        <p:spPr>
          <a:xfrm>
            <a:off x="5057940" y="1"/>
            <a:ext cx="7134061" cy="685800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707731" y="808589"/>
            <a:ext cx="3834479" cy="5078947"/>
          </a:xfrm>
          <a:prstGeom prst="roundRect">
            <a:avLst>
              <a:gd name="adj" fmla="val 3419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Autofit/>
          </a:bodyPr>
          <a:lstStyle>
            <a:lvl1pPr>
              <a:defRPr lang="en-US" sz="1824" kern="1200" dirty="0">
                <a:solidFill>
                  <a:schemeClr val="bg1"/>
                </a:solidFill>
              </a:defRPr>
            </a:lvl1pPr>
          </a:lstStyle>
          <a:p>
            <a:pPr marL="0" lvl="0" indent="0" algn="ctr" defTabSz="926372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4127796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4122168" cy="3425840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>
              <a:defRPr sz="1067"/>
            </a:lvl2pPr>
            <a:lvl3pPr>
              <a:defRPr sz="800"/>
            </a:lvl3pPr>
            <a:lvl4pPr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F424E698-4494-46F3-8F20-9F3B17235C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1" y="339201"/>
            <a:ext cx="43389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8AF7E76-8209-411A-B757-C8624EF0A9AE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8E5B2ECF-4C99-4006-811B-9D446CFDFF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4603758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6A164E9-1234-4BC2-B8E7-F3047AC35998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9BFEE4A-F2C6-4F21-8071-313D1B3C613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361C734-A636-4E0E-A708-B9C530351863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DDA5770-9471-B746-BDC8-3306A09120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2453D8B-1785-4D30-B87D-91AEE8A23A9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98165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9CBA9FE-67A6-43C6-8EE8-C7E8559F1DB7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1486C46-F4F9-421A-A39F-3E52A938244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BE82382-DE4E-4A48-A33B-C56A93877509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FAB8C5-AE86-9F4C-A87D-A5551D4E663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40A3314-D7F9-4E72-B2F7-E008E985900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622820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2B69982-B253-4DE6-9C5E-FB93C3A27F4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22572" y="4880809"/>
            <a:ext cx="6145427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lang="en-US" sz="1400" b="0" i="0" kern="0" spc="0" baseline="0" dirty="0">
                <a:solidFill>
                  <a:schemeClr val="tx1"/>
                </a:solidFill>
                <a:latin typeface="CiscoSansTT Medium" panose="020B0903020201020303" pitchFamily="34" charset="0"/>
                <a:ea typeface="+mn-ea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Insert name her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46ED238B-31FF-436C-9838-14BADBEE1071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3429000" y="4648200"/>
            <a:ext cx="952500" cy="952500"/>
          </a:xfrm>
          <a:prstGeom prst="ellipse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67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13AA95C-29B9-4045-B598-AA928D1B9666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4522572" y="5225969"/>
            <a:ext cx="6145427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lang="en-US" sz="12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Job title, company, loc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C98AB57-B534-43CE-8598-7264AC2F5F2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FB38577-29E6-6546-851F-B5859A13FFB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C6E4486-5C09-4179-B8AA-BE5DFD4AA98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63431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8ECCB6B-46C4-4E71-97ED-219163FCE9B9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D938136-20C6-401D-BA2C-F3CC96E9757F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94868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20F9E4-16CA-4B30-ADCC-BD4809B43944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0FB953B-93BA-45FD-AD0D-5A607DEF5ABD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17163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D4C5D01-C630-4FFC-963D-B04C145573C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348D590-B05C-4613-AFD1-D65C0ED502C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9253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5" y="6431691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92773B-7150-44D2-AFDB-DE60A8A0F625}"/>
              </a:ext>
            </a:extLst>
          </p:cNvPr>
          <p:cNvSpPr/>
          <p:nvPr/>
        </p:nvSpPr>
        <p:spPr>
          <a:xfrm>
            <a:off x="304800" y="6414273"/>
            <a:ext cx="2819400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BEBFBF78-0E90-472B-B2BB-48C8ECC385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39585" y="2209800"/>
            <a:ext cx="2912830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13006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5" y="6431691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B8EB6A92-1A18-4242-B37B-061D783A1E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33353" y="6061498"/>
            <a:ext cx="1633196" cy="49932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79071DA-63B2-46A2-892F-B272FF3B2408}"/>
              </a:ext>
            </a:extLst>
          </p:cNvPr>
          <p:cNvSpPr/>
          <p:nvPr/>
        </p:nvSpPr>
        <p:spPr>
          <a:xfrm>
            <a:off x="525451" y="6410479"/>
            <a:ext cx="503249" cy="1503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31605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Tablet Landscap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6EE0FED-0F8F-1D4B-BDC6-134B0FE8D3AF}"/>
              </a:ext>
            </a:extLst>
          </p:cNvPr>
          <p:cNvSpPr/>
          <p:nvPr/>
        </p:nvSpPr>
        <p:spPr>
          <a:xfrm>
            <a:off x="5062331" y="0"/>
            <a:ext cx="7129671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00FA166-5D3F-4D89-9646-F16A985660E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1" y="2514601"/>
            <a:ext cx="25527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D5EF8DF4-D66B-4316-8BD1-64264C11AF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E9CD8F1-BCCB-4886-9A5C-6DBC2AED36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609600"/>
            <a:ext cx="25527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title style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6FD1787-7068-07A3-9318-574B3196D695}"/>
              </a:ext>
            </a:extLst>
          </p:cNvPr>
          <p:cNvSpPr/>
          <p:nvPr/>
        </p:nvSpPr>
        <p:spPr>
          <a:xfrm>
            <a:off x="3726989" y="6401749"/>
            <a:ext cx="1338147" cy="2988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</p:spTree>
    <p:extLst>
      <p:ext uri="{BB962C8B-B14F-4D97-AF65-F5344CB8AC3E}">
        <p14:creationId xmlns:p14="http://schemas.microsoft.com/office/powerpoint/2010/main" val="31585132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488">
          <p15:clr>
            <a:srgbClr val="A4A3A4"/>
          </p15:clr>
        </p15:guide>
        <p15:guide id="3" orient="horz" pos="1584">
          <p15:clr>
            <a:srgbClr val="A4A3A4"/>
          </p15:clr>
        </p15:guide>
      </p15:sldGuideLst>
    </p:ext>
  </p:extLst>
</p:sldLayout>
</file>

<file path=ppt/slideLayouts/slideLayout4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823546-74DE-0C5E-3F45-DCF2499607E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28066A-8C13-42B2-4288-EDAE5AB41A9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FDE1EFF-C887-11DE-4D99-256076C6E97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2BF86C7-857C-304E-91EE-AA5604F2AE5A}" type="datetimeFigureOut">
              <a:rPr lang="en-US" smtClean="0"/>
              <a:t>3/31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F19557F-EAAE-9191-260D-0421086E1E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04A719C-AC09-8626-D46D-7161288600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CB9252F-88AB-8843-92A3-664F68C9C3F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81049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FEBBE46E-B9BB-40B1-95D6-649264D774C8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2400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034456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5029200" cy="3425840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>
              <a:defRPr sz="1067"/>
            </a:lvl2pPr>
            <a:lvl3pPr>
              <a:defRPr sz="800"/>
            </a:lvl3pPr>
            <a:lvl4pPr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E048EA1C-81C8-41B0-B2DC-FB9CC18F813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pic>
        <p:nvPicPr>
          <p:cNvPr id="7" name="Picture 6" descr="Icon&#10;&#10;Description automatically generated">
            <a:extLst>
              <a:ext uri="{FF2B5EF4-FFF2-40B4-BE49-F238E27FC236}">
                <a16:creationId xmlns:a16="http://schemas.microsoft.com/office/drawing/2014/main" id="{514775F1-40EF-4939-89BC-5E25CD229E13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2652" r="22652"/>
          <a:stretch/>
        </p:blipFill>
        <p:spPr>
          <a:xfrm>
            <a:off x="6096001" y="0"/>
            <a:ext cx="6096000" cy="6858000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836362" y="606457"/>
            <a:ext cx="2615279" cy="5628519"/>
          </a:xfrm>
          <a:prstGeom prst="roundRect">
            <a:avLst>
              <a:gd name="adj" fmla="val 10423"/>
            </a:avLst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Autofit/>
          </a:bodyPr>
          <a:lstStyle>
            <a:lvl1pPr>
              <a:defRPr lang="en-US" sz="1824" kern="1200" dirty="0">
                <a:solidFill>
                  <a:schemeClr val="bg1"/>
                </a:solidFill>
              </a:defRPr>
            </a:lvl1pPr>
          </a:lstStyle>
          <a:p>
            <a:pPr marL="0" lvl="0" indent="0" algn="ctr" defTabSz="926372">
              <a:buNone/>
            </a:pPr>
            <a:r>
              <a:rPr lang="en-US"/>
              <a:t>Insert imag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591ECEB5-1B89-4D2E-9E59-533839F6095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7F3FB011-CB8F-4F59-A86A-B06A9101E32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1846964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itle Only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E1C715D-9112-4A01-AD63-361439BFB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9F8E654-663B-4D0C-965A-BB4C18E69BA2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377295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4869789"/>
            <a:ext cx="7277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1500" y="5248892"/>
            <a:ext cx="72771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790701"/>
            <a:ext cx="7277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0" y="3431817"/>
            <a:ext cx="7277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0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C213C3D1-EB09-4146-8395-36A5B8D30F2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00053" y="6133088"/>
            <a:ext cx="1366496" cy="41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73153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lf &amp; Half Title Slide Dark Layout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4869789"/>
            <a:ext cx="5372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1500" y="5248892"/>
            <a:ext cx="53721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790701"/>
            <a:ext cx="5372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0" y="3431817"/>
            <a:ext cx="5372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73A75F9-B823-4C33-BC6A-70650FACD3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48400" y="0"/>
            <a:ext cx="5943600" cy="6858000"/>
          </a:xfrm>
          <a:noFill/>
        </p:spPr>
        <p:txBody>
          <a:bodyPr anchor="ctr" anchorCtr="0"/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2401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ive Topics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3721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213C59-7880-41D1-9DE5-B53FA71B4F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48400" y="609600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0BD0D78-FA9C-47FE-A8C5-A942C1A9A1E0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080810" y="609600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4D1B0561-72B3-4A7C-9434-B0EDE523688D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080810" y="1037804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FB88D30E-5998-42C2-BFDA-6C6AA1F33F7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48400" y="164719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6D18BF23-F279-48A8-8AFF-AC70F73F091E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7080810" y="1647193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8445664B-F9E1-4D1D-9F6E-DA27AF43C21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7080810" y="2075397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31F0F46D-89DF-46CA-934B-C124727D937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48400" y="2684788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8BB0DD2A-742F-4019-B2A6-6AC6CF3BEEA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080810" y="2684787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4D48E93A-11A3-45A0-961F-26062021432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080810" y="3112991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365D378F-8BFE-41E2-A048-4F1E113B408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48400" y="3722381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4681FE84-1510-4206-91AF-B290EF3C0E1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7080810" y="3722381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58EB90C9-03A7-449D-A8F3-B379B319950E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7080810" y="4150585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E3E332E3-41A2-4350-A7FE-20CB379706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0" y="475997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948A5A7B-49E0-4CF2-8080-E002145F2FF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10" y="4759974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B8F46644-76D3-4C51-9163-739A1F5F7650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10" y="5188178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EA8191E0-49D0-4036-B896-597B5FEF138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3458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Ten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3721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2875B737-D8C9-4B5A-A987-E648592F8AB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71500" y="2437942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1BC899D-37C3-4568-A4DF-0B0EDE20DC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403910" y="243794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B5D11EE-1D55-4041-81BF-2D405343AEB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1403910" y="286614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78F2AB5-8A22-4344-B743-464793BF69F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71500" y="327862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2A1D5CE-6473-44B2-BC10-1AC73E1B795C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403910" y="327862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D8A733FF-648D-413A-A965-9380FF19EB3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403910" y="370682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C4EAFF18-13A5-4454-9A4E-50C9683A086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71500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3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5CFB554-4FA5-44FE-AD9D-94ADB8A1596B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403910" y="4118817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E82D60C9-C7E6-4DE4-8E8B-9A9D85E509A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1403910" y="4547021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1C81A21-CB5C-4EBA-AA54-D73A670B36B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71500" y="4959740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4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3D704AA8-F2E6-4E6E-BA0F-C73614C721D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1403910" y="4959740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66AE59D2-11F7-416C-B366-F23200F2C468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403910" y="5387944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898C6801-7507-4803-A711-42CEC857E56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0" y="243794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5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7589C976-7FFB-4218-BF7E-1F78F2A1F02C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10" y="243794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0F3DDABD-EE25-49C3-9A53-2657DAD77A8C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10" y="286614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17167DB7-5308-42DC-AEE9-AAED2ED164D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248400" y="327862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6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620B5D7B-672A-4FB9-9717-E785586DA30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7080810" y="327862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E23B210E-5C88-4516-A864-36247F88D733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7080810" y="370682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37DB0FAF-76DD-43D1-B897-9417F5B3AB7B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48400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7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B0C7BE68-E1A9-48A3-8ADD-8FDB96C02A40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7080810" y="4118817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5195D37A-ED4A-4E1F-A476-81831613075B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080810" y="4547021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62FE476F-78D3-4BBD-ADB0-A014E40BC384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48400" y="4959740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8</a:t>
            </a:r>
          </a:p>
        </p:txBody>
      </p:sp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D42D2D51-155D-4C35-BC5F-B8F1C46DC335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7080810" y="4959740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EBF4B885-D002-47D6-8922-12B72E21CACE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7080810" y="5387944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2DB28A58-94F9-401A-ADF6-47C90FEA956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585201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696DE5-6EFF-4C09-9943-5FCA93FF6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011A5B07-96E9-42C8-81C4-56D26550D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CCC6C03-EF21-44ED-8593-CDA31C61E8DD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8128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564E15E-85C2-40F1-B654-E42DCFBA1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 marL="0" indent="0">
              <a:buNone/>
              <a:defRPr sz="1400"/>
            </a:lvl2pPr>
            <a:lvl3pPr marL="228600" indent="0">
              <a:buNone/>
              <a:defRPr sz="1200"/>
            </a:lvl3pPr>
            <a:lvl4pPr marL="406400" indent="0"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30370F4-DF08-4B4A-A3BB-EB8905622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1E1701B-4C10-476A-8FDF-6089699136E1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379703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E1C715D-9112-4A01-AD63-361439BFB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A02B8EA-12A2-4673-BF3F-8D4FB8234D2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05763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8EE2313-2646-4E0B-B6B4-BA07574D2F8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D9DF569-2B30-EE4C-8D21-F21B97793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C61E8BE-7C30-466D-96E8-145E0409391E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460258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CE85B47-180E-0542-8A98-FABBBFB2A6D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265EAF99-811E-0A42-AD86-6F1F07B547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BC72363-F3A6-5E44-AD40-7647C83973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 marL="174625" indent="-174625">
              <a:defRPr sz="1400"/>
            </a:lvl2pPr>
            <a:lvl3pPr marL="346075" indent="-171450"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A216F31-D19E-4174-ACB7-CAFBD6AE68A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97370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con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24644A4A-627D-4251-93AA-A2954900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2639207" cy="12700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A8E6EAB-22F0-4C89-85F8-D4D94992ED22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63903" y="2960399"/>
            <a:ext cx="2628477" cy="46860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E64A8B51-1A62-459A-8DD3-93B84E82D8DE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563903" y="4880033"/>
            <a:ext cx="2628477" cy="468603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B195F9B-18C2-43DD-8D28-DB82565A615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63903" y="3562115"/>
            <a:ext cx="2628476" cy="828268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33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F88AC67-0FCF-4070-8745-F2172B2CACC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63903" y="5489883"/>
            <a:ext cx="2628476" cy="828268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33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0695B177-CA0C-4E8C-A61A-DBFC0E3A7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444E932-C1FA-4694-B252-213CE981534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3904" y="255117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49D67FC-44E3-4A0F-B284-2778CCA9C97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58800" y="45168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4FEE173B-1D21-4AB4-A421-1AB61B9F8D8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509" spc="-96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Insert imag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84F5CA4-EDBB-48D4-AAFB-EA7E85ACF64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2722589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F01439ED-29DA-4405-95E2-BA47702ECD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6559084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66674A7-0DAD-C54D-BB6A-AB4B6F3D1CF2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48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4BFEFE0-97D7-B240-BC88-FC22052279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82028C6-D96F-A145-862B-ED80E5C5EF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600"/>
            </a:lvl1pPr>
            <a:lvl2pPr marL="0" indent="0">
              <a:buFontTx/>
              <a:buNone/>
              <a:defRPr sz="1400"/>
            </a:lvl2pPr>
            <a:lvl3pPr marL="228600" indent="0">
              <a:buFontTx/>
              <a:buNone/>
              <a:defRPr sz="1200"/>
            </a:lvl3pPr>
            <a:lvl4pPr marL="406400" indent="0">
              <a:buFontTx/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A8F312C-C046-4076-8AB0-7EBEDB95055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20433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8C469D-456E-4ECF-83FA-AF1F3BDB26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500" y="1905000"/>
            <a:ext cx="5372100" cy="4305301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8E86-A92A-495E-A49E-35F25D765A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1905000"/>
            <a:ext cx="5372100" cy="4305302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512763" indent="-169863"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  <a:lvl5pPr marL="746125" indent="-174625">
              <a:defRPr lang="en-US" sz="600" b="0" i="0" kern="1200" spc="0" baseline="0" dirty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274A685-F33F-448C-B6FE-AB508BA75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9306D53-D47B-4F16-A012-78C12883E1D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912769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, Title &amp;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DC1BA0-9AAE-4457-AB7A-2225418D1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2663" y="1905000"/>
            <a:ext cx="5372100" cy="30777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87F35FC-680E-4287-99BA-ED6DF9E6085D}"/>
              </a:ext>
            </a:extLst>
          </p:cNvPr>
          <p:cNvSpPr>
            <a:spLocks noGrp="1"/>
          </p:cNvSpPr>
          <p:nvPr>
            <p:ph type="body" idx="57"/>
          </p:nvPr>
        </p:nvSpPr>
        <p:spPr>
          <a:xfrm>
            <a:off x="6249563" y="1905000"/>
            <a:ext cx="5372100" cy="307777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E451DCD-2B8C-4BF9-8D85-AA8F5ABE2826}"/>
              </a:ext>
            </a:extLst>
          </p:cNvPr>
          <p:cNvSpPr>
            <a:spLocks noGrp="1"/>
          </p:cNvSpPr>
          <p:nvPr>
            <p:ph sz="half" idx="58"/>
          </p:nvPr>
        </p:nvSpPr>
        <p:spPr>
          <a:xfrm>
            <a:off x="571500" y="2369053"/>
            <a:ext cx="5372100" cy="3841249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F39D5E2-4E9E-4B26-9E69-7D77328E4C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2369052"/>
            <a:ext cx="5372100" cy="3841249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 marL="746125" indent="-174625">
              <a:defRPr lang="en-US" sz="600" b="0" i="0" kern="1200" spc="0" baseline="0" dirty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C2285B0-0824-4973-8F1D-C24F2784A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D5DBBD6-CA78-4551-B263-2F8BFC4E781A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54604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58696A-2388-495D-981D-050920BB5C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5334000"/>
            <a:ext cx="5372099" cy="876300"/>
          </a:xfrm>
        </p:spPr>
        <p:txBody>
          <a:bodyPr>
            <a:noAutofit/>
          </a:bodyPr>
          <a:lstStyle>
            <a:lvl1pPr marL="0" indent="0">
              <a:buNone/>
              <a:tabLst/>
              <a:defRPr sz="16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C009990-5F38-4F94-ABE2-44DA301BD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0" y="5334000"/>
            <a:ext cx="5372099" cy="876300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D01E734-4CA7-4CBD-A769-BCC20375564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1500" y="1905000"/>
            <a:ext cx="5372100" cy="3271156"/>
          </a:xfrm>
          <a:solidFill>
            <a:schemeClr val="bg2"/>
          </a:solidFill>
        </p:spPr>
        <p:txBody>
          <a:bodyPr anchor="ctr" anchorCtr="0">
            <a:no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2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E24BD1C9-BB6F-4B1A-B0AC-70FBFBAD0DD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48400" y="1905000"/>
            <a:ext cx="5372100" cy="3271156"/>
          </a:xfrm>
          <a:solidFill>
            <a:schemeClr val="bg2"/>
          </a:solidFill>
        </p:spPr>
        <p:txBody>
          <a:bodyPr anchor="ctr" anchorCtr="0">
            <a:no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2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C3A3765-3130-474C-96F5-7E50AE68B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840F6A6-3445-46E0-90CD-B778CB75CB3D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04116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AD8007C-DE91-4E81-8041-976C5135CD04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290425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054F9D6-4889-4D51-9ADF-D453DFF1E8E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905000"/>
            <a:ext cx="12192000" cy="43053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algn="ctr"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3476B1-5604-4136-9D0F-58F8AF89B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CDEE37D-020A-4A22-922F-31441A6C8745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94825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054F9D6-4889-4D51-9ADF-D453DFF1E8E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blipFill dpi="0" rotWithShape="1">
            <a:blip r:embed="rId2">
              <a:alphaModFix amt="2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96465F4-B55E-463E-9A4A-F93B1EE9FD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6807" y="6364637"/>
            <a:ext cx="503671" cy="221124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81D1E80-33EB-4E5D-9415-4B0EE02EBDF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87084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6734A84-A20E-4265-848D-432FAF49C4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76FF25-9CEA-4D73-9CD8-BCF0613C55EA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18166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4BE6003-571D-4817-A40A-6421214126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4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92C7D0-4978-4D65-A39E-9CB076EFBCC3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50020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79EE8F-1900-4C5E-A4C1-BB6BE90235E1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32640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C02DD20F-504D-C649-86C3-0A7F098F66D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110017" y="986527"/>
            <a:ext cx="3518084" cy="4999727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509" spc="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Insert imag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93DBED3D-CA03-E943-B119-9872641B21D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336957" y="986527"/>
            <a:ext cx="3503571" cy="4999727"/>
          </a:xfrm>
          <a:prstGeom prst="rect">
            <a:avLst/>
          </a:prstGeom>
          <a:solidFill>
            <a:srgbClr val="F2F2F2"/>
          </a:solidFill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2509" spc="0" dirty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marL="0" lvl="0" indent="0" algn="ctr">
              <a:buNone/>
            </a:pPr>
            <a:r>
              <a:rPr lang="en-US"/>
              <a:t>Insert imag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B2924BE-0F83-44F9-8B78-9A892E025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3431871" cy="12700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7350F883-4CBA-438B-9F10-05CAA3763AF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2612573"/>
            <a:ext cx="3421387" cy="96404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spc="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9CBC7F64-D22B-46D6-976F-39473E94D2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A76585B6-D6AA-4B89-AF27-606CBEE93F5F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799" y="3776036"/>
            <a:ext cx="3426244" cy="2225208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 spc="0"/>
            </a:lvl1pPr>
            <a:lvl2pPr>
              <a:defRPr sz="1067" spc="0"/>
            </a:lvl2pPr>
            <a:lvl3pPr>
              <a:defRPr sz="800" spc="0"/>
            </a:lvl3pPr>
            <a:lvl4pPr>
              <a:defRPr sz="400" spc="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AF259D3-3646-418A-ACF1-144AE8A5AA6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161CFB47-5D97-455D-9076-8BE7CF7DCA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5785383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D6DF483-DD51-444D-AF16-AF31E72FDD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514350" indent="-171450">
              <a:buFont typeface="Arial" panose="020B0604020202020204" pitchFamily="34" charset="0"/>
              <a:buChar char="•"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0BAC715-F543-452A-80B1-3A07B10B2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73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524910-4FFE-49EA-99DE-65BFB724546B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21631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4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1E1BB935-C530-47D2-883E-00828E3A8FC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200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D970870-8847-48D6-ACCA-B0F7D662F2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 marL="514350" indent="-171450">
              <a:buFont typeface="Arial" panose="020B0604020202020204" pitchFamily="34" charset="0"/>
              <a:buChar char="•"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8CEBD18-98E9-4568-A90A-5715A834E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73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38F8A1A-3A97-4C8E-9550-2C62BC10A83F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0564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4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FEF2E81-694A-4A5A-BEDE-DF13285D820B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5E2598-51C8-4F83-B09D-69C86C142A3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1905000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737D39F-19A0-4D2A-8E85-527465AFD610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188208" y="1905000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4FE5E7B-ECDC-404D-9B30-E7B580CCEED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714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1CDB75F-12E1-4403-B291-31A3B1C83B0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1882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BA687946-9318-4CD5-B900-AA488A7BDA5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200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ECBF8DC3-DA3E-470B-AE86-6B154E24E3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73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312C61A-B9D3-456C-953D-82B30FE7C4A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78133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552">
          <p15:clr>
            <a:srgbClr val="A4A3A4"/>
          </p15:clr>
        </p15:guide>
        <p15:guide id="3" pos="4128">
          <p15:clr>
            <a:srgbClr val="A4A3A4"/>
          </p15:clr>
        </p15:guide>
        <p15:guide id="4" orient="horz" pos="1656">
          <p15:clr>
            <a:srgbClr val="A4A3A4"/>
          </p15:clr>
        </p15:guide>
        <p15:guide id="5" orient="horz" pos="1752">
          <p15:clr>
            <a:srgbClr val="A4A3A4"/>
          </p15:clr>
        </p15:guide>
      </p15:sldGuideLst>
    </p:ext>
  </p:extLst>
</p:sldLayout>
</file>

<file path=ppt/slideLayouts/slideLayout4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689F426-4C63-454D-B133-BC94D9D160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B15451E-AF4B-4B3A-B376-2003DB48C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76995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9F1EE91-F457-4893-88BA-AF3B71081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490D2D3-F0B6-4527-A912-AE8F2F7E703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714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D27C7EF2-E1C7-403F-81BA-2822B0BADEE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1882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322DDD1-796F-4817-A0A2-B54629B89214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1905000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5075854-0A14-4136-BC79-1BC72756705A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188208" y="1905000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002738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552">
          <p15:clr>
            <a:srgbClr val="A4A3A4"/>
          </p15:clr>
        </p15:guide>
        <p15:guide id="2" pos="4152">
          <p15:clr>
            <a:srgbClr val="A4A3A4"/>
          </p15:clr>
        </p15:guide>
      </p15:sldGuideLst>
    </p:ext>
  </p:extLst>
</p:sldLayout>
</file>

<file path=ppt/slideLayouts/slideLayout4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AEEE0BE-B874-4CB1-92B1-404602B5CA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B74128E-BA5E-4242-8B4E-D1F742670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1F61BA1-F848-4E08-8C07-5D6D5E6C0A8C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97566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4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C82BCFB0-2C06-4262-9388-B4438F4E968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68778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E96ABEA8-C693-429B-8E00-CBD848A92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1F330DC-3ED8-470C-84C4-C7D10A9020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8BD350E-1BA7-4789-8917-9D2180DC456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31099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4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2BE86DFA-31C3-4F24-A7FF-57697A0FEFD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68778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BA23DE7-CFFA-40A9-9A64-A60D8665455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553199" y="1910149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60001BE-2917-4768-B6B6-BEC070C85F3E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71232" y="1910149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F033B061-30E2-4203-B7D3-0E4FF6C4CC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4F90B59D-E2BD-42BC-B3BC-06F77504882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5531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8269256-DD80-4564-A3AF-D017D4A7ED5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1699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BB20381-4C93-463A-927C-0BB3E602CAA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9496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4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F60A532-8EEA-467C-8E7E-39CF1DB485A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6D3B650-5EC2-4F87-A7DF-85C7547613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4FB1BE2-EC71-4AA4-B103-A670DCD7AA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55836A8-05ED-470D-9C33-44AD1D4866F1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0074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4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F60A532-8EEA-467C-8E7E-39CF1DB485A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9A0B76E-2F1E-4BD6-AA72-3682A69C9C34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553199" y="1910149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5818B49-B6BC-412E-A21D-631A69222221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71232" y="1910149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442FDF7C-40C4-4C20-819D-D8B06F0E8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7B14163-B0FE-4287-968A-93DE8034681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5531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4927BC81-4C08-47F4-BA08-8F857CA477A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1699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E009170-4223-4B7A-A077-F74B3DE3688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5494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and data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642F883-A541-DB46-9654-B4F21790C041}"/>
              </a:ext>
            </a:extLst>
          </p:cNvPr>
          <p:cNvCxnSpPr>
            <a:cxnSpLocks/>
          </p:cNvCxnSpPr>
          <p:nvPr/>
        </p:nvCxnSpPr>
        <p:spPr>
          <a:xfrm>
            <a:off x="563902" y="3013016"/>
            <a:ext cx="3501661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56930F6-4614-C940-AA31-EB153B9A3C14}"/>
              </a:ext>
            </a:extLst>
          </p:cNvPr>
          <p:cNvCxnSpPr>
            <a:cxnSpLocks/>
          </p:cNvCxnSpPr>
          <p:nvPr/>
        </p:nvCxnSpPr>
        <p:spPr>
          <a:xfrm>
            <a:off x="4337616" y="3013016"/>
            <a:ext cx="3501661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E609397-087F-854B-9535-E4D803EA438C}"/>
              </a:ext>
            </a:extLst>
          </p:cNvPr>
          <p:cNvCxnSpPr>
            <a:cxnSpLocks/>
          </p:cNvCxnSpPr>
          <p:nvPr/>
        </p:nvCxnSpPr>
        <p:spPr>
          <a:xfrm>
            <a:off x="8125846" y="3013016"/>
            <a:ext cx="3501661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F6D98EE6-CE26-5746-9F24-417E0C5D93D7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513103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20%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756C9CF0-3AB5-A549-A273-298CB4402764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4308588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-300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47EE0A8E-A5BD-3644-A4C4-B97D607EF556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8089559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80+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8A16D6C-FD3D-414B-9631-678E295DE32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9F0397D-3C93-7845-879A-16F144523B4C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4164765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A03067A-3923-2647-97D3-023C8639F1D2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1FC53C6-F2F8-42A2-A49B-A9238A0EDA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4756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data</a:t>
            </a:r>
          </a:p>
        </p:txBody>
      </p:sp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8A082190-6F7B-4BB6-90A3-08A8220E1F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1FA8DC3-99FB-49CE-B894-90F025FACC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CAF1C110-2104-4113-AC2A-0735ED1299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409824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A305123-92F2-4B89-A355-7539327F08C3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1500" y="2787408"/>
            <a:ext cx="3465576" cy="3420333"/>
          </a:xfrm>
        </p:spPr>
        <p:txBody>
          <a:bodyPr/>
          <a:lstStyle>
            <a:lvl3pPr>
              <a:defRPr/>
            </a:lvl3pPr>
            <a:lvl4pPr marL="514350" indent="-17145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1907558"/>
            <a:ext cx="3465576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2" name="Content Placeholder 4">
            <a:extLst>
              <a:ext uri="{FF2B5EF4-FFF2-40B4-BE49-F238E27FC236}">
                <a16:creationId xmlns:a16="http://schemas.microsoft.com/office/drawing/2014/main" id="{F96C995E-58E0-4A91-AA56-8759CFD3EA73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499" y="2787408"/>
            <a:ext cx="3467099" cy="3420333"/>
          </a:xfrm>
        </p:spPr>
        <p:txBody>
          <a:bodyPr/>
          <a:lstStyle>
            <a:lvl3pPr>
              <a:defRPr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071BF92C-4C07-4794-8CC8-D51F3173376C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0" y="1907558"/>
            <a:ext cx="3467099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4" name="Content Placeholder 4">
            <a:extLst>
              <a:ext uri="{FF2B5EF4-FFF2-40B4-BE49-F238E27FC236}">
                <a16:creationId xmlns:a16="http://schemas.microsoft.com/office/drawing/2014/main" id="{47F7CD6B-9884-4317-A0E7-31AE02F93993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0" y="2787408"/>
            <a:ext cx="3467100" cy="3420333"/>
          </a:xfrm>
        </p:spPr>
        <p:txBody>
          <a:bodyPr/>
          <a:lstStyle>
            <a:lvl3pPr marL="346075" indent="-171450">
              <a:buFont typeface="Arial" panose="020B0604020202020204" pitchFamily="34" charset="0"/>
              <a:buChar char="•"/>
              <a:defRPr/>
            </a:lvl3pPr>
            <a:lvl4pPr marL="512763" indent="-169863"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EECB8C3-35E8-4930-A0AE-3BA62609BFD9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8153400" y="1904999"/>
            <a:ext cx="3467100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9A2394E-0E95-4850-A756-0015178A4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50DAF14-F79F-48F1-BCFF-1EC74CF6ED79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88501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9CE094B7-A2CC-4860-A57D-F142C2E63FC6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4041159"/>
            <a:ext cx="3465576" cy="2169141"/>
          </a:xfrm>
        </p:spPr>
        <p:txBody>
          <a:bodyPr/>
          <a:lstStyle>
            <a:lvl3pPr marL="346075" indent="-17145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E2DCECB4-BB48-48B5-A871-A080DE20BDFF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499" y="4041159"/>
            <a:ext cx="3467099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Content Placeholder 4">
            <a:extLst>
              <a:ext uri="{FF2B5EF4-FFF2-40B4-BE49-F238E27FC236}">
                <a16:creationId xmlns:a16="http://schemas.microsoft.com/office/drawing/2014/main" id="{868F585C-1E6D-44C6-9295-9866846056CD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0" y="4038600"/>
            <a:ext cx="3467100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A1EBBB-1490-4A58-9FEB-3DAB9E66019A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577124" y="3429000"/>
            <a:ext cx="3465576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6C65CC39-4D00-45CB-AE15-8C3D3E976756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0" y="3429000"/>
            <a:ext cx="3467099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9291D51-BC1A-4ED4-8278-30B67F7C4AA7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8153400" y="3426441"/>
            <a:ext cx="3467100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94344F4-D05A-E24F-A679-CB39B058D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1084CAD-AB1E-47FC-A2EF-2D347CCE071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444485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C21223BB-13C2-46FE-9733-BCC3C77A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2102BF9D-05AF-4C40-AEC2-376EE9F4E666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577124" y="4041159"/>
            <a:ext cx="2514600" cy="2169141"/>
          </a:xfrm>
        </p:spPr>
        <p:txBody>
          <a:bodyPr/>
          <a:lstStyle>
            <a:lvl3pPr>
              <a:defRPr/>
            </a:lvl3pPr>
            <a:lvl4pPr marL="342900" indent="0">
              <a:buNone/>
              <a:defRPr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F548FAB6-7AFF-4D5A-A1E9-06C746623E4C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429001" y="4041159"/>
            <a:ext cx="2510730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FB91503-30B7-4FD7-846E-47F4CF9F474A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6244532" y="4041159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E14F77AB-427A-46FA-9A58-62890F9733C1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9088316" y="4041159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72B32549-6990-4E43-A843-9EEA9CC29CF0}"/>
              </a:ext>
            </a:extLst>
          </p:cNvPr>
          <p:cNvSpPr>
            <a:spLocks noGrp="1"/>
          </p:cNvSpPr>
          <p:nvPr>
            <p:ph type="body" sz="half" idx="77" hasCustomPrompt="1"/>
          </p:nvPr>
        </p:nvSpPr>
        <p:spPr>
          <a:xfrm>
            <a:off x="577124" y="3429000"/>
            <a:ext cx="25146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A54DA02-E155-45D5-B886-1EDF7135C93F}"/>
              </a:ext>
            </a:extLst>
          </p:cNvPr>
          <p:cNvSpPr>
            <a:spLocks noGrp="1"/>
          </p:cNvSpPr>
          <p:nvPr>
            <p:ph type="body" sz="half" idx="78" hasCustomPrompt="1"/>
          </p:nvPr>
        </p:nvSpPr>
        <p:spPr>
          <a:xfrm>
            <a:off x="3429001" y="3429000"/>
            <a:ext cx="2514599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EC4E001-5A82-4221-8FE3-9B25D98B0EA9}"/>
              </a:ext>
            </a:extLst>
          </p:cNvPr>
          <p:cNvSpPr>
            <a:spLocks noGrp="1"/>
          </p:cNvSpPr>
          <p:nvPr>
            <p:ph type="body" sz="half" idx="79" hasCustomPrompt="1"/>
          </p:nvPr>
        </p:nvSpPr>
        <p:spPr>
          <a:xfrm>
            <a:off x="6244532" y="3426441"/>
            <a:ext cx="2511833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E779C7D-755B-428C-BB0F-6496238D6D83}"/>
              </a:ext>
            </a:extLst>
          </p:cNvPr>
          <p:cNvSpPr>
            <a:spLocks noGrp="1"/>
          </p:cNvSpPr>
          <p:nvPr>
            <p:ph type="body" sz="half" idx="80" hasCustomPrompt="1"/>
          </p:nvPr>
        </p:nvSpPr>
        <p:spPr>
          <a:xfrm>
            <a:off x="9088316" y="3426441"/>
            <a:ext cx="2511833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A758410-2F69-431F-99F7-B6259194CBFF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17410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29000" y="0"/>
            <a:ext cx="8762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5309CA-3E25-47B8-99B6-670FE796BB9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971800"/>
            <a:ext cx="2552700" cy="3238500"/>
          </a:xfrm>
        </p:spPr>
        <p:txBody>
          <a:bodyPr/>
          <a:lstStyle>
            <a:lvl3pPr marL="346075" indent="-17145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8B3BBBD-95D5-473C-B5AA-4C86DA04A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2552700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2758080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872">
          <p15:clr>
            <a:srgbClr val="A4A3A4"/>
          </p15:clr>
        </p15:guide>
        <p15:guide id="3" orient="horz" pos="1680">
          <p15:clr>
            <a:srgbClr val="A4A3A4"/>
          </p15:clr>
        </p15:guide>
      </p15:sldGuideLst>
    </p:ext>
  </p:extLst>
</p:sldLayout>
</file>

<file path=ppt/slideLayouts/slideLayout4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76700" y="609600"/>
            <a:ext cx="75438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4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E0708104-F9EC-4157-95F0-FA326192EA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609600"/>
            <a:ext cx="2857500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</a:t>
            </a:r>
            <a:br>
              <a:rPr lang="en-US"/>
            </a:br>
            <a:r>
              <a:rPr lang="en-US"/>
              <a:t>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B1B1C66-A921-41B1-B007-79881FEFA60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971800"/>
            <a:ext cx="2857500" cy="3238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C2511D1-1C83-4E3F-B853-447E699CCCF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6580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29000" y="0"/>
            <a:ext cx="8762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4891977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71499" y="5486401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8" y="3631820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8" y="3037396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F1A913C-478C-4159-AD61-19314F8B1D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2552699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256701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94026FE-B789-4F5D-805E-02B0631E7EC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8" y="4891977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0788797-0721-4FDF-B9A8-D8FD6A85E245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71498" y="5486401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0231F72B-DB93-439F-8D5C-3A98DBB9C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609600"/>
            <a:ext cx="5372099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042C4D8C-C05E-40DC-A5F1-D8E216530543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8" y="3631820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79DD178-20FD-4061-A4CF-ADAD80B00223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8" y="3037396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55C8534-6B0E-41CD-9706-61F591BFF126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390900" y="4891977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0DECDBD2-EF07-4EFE-81B0-67DD271A8E4A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390900" y="5486401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A005CF03-ABB1-4046-89FC-A41C9CAD1DE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3390899" y="3631820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49AEAAD6-2FA1-420B-BCE8-48233BD945BF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3390899" y="3037396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45077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4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81500" y="609600"/>
            <a:ext cx="34671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</a:t>
            </a:r>
            <a:br>
              <a:rPr lang="en-US"/>
            </a:br>
            <a:r>
              <a:rPr lang="en-US"/>
              <a:t>photo here or click or tap </a:t>
            </a:r>
            <a:br>
              <a:rPr lang="en-US"/>
            </a:br>
            <a:r>
              <a:rPr lang="en-US"/>
              <a:t>icon 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80B26961-BE72-42FE-83E3-E9413C61E43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153400" y="609600"/>
            <a:ext cx="34671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</a:t>
            </a:r>
            <a:br>
              <a:rPr lang="en-US"/>
            </a:br>
            <a:r>
              <a:rPr lang="en-US"/>
              <a:t>photo here or click or tap </a:t>
            </a:r>
            <a:br>
              <a:rPr lang="en-US"/>
            </a:br>
            <a:r>
              <a:rPr lang="en-US"/>
              <a:t>icon 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7117EB1-347D-42E5-8273-C02EF79929C2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8" y="3276600"/>
            <a:ext cx="3505201" cy="29337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E1DC698-4F08-40A9-8E7D-20E5FF561A26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8" y="2057400"/>
            <a:ext cx="3505201" cy="1066800"/>
          </a:xfrm>
        </p:spPr>
        <p:txBody>
          <a:bodyPr wrap="square" anchor="b" anchorCtr="0">
            <a:noAutofit/>
          </a:bodyPr>
          <a:lstStyle>
            <a:lvl1pPr>
              <a:defRPr lang="en-US" sz="2000" dirty="0" smtClean="0"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D3E41E21-7547-4B83-8F53-91A26F07F5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3505201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6FBF98B-2A50-454A-BE00-7C981795572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51704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6EE0FED-0F8F-1D4B-BDC6-134B0FE8D3AF}"/>
              </a:ext>
            </a:extLst>
          </p:cNvPr>
          <p:cNvSpPr/>
          <p:nvPr/>
        </p:nvSpPr>
        <p:spPr>
          <a:xfrm>
            <a:off x="3428999" y="0"/>
            <a:ext cx="8763001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00FA166-5D3F-4D89-9646-F16A985660E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25527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E9CD8F1-BCCB-4886-9A5C-6DBC2AED36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25527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8F119A-0C2E-4A56-861D-52501224E76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36196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488">
          <p15:clr>
            <a:srgbClr val="A4A3A4"/>
          </p15:clr>
        </p15:guide>
        <p15:guide id="3" orient="horz" pos="1584">
          <p15:clr>
            <a:srgbClr val="A4A3A4"/>
          </p15:clr>
        </p15:guide>
      </p15:sldGuideLst>
    </p:ext>
  </p:extLst>
</p:sldLayout>
</file>

<file path=ppt/slideLayouts/slideLayout4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97389CA-AA00-4146-B54D-B32C999B76FE}"/>
              </a:ext>
            </a:extLst>
          </p:cNvPr>
          <p:cNvSpPr/>
          <p:nvPr/>
        </p:nvSpPr>
        <p:spPr>
          <a:xfrm>
            <a:off x="4991100" y="0"/>
            <a:ext cx="72009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3852A25-25D6-4B6B-902F-93AEC433B73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38100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CC6C67FE-13C1-4F4C-8B7C-A596738753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38100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74ED29-7748-494F-852C-C675DE7124A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41263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and data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5F276A7-E979-4340-9836-CA9BE4464ED1}"/>
              </a:ext>
            </a:extLst>
          </p:cNvPr>
          <p:cNvCxnSpPr>
            <a:cxnSpLocks/>
          </p:cNvCxnSpPr>
          <p:nvPr/>
        </p:nvCxnSpPr>
        <p:spPr>
          <a:xfrm>
            <a:off x="563902" y="3013016"/>
            <a:ext cx="3501661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3936A3C-3E7D-9C41-9C09-B7B969F5C00B}"/>
              </a:ext>
            </a:extLst>
          </p:cNvPr>
          <p:cNvCxnSpPr>
            <a:cxnSpLocks/>
          </p:cNvCxnSpPr>
          <p:nvPr/>
        </p:nvCxnSpPr>
        <p:spPr>
          <a:xfrm>
            <a:off x="4337616" y="3013016"/>
            <a:ext cx="3501661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5D45874-2D43-0B46-A5F4-6E94698AFB20}"/>
              </a:ext>
            </a:extLst>
          </p:cNvPr>
          <p:cNvCxnSpPr>
            <a:cxnSpLocks/>
          </p:cNvCxnSpPr>
          <p:nvPr/>
        </p:nvCxnSpPr>
        <p:spPr>
          <a:xfrm>
            <a:off x="8125846" y="3013016"/>
            <a:ext cx="3501661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D83CB5A-02A6-8446-87FF-B791E6474486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513103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20%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D444B7E-7F71-4B46-976B-5429DA2173B3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4308588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-300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00F2D7A-7571-4B4B-A546-B2325912C04B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8089559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80+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12EFBABB-5C70-4107-9088-C1B0E1BE156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ACC72060-E493-431B-8465-A5C938B0E36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4164765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B9A7DD94-38AB-4DFD-B3B1-7698117E5AA4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B2DA6EB3-F09E-4753-9759-61F5E48DA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8263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data</a:t>
            </a:r>
          </a:p>
        </p:txBody>
      </p:sp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95FD79ED-DC24-410F-98FA-8961227CA5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9419B13-A039-4394-A6EA-FE5AE56A5A7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73EE716-0BC0-46EB-9154-7E5AAA8CE8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7214826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5F55B17-88C3-D348-889E-49139B7173C6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C55F65A-E884-4545-813B-8B12A150F0E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47244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C7E4F0C-628A-4B9F-8B0B-ACF8C8FB35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47244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B4C80E-343D-4240-BC0E-A777164C587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99575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wo Data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7848600" y="1905380"/>
            <a:ext cx="3771900" cy="1242697"/>
          </a:xfrm>
        </p:spPr>
        <p:txBody>
          <a:bodyPr/>
          <a:lstStyle>
            <a:lvl1pPr>
              <a:spcAft>
                <a:spcPts val="300"/>
              </a:spcAft>
              <a:defRPr sz="2400">
                <a:latin typeface="+mj-lt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7848600" y="1172402"/>
            <a:ext cx="3771900" cy="553998"/>
          </a:xfrm>
        </p:spPr>
        <p:txBody>
          <a:bodyPr wrap="square" anchor="t" anchorCtr="0">
            <a:spAutoFit/>
          </a:bodyPr>
          <a:lstStyle>
            <a:lvl1pPr>
              <a:defRPr sz="3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XX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E4E13D-43FB-4287-8055-FE35994AA77F}"/>
              </a:ext>
            </a:extLst>
          </p:cNvPr>
          <p:cNvCxnSpPr>
            <a:cxnSpLocks/>
          </p:cNvCxnSpPr>
          <p:nvPr/>
        </p:nvCxnSpPr>
        <p:spPr>
          <a:xfrm>
            <a:off x="7847932" y="1066800"/>
            <a:ext cx="3780167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F04E06-6C46-46FE-9956-F0E8ED6633DF}"/>
              </a:ext>
            </a:extLst>
          </p:cNvPr>
          <p:cNvCxnSpPr>
            <a:cxnSpLocks/>
          </p:cNvCxnSpPr>
          <p:nvPr/>
        </p:nvCxnSpPr>
        <p:spPr>
          <a:xfrm>
            <a:off x="7847932" y="3429000"/>
            <a:ext cx="3780167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BC8C455-2242-44E3-A715-51CE102AB98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53721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C222245D-C3A3-4396-926D-88ECBE5C8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53721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0676A19-4AB7-4E11-A8A8-87E09D920368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848600" y="4276402"/>
            <a:ext cx="3771900" cy="1242697"/>
          </a:xfrm>
        </p:spPr>
        <p:txBody>
          <a:bodyPr/>
          <a:lstStyle>
            <a:lvl1pPr>
              <a:spcAft>
                <a:spcPts val="300"/>
              </a:spcAft>
              <a:defRPr sz="2400">
                <a:latin typeface="+mj-lt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05020DF-F1F5-4BD5-B207-F94988F4F455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848600" y="3543424"/>
            <a:ext cx="37719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A0EEA72-5966-4ADA-9370-9330195584D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169456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Four Data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067269" y="3539749"/>
            <a:ext cx="2551216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9067184" y="4298127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9067800" y="1778380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067800" y="1020002"/>
            <a:ext cx="25527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E4E13D-43FB-4287-8055-FE35994AA77F}"/>
              </a:ext>
            </a:extLst>
          </p:cNvPr>
          <p:cNvCxnSpPr>
            <a:cxnSpLocks/>
          </p:cNvCxnSpPr>
          <p:nvPr/>
        </p:nvCxnSpPr>
        <p:spPr>
          <a:xfrm>
            <a:off x="9069804" y="9144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F04E06-6C46-46FE-9956-F0E8ED6633DF}"/>
              </a:ext>
            </a:extLst>
          </p:cNvPr>
          <p:cNvCxnSpPr>
            <a:cxnSpLocks/>
          </p:cNvCxnSpPr>
          <p:nvPr/>
        </p:nvCxnSpPr>
        <p:spPr>
          <a:xfrm>
            <a:off x="9069804" y="342899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13425D7-1452-4F87-AE64-7C2F048C2469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248485" y="3539749"/>
            <a:ext cx="2551216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806E283-8E77-44C1-84BC-00B971D42EBD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248400" y="4298127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BDD5CD07-CCF1-451E-8B13-2BE3821C220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249016" y="1778385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sz="1600">
                <a:latin typeface="+mj-lt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DD3D7F-C0BF-415A-9378-D8759CED06B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9016" y="1020002"/>
            <a:ext cx="25527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B67A14D-E25C-4D75-8D2E-0D450CE9656D}"/>
              </a:ext>
            </a:extLst>
          </p:cNvPr>
          <p:cNvCxnSpPr>
            <a:cxnSpLocks/>
          </p:cNvCxnSpPr>
          <p:nvPr/>
        </p:nvCxnSpPr>
        <p:spPr>
          <a:xfrm>
            <a:off x="6251020" y="91440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9FFCD6B-6781-45B9-A0FF-441B99A220B5}"/>
              </a:ext>
            </a:extLst>
          </p:cNvPr>
          <p:cNvCxnSpPr>
            <a:cxnSpLocks/>
          </p:cNvCxnSpPr>
          <p:nvPr/>
        </p:nvCxnSpPr>
        <p:spPr>
          <a:xfrm>
            <a:off x="6251020" y="34290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8EBC35A6-C3F6-4CAA-B6FE-77A0C0F6904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53721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367F26D2-980E-498C-9B01-AEF3F1821C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53721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1DE9A97B-CB1E-4FA3-9806-5D1E1D446DEE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62405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C865750-8F0C-6B4A-A308-228D6B53EE0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254B061-C071-4247-8356-D55F1F50C5D6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8E7470-A9D2-4756-B67E-9B25728B0E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7E1B09A-7737-4F73-8857-1144D4CA24F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86487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4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9BFEE4A-F2C6-4F21-8071-313D1B3C613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361C734-A636-4E0E-A708-B9C530351863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DDA5770-9471-B746-BDC8-3306A09120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2453D8B-1785-4D30-B87D-91AEE8A23A9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09261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1486C46-F4F9-421A-A39F-3E52A938244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BE82382-DE4E-4A48-A33B-C56A93877509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FAB8C5-AE86-9F4C-A87D-A5551D4E663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40A3314-D7F9-4E72-B2F7-E008E985900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59991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2B69982-B253-4DE6-9C5E-FB93C3A27F4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22572" y="4880809"/>
            <a:ext cx="6145427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lang="en-US" sz="1400" b="0" i="0" kern="0" spc="0" baseline="0" dirty="0">
                <a:solidFill>
                  <a:schemeClr val="tx1"/>
                </a:solidFill>
                <a:latin typeface="CiscoSansTT Medium" panose="020B0903020201020303" pitchFamily="34" charset="0"/>
                <a:ea typeface="+mn-ea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Insert name her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46ED238B-31FF-436C-9838-14BADBEE1071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3429000" y="4648200"/>
            <a:ext cx="952500" cy="952500"/>
          </a:xfrm>
          <a:prstGeom prst="ellipse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67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13AA95C-29B9-4045-B598-AA928D1B9666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4522572" y="5225969"/>
            <a:ext cx="6145427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lang="en-US" sz="12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Job title, company, location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FB38577-29E6-6546-851F-B5859A13FFB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C6E4486-5C09-4179-B8AA-BE5DFD4AA98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19201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D938136-20C6-401D-BA2C-F3CC96E9757F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25689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0FB953B-93BA-45FD-AD0D-5A607DEF5ABD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7533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4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348D590-B05C-4613-AFD1-D65C0ED502C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03364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86F225C-F7F7-4528-849E-361C51FFB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904" y="990601"/>
            <a:ext cx="11077296" cy="126135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696DE5-6EFF-4C09-9943-5FCA93FF6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352" y="2431880"/>
            <a:ext cx="11077296" cy="3744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38FCC569-4B46-4920-ACAD-F80E06ACD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98D7571-5BE1-4182-8211-BAD95EBE9A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2B15268-7993-4213-A094-A98AEF8E227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9891579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and data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06B558A-BDEC-464B-B491-D9BC21129A9D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513103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3"/>
                    </a:gs>
                    <a:gs pos="97000">
                      <a:schemeClr val="accent4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20%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6ABD542-E4AD-F141-9F7C-F9D7647A7A44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4308588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3"/>
                    </a:gs>
                    <a:gs pos="97000">
                      <a:schemeClr val="accent4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-300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67E3190-6EA7-2940-AF53-00DFF865B774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8089559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3"/>
                    </a:gs>
                    <a:gs pos="97000">
                      <a:schemeClr val="accent4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80+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8AAE14-673A-48C3-AB34-E203F644B8E4}"/>
              </a:ext>
            </a:extLst>
          </p:cNvPr>
          <p:cNvCxnSpPr>
            <a:cxnSpLocks/>
          </p:cNvCxnSpPr>
          <p:nvPr/>
        </p:nvCxnSpPr>
        <p:spPr>
          <a:xfrm>
            <a:off x="563902" y="3013016"/>
            <a:ext cx="3501661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3373FB8-5D9C-4D1B-987C-CE9B05227EC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73D7130-65B2-418E-A28A-88D753AF2669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4164765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18B7352-50C9-4EB3-B44F-091AA75BB5B2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25ABD418-4BFF-46CA-8258-2592F20AD1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8960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data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B8A52325-3C8A-4F56-829E-2C83AA7B78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4DB9AD6-305E-4CAC-884E-012D9656B7A1}"/>
              </a:ext>
            </a:extLst>
          </p:cNvPr>
          <p:cNvCxnSpPr>
            <a:cxnSpLocks/>
          </p:cNvCxnSpPr>
          <p:nvPr/>
        </p:nvCxnSpPr>
        <p:spPr>
          <a:xfrm>
            <a:off x="4337616" y="3013016"/>
            <a:ext cx="3501661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BB1CD7A-4B2C-478A-8E8D-FA20C6C22242}"/>
              </a:ext>
            </a:extLst>
          </p:cNvPr>
          <p:cNvCxnSpPr>
            <a:cxnSpLocks/>
          </p:cNvCxnSpPr>
          <p:nvPr/>
        </p:nvCxnSpPr>
        <p:spPr>
          <a:xfrm>
            <a:off x="8125846" y="3013016"/>
            <a:ext cx="3501661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DF1E74D-467C-4D1D-8B2D-9294B98C5C5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F50940B2-ABB8-4233-B366-97C29744D5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25145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5" y="6431691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92773B-7150-44D2-AFDB-DE60A8A0F625}"/>
              </a:ext>
            </a:extLst>
          </p:cNvPr>
          <p:cNvSpPr/>
          <p:nvPr/>
        </p:nvSpPr>
        <p:spPr>
          <a:xfrm>
            <a:off x="304800" y="6414273"/>
            <a:ext cx="2819400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BEBFBF78-0E90-472B-B2BB-48C8ECC385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39585" y="2209800"/>
            <a:ext cx="2912830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56896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5" y="6431691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B8EB6A92-1A18-4242-B37B-061D783A1E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33353" y="6061498"/>
            <a:ext cx="1633196" cy="49932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79071DA-63B2-46A2-892F-B272FF3B2408}"/>
              </a:ext>
            </a:extLst>
          </p:cNvPr>
          <p:cNvSpPr/>
          <p:nvPr/>
        </p:nvSpPr>
        <p:spPr>
          <a:xfrm>
            <a:off x="525451" y="6410479"/>
            <a:ext cx="503249" cy="1503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54592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8EE2313-2646-4E0B-B6B4-BA07574D2F8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84910" y="1222130"/>
            <a:ext cx="11036808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589" indent="0">
              <a:buNone/>
              <a:defRPr/>
            </a:lvl3pPr>
            <a:lvl4pPr marL="406381" indent="0">
              <a:buNone/>
              <a:defRPr/>
            </a:lvl4pPr>
            <a:lvl5pPr marL="571474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F6B3806-7EC4-066C-F3DD-AA0AE05C21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911" y="571500"/>
            <a:ext cx="1103312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13A4EE0-DFC6-70A1-2416-875FED7A2E01}"/>
              </a:ext>
            </a:extLst>
          </p:cNvPr>
          <p:cNvSpPr txBox="1"/>
          <p:nvPr/>
        </p:nvSpPr>
        <p:spPr>
          <a:xfrm>
            <a:off x="3429000" y="6475154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t>© 2025 Cisco and/or its affiliates. All rights reserved.</a:t>
            </a:r>
          </a:p>
        </p:txBody>
      </p:sp>
    </p:spTree>
    <p:extLst>
      <p:ext uri="{BB962C8B-B14F-4D97-AF65-F5344CB8AC3E}">
        <p14:creationId xmlns:p14="http://schemas.microsoft.com/office/powerpoint/2010/main" val="38666811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7" y="990605"/>
            <a:ext cx="5471387" cy="127000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 marL="0" algn="l" defTabSz="882105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000" b="0" i="0" kern="100" spc="-133" baseline="0" dirty="0">
                <a:solidFill>
                  <a:srgbClr val="121212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 marL="0" marR="0" lvl="0" indent="0" algn="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F82149-F45F-43B8-A3A4-A806FF41D82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1437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CiscoSansTT Light"/>
              <a:ea typeface="+mn-ea"/>
              <a:cs typeface="+mn-cs"/>
            </a:endParaRPr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5F96118-3C38-5060-9C08-C54077C97C75}"/>
              </a:ext>
            </a:extLst>
          </p:cNvPr>
          <p:cNvSpPr txBox="1">
            <a:spLocks/>
          </p:cNvSpPr>
          <p:nvPr/>
        </p:nvSpPr>
        <p:spPr>
          <a:xfrm>
            <a:off x="6547005" y="1242451"/>
            <a:ext cx="5384800" cy="267256"/>
          </a:xfrm>
          <a:prstGeom prst="rect">
            <a:avLst/>
          </a:prstGeom>
        </p:spPr>
        <p:txBody>
          <a:bodyPr/>
          <a:lstStyle>
            <a:lvl1pPr mar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sz="1600" b="0" i="0" kern="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171450" indent="-17145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400" b="0" i="0" kern="0" spc="0" baseline="0">
                <a:solidFill>
                  <a:schemeClr val="bg1"/>
                </a:solidFill>
                <a:latin typeface="+mn-lt"/>
                <a:ea typeface="+mn-ea"/>
                <a:cs typeface="CiscoSansTT" panose="020B0503020201020303" pitchFamily="34" charset="0"/>
              </a:defRPr>
            </a:lvl2pPr>
            <a:lvl3pPr marL="342900" indent="-17145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200" b="0" i="0" kern="0" spc="0" baseline="0">
                <a:solidFill>
                  <a:schemeClr val="bg1"/>
                </a:solidFill>
                <a:latin typeface="+mn-lt"/>
                <a:ea typeface="+mn-ea"/>
                <a:cs typeface="CiscoSansTT" panose="020B0503020201020303" pitchFamily="34" charset="0"/>
              </a:defRPr>
            </a:lvl3pPr>
            <a:lvl4pPr marL="519113" indent="-176213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Char char="•"/>
              <a:defRPr sz="1000" b="0" i="0" kern="0" spc="0" baseline="0">
                <a:solidFill>
                  <a:schemeClr val="bg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  <a:lvl5pPr marL="457200" marR="0" indent="0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 sz="600" b="0" i="0" kern="1200" spc="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5pPr>
            <a:lvl6pPr marL="2425973" indent="-220542" algn="l" defTabSz="882171" rtl="0" eaLnBrk="1" latinLnBrk="0" hangingPunct="1">
              <a:lnSpc>
                <a:spcPct val="90000"/>
              </a:lnSpc>
              <a:spcBef>
                <a:spcPts val="483"/>
              </a:spcBef>
              <a:buFont typeface="Arial" panose="020B0604020202020204" pitchFamily="34" charset="0"/>
              <a:buChar char="•"/>
              <a:defRPr sz="17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867060" indent="-220542" algn="l" defTabSz="882171" rtl="0" eaLnBrk="1" latinLnBrk="0" hangingPunct="1">
              <a:lnSpc>
                <a:spcPct val="90000"/>
              </a:lnSpc>
              <a:spcBef>
                <a:spcPts val="483"/>
              </a:spcBef>
              <a:buFont typeface="Arial" panose="020B0604020202020204" pitchFamily="34" charset="0"/>
              <a:buChar char="•"/>
              <a:defRPr sz="17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308145" indent="-220542" algn="l" defTabSz="882171" rtl="0" eaLnBrk="1" latinLnBrk="0" hangingPunct="1">
              <a:lnSpc>
                <a:spcPct val="90000"/>
              </a:lnSpc>
              <a:spcBef>
                <a:spcPts val="483"/>
              </a:spcBef>
              <a:buFont typeface="Arial" panose="020B0604020202020204" pitchFamily="34" charset="0"/>
              <a:buChar char="•"/>
              <a:defRPr sz="17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49233" indent="-220542" algn="l" defTabSz="882171" rtl="0" eaLnBrk="1" latinLnBrk="0" hangingPunct="1">
              <a:lnSpc>
                <a:spcPct val="90000"/>
              </a:lnSpc>
              <a:spcBef>
                <a:spcPts val="483"/>
              </a:spcBef>
              <a:buFont typeface="Arial" panose="020B0604020202020204" pitchFamily="34" charset="0"/>
              <a:buChar char="•"/>
              <a:defRPr sz="173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8206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800" b="0" i="0" u="none" strike="noStrike" kern="0" cap="none" spc="0" normalizeH="0" baseline="0" noProof="0">
              <a:ln>
                <a:noFill/>
              </a:ln>
              <a:solidFill>
                <a:srgbClr val="00BCF5">
                  <a:lumMod val="75000"/>
                </a:srgbClr>
              </a:solidFill>
              <a:effectLst/>
              <a:uLnTx/>
              <a:uFillTx/>
              <a:latin typeface="CiscoSansTT Light"/>
              <a:ea typeface="+mn-ea"/>
              <a:cs typeface="+mn-cs"/>
            </a:endParaRP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52E1E7C4-6F1A-6123-7FD2-CA229A820B2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58801" y="2260602"/>
            <a:ext cx="5006792" cy="3858843"/>
          </a:xfrm>
        </p:spPr>
        <p:txBody>
          <a:bodyPr/>
          <a:lstStyle>
            <a:lvl1pPr marL="0" indent="0" algn="l" defTabSz="914354" rtl="0" eaLnBrk="1" latinLnBrk="0" hangingPunct="1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en-US" sz="16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32" name="Footer Placeholder 3">
            <a:extLst>
              <a:ext uri="{FF2B5EF4-FFF2-40B4-BE49-F238E27FC236}">
                <a16:creationId xmlns:a16="http://schemas.microsoft.com/office/drawing/2014/main" id="{3EA5A0BF-E069-F924-CC2C-86B8F0126CA7}"/>
              </a:ext>
            </a:extLst>
          </p:cNvPr>
          <p:cNvSpPr txBox="1">
            <a:spLocks/>
          </p:cNvSpPr>
          <p:nvPr/>
        </p:nvSpPr>
        <p:spPr>
          <a:xfrm>
            <a:off x="8153491" y="6511927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defPPr>
              <a:defRPr lang="en-US"/>
            </a:defPPr>
            <a:lvl1pPr marL="0" algn="l" defTabSz="914400" rtl="0" eaLnBrk="1" latinLnBrk="0" hangingPunct="1">
              <a:defRPr kumimoji="0" lang="en-US" sz="1100" b="0" i="0" u="none" strike="noStrike" kern="1200" cap="none" spc="27" normalizeH="0" baseline="0" smtClean="0">
                <a:ln>
                  <a:noFill/>
                </a:ln>
                <a:solidFill>
                  <a:srgbClr val="00BCF5">
                    <a:lumMod val="75000"/>
                  </a:srgbClr>
                </a:solidFill>
                <a:effectLst/>
                <a:uLnTx/>
                <a:uFillTx/>
                <a:latin typeface="CiscoSansTT Light" panose="020B0503020201020303" pitchFamily="34" charset="0"/>
                <a:ea typeface="+mn-ea"/>
                <a:cs typeface="CiscoSansTT Light" panose="020B0503020201020303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81420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100" b="0" i="0" u="none" strike="noStrike" kern="1200" cap="none" spc="27" normalizeH="0" baseline="0" noProof="0">
              <a:ln>
                <a:noFill/>
              </a:ln>
              <a:solidFill>
                <a:srgbClr val="00BCF5">
                  <a:lumMod val="75000"/>
                </a:srgbClr>
              </a:solidFill>
              <a:effectLst/>
              <a:uLnTx/>
              <a:uFillTx/>
              <a:latin typeface="CiscoSansTT Light" panose="020B0503020201020303" pitchFamily="34" charset="0"/>
              <a:ea typeface="+mn-ea"/>
            </a:endParaRP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EA26FDE3-9E2A-5DEB-7EC2-C4148596E1D6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263525" y="6266089"/>
            <a:ext cx="5006792" cy="366489"/>
          </a:xfrm>
        </p:spPr>
        <p:txBody>
          <a:bodyPr/>
          <a:lstStyle>
            <a:lvl1pPr marL="0" indent="0" algn="l" defTabSz="814145" rtl="0" eaLnBrk="1" latinLnBrk="0" hangingPunct="1">
              <a:lnSpc>
                <a:spcPct val="100000"/>
              </a:lnSpc>
              <a:spcAft>
                <a:spcPts val="0"/>
              </a:spcAft>
              <a:buNone/>
              <a:defRPr lang="en-US" sz="1100" kern="1200" spc="27" dirty="0">
                <a:solidFill>
                  <a:srgbClr val="00BCF5">
                    <a:lumMod val="75000"/>
                  </a:srgbClr>
                </a:solidFill>
                <a:latin typeface="CiscoSansTT Light"/>
                <a:ea typeface="+mn-ea"/>
                <a:cs typeface="CiscoSansTT Light" panose="020B0503020201020303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 Placeholder 86">
            <a:extLst>
              <a:ext uri="{FF2B5EF4-FFF2-40B4-BE49-F238E27FC236}">
                <a16:creationId xmlns:a16="http://schemas.microsoft.com/office/drawing/2014/main" id="{A2F68669-C343-EE0A-A910-B008A0BDC9BB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596471" y="376259"/>
            <a:ext cx="5384800" cy="267256"/>
          </a:xfrm>
        </p:spPr>
        <p:txBody>
          <a:bodyPr/>
          <a:lstStyle>
            <a:lvl1pPr>
              <a:defRPr lang="en-NO" sz="800" b="0" i="0" kern="0" spc="0" baseline="0" dirty="0">
                <a:solidFill>
                  <a:srgbClr val="00BCF5">
                    <a:lumMod val="75000"/>
                  </a:srgbClr>
                </a:solidFill>
                <a:latin typeface="CiscoSansTT Ligh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1444819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47">
          <p15:clr>
            <a:srgbClr val="FBAE40"/>
          </p15:clr>
        </p15:guide>
        <p15:guide id="2" pos="3500">
          <p15:clr>
            <a:srgbClr val="FBAE40"/>
          </p15:clr>
        </p15:guide>
        <p15:guide id="3" orient="horz" pos="3861">
          <p15:clr>
            <a:srgbClr val="FBAE40"/>
          </p15:clr>
        </p15:guide>
        <p15:guide id="4" orient="horz" pos="4178">
          <p15:clr>
            <a:srgbClr val="FBAE40"/>
          </p15:clr>
        </p15:guide>
        <p15:guide id="5" pos="166">
          <p15:clr>
            <a:srgbClr val="FBAE40"/>
          </p15:clr>
        </p15:guide>
        <p15:guide id="6" orient="horz" pos="686">
          <p15:clr>
            <a:srgbClr val="FBAE40"/>
          </p15:clr>
        </p15:guide>
        <p15:guide id="7" orient="horz" pos="2024">
          <p15:clr>
            <a:srgbClr val="FBAE40"/>
          </p15:clr>
        </p15:guide>
        <p15:guide id="8" pos="7333">
          <p15:clr>
            <a:srgbClr val="FBAE40"/>
          </p15:clr>
        </p15:guide>
        <p15:guide id="9" pos="3795">
          <p15:clr>
            <a:srgbClr val="FBAE40"/>
          </p15:clr>
        </p15:guide>
      </p15:sldGuideLst>
    </p:ext>
  </p:extLst>
</p:sldLayout>
</file>

<file path=ppt/slideLayouts/slideLayout5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4869789"/>
            <a:ext cx="7277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1500" y="5248892"/>
            <a:ext cx="72771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790701"/>
            <a:ext cx="7277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0" y="3431817"/>
            <a:ext cx="7277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0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C213C3D1-EB09-4146-8395-36A5B8D30F2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00053" y="6133088"/>
            <a:ext cx="1366496" cy="41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31220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lf &amp; Half Title Slide Dar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4869789"/>
            <a:ext cx="5372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1500" y="5248892"/>
            <a:ext cx="53721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790701"/>
            <a:ext cx="5372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0" y="3431817"/>
            <a:ext cx="5372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0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73A75F9-B823-4C33-BC6A-70650FACD3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48400" y="0"/>
            <a:ext cx="5943600" cy="6858000"/>
          </a:xfrm>
          <a:noFill/>
        </p:spPr>
        <p:txBody>
          <a:bodyPr anchor="ctr" anchorCtr="0"/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28157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Five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3721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213C59-7880-41D1-9DE5-B53FA71B4F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48400" y="609600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0BD0D78-FA9C-47FE-A8C5-A942C1A9A1E0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080810" y="609600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4D1B0561-72B3-4A7C-9434-B0EDE523688D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080810" y="1037804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FB88D30E-5998-42C2-BFDA-6C6AA1F33F7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48400" y="164719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6D18BF23-F279-48A8-8AFF-AC70F73F091E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7080810" y="1647193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8445664B-F9E1-4D1D-9F6E-DA27AF43C21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7080810" y="2075397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31F0F46D-89DF-46CA-934B-C124727D937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48400" y="2684788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8BB0DD2A-742F-4019-B2A6-6AC6CF3BEEA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080810" y="2684787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4D48E93A-11A3-45A0-961F-26062021432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080810" y="3112991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365D378F-8BFE-41E2-A048-4F1E113B408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48400" y="3722381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4681FE84-1510-4206-91AF-B290EF3C0E1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7080810" y="3722381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58EB90C9-03A7-449D-A8F3-B379B319950E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7080810" y="4150585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E3E332E3-41A2-4350-A7FE-20CB379706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0" y="475997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948A5A7B-49E0-4CF2-8080-E002145F2FF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10" y="4759974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B8F46644-76D3-4C51-9163-739A1F5F7650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10" y="5188178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7D1C11A-12D9-461B-A255-03DBC65A944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EA8191E0-49D0-4036-B896-597B5FEF138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93455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Ten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3721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2875B737-D8C9-4B5A-A987-E648592F8AB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71500" y="2437942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1BC899D-37C3-4568-A4DF-0B0EDE20DC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403910" y="243794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B5D11EE-1D55-4041-81BF-2D405343AEB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1403910" y="286614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78F2AB5-8A22-4344-B743-464793BF69F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71500" y="327862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2A1D5CE-6473-44B2-BC10-1AC73E1B795C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403910" y="327862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D8A733FF-648D-413A-A965-9380FF19EB3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403910" y="370682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C4EAFF18-13A5-4454-9A4E-50C9683A086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71500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3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5CFB554-4FA5-44FE-AD9D-94ADB8A1596B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403910" y="4118817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E82D60C9-C7E6-4DE4-8E8B-9A9D85E509A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1403910" y="4547021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1C81A21-CB5C-4EBA-AA54-D73A670B36B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71500" y="4959740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4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3D704AA8-F2E6-4E6E-BA0F-C73614C721D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1403910" y="4959740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66AE59D2-11F7-416C-B366-F23200F2C468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403910" y="5387944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898C6801-7507-4803-A711-42CEC857E56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0" y="243794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5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7589C976-7FFB-4218-BF7E-1F78F2A1F02C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10" y="243794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0F3DDABD-EE25-49C3-9A53-2657DAD77A8C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10" y="286614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17167DB7-5308-42DC-AEE9-AAED2ED164D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248400" y="327862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6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620B5D7B-672A-4FB9-9717-E785586DA30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7080810" y="327862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E23B210E-5C88-4516-A864-36247F88D733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7080810" y="370682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37DB0FAF-76DD-43D1-B897-9417F5B3AB7B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48400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7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B0C7BE68-E1A9-48A3-8ADD-8FDB96C02A40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7080810" y="4118817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5195D37A-ED4A-4E1F-A476-81831613075B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080810" y="4547021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62FE476F-78D3-4BBD-ADB0-A014E40BC384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48400" y="4959740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8</a:t>
            </a:r>
          </a:p>
        </p:txBody>
      </p:sp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D42D2D51-155D-4C35-BC5F-B8F1C46DC335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7080810" y="4959740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EBF4B885-D002-47D6-8922-12B72E21CACE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7080810" y="5387944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0EEB412-0CE0-4F00-8756-0957743AE431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2DB28A58-94F9-401A-ADF6-47C90FEA956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89109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&amp;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696DE5-6EFF-4C09-9943-5FCA93FF6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011A5B07-96E9-42C8-81C4-56D26550D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4FE852-4660-4623-83C0-2F7C9B6EDB27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CCC6C03-EF21-44ED-8593-CDA31C61E8DD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43396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564E15E-85C2-40F1-B654-E42DCFBA1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 marL="0" indent="0">
              <a:buNone/>
              <a:defRPr sz="1400"/>
            </a:lvl2pPr>
            <a:lvl3pPr marL="228600" indent="0">
              <a:buNone/>
              <a:defRPr sz="1200"/>
            </a:lvl3pPr>
            <a:lvl4pPr marL="406400" indent="0"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30370F4-DF08-4B4A-A3BB-EB8905622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3BE238-C084-4FBF-86DF-59C91AF8317F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1E1701B-4C10-476A-8FDF-6089699136E1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69870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2 data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2462AB-6463-CF4C-ACBF-34DDFE050AC3}"/>
              </a:ext>
            </a:extLst>
          </p:cNvPr>
          <p:cNvCxnSpPr>
            <a:cxnSpLocks/>
          </p:cNvCxnSpPr>
          <p:nvPr/>
        </p:nvCxnSpPr>
        <p:spPr>
          <a:xfrm>
            <a:off x="8121723" y="993221"/>
            <a:ext cx="3506376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1776A2A-B671-AB4E-8FDB-35C6B7BE364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8124669" y="1845940"/>
            <a:ext cx="350637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of data with option to highlight text with a color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F7A43E-8EF4-FE4A-ACFF-9F5A5EC847DE}"/>
              </a:ext>
            </a:extLst>
          </p:cNvPr>
          <p:cNvCxnSpPr>
            <a:cxnSpLocks/>
          </p:cNvCxnSpPr>
          <p:nvPr/>
        </p:nvCxnSpPr>
        <p:spPr>
          <a:xfrm>
            <a:off x="8121723" y="3346677"/>
            <a:ext cx="3506376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5778F89-154B-F240-B35E-F81B16D999D6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8124669" y="4199396"/>
            <a:ext cx="350637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of data with option to highlight text with a color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A56877E-29E1-3742-BB24-CC81DFFFE5D8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1723" y="1045030"/>
            <a:ext cx="3506376" cy="800905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2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77%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900FC7C-DD9A-C846-843B-5642805FB71B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8121723" y="3390990"/>
            <a:ext cx="3506376" cy="800905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2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100,000+</a:t>
            </a: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A953F6CF-E655-4E7D-BDFB-6A551D28089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4896179" cy="339993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/>
            </a:lvl1pPr>
            <a:lvl2pPr>
              <a:defRPr lang="en-US" sz="1067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35A59425-FB4F-4C38-AD94-620219A101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3220"/>
            <a:ext cx="4901805" cy="170991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with key data right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11798FBB-8372-4722-82BF-FACDB6A640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4127422-6D86-4CED-ABA9-B9D18F6B22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28A8C1EF-D8F4-42D5-AAB0-CC93828312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2737910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E1C715D-9112-4A01-AD63-361439BFB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E43F6E-A8D0-4155-BD27-8561034BB2B8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A02B8EA-12A2-4673-BF3F-8D4FB8234D2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120984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8EE2313-2646-4E0B-B6B4-BA07574D2F8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572B255-D144-453C-90FA-BB07F680CF0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D9DF569-2B30-EE4C-8D21-F21B97793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C61E8BE-7C30-466D-96E8-145E0409391E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075802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Subhead &amp;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7C7D94ED-0F39-4B30-8B40-B8D535783A5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CE85B47-180E-0542-8A98-FABBBFB2A6D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265EAF99-811E-0A42-AD86-6F1F07B547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BC72363-F3A6-5E44-AD40-7647C83973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 marL="174625" indent="-174625">
              <a:defRPr sz="1400"/>
            </a:lvl2pPr>
            <a:lvl3pPr marL="346075" indent="-171450"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A216F31-D19E-4174-ACB7-CAFBD6AE68A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56968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Subhead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49195570-1534-4F74-B303-B06313C227F6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66674A7-0DAD-C54D-BB6A-AB4B6F3D1CF2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48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4BFEFE0-97D7-B240-BC88-FC22052279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82028C6-D96F-A145-862B-ED80E5C5EF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600"/>
            </a:lvl1pPr>
            <a:lvl2pPr marL="0" indent="0">
              <a:buFontTx/>
              <a:buNone/>
              <a:defRPr sz="1400"/>
            </a:lvl2pPr>
            <a:lvl3pPr marL="228600" indent="0">
              <a:buFontTx/>
              <a:buNone/>
              <a:defRPr sz="1200"/>
            </a:lvl3pPr>
            <a:lvl4pPr marL="406400" indent="0">
              <a:buFontTx/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A8F312C-C046-4076-8AB0-7EBEDB95055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1963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8C469D-456E-4ECF-83FA-AF1F3BDB26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500" y="1905000"/>
            <a:ext cx="5372100" cy="4305301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8E86-A92A-495E-A49E-35F25D765A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1905000"/>
            <a:ext cx="5372100" cy="4305302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512763" indent="-169863"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  <a:lvl5pPr marL="746125" indent="-174625">
              <a:defRPr lang="en-US" sz="600" b="0" i="0" kern="1200" spc="0" baseline="0" dirty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274A685-F33F-448C-B6FE-AB508BA75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DAB2D8-1539-4822-9614-2E04B2120F5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9306D53-D47B-4F16-A012-78C12883E1D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5229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, Title &amp;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DC1BA0-9AAE-4457-AB7A-2225418D1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2663" y="1905000"/>
            <a:ext cx="5372100" cy="30777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87F35FC-680E-4287-99BA-ED6DF9E6085D}"/>
              </a:ext>
            </a:extLst>
          </p:cNvPr>
          <p:cNvSpPr>
            <a:spLocks noGrp="1"/>
          </p:cNvSpPr>
          <p:nvPr>
            <p:ph type="body" idx="57"/>
          </p:nvPr>
        </p:nvSpPr>
        <p:spPr>
          <a:xfrm>
            <a:off x="6249563" y="1905000"/>
            <a:ext cx="5372100" cy="307777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E451DCD-2B8C-4BF9-8D85-AA8F5ABE2826}"/>
              </a:ext>
            </a:extLst>
          </p:cNvPr>
          <p:cNvSpPr>
            <a:spLocks noGrp="1"/>
          </p:cNvSpPr>
          <p:nvPr>
            <p:ph sz="half" idx="58"/>
          </p:nvPr>
        </p:nvSpPr>
        <p:spPr>
          <a:xfrm>
            <a:off x="571500" y="2369053"/>
            <a:ext cx="5372100" cy="3841249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F39D5E2-4E9E-4B26-9E69-7D77328E4C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2369052"/>
            <a:ext cx="5372100" cy="3841249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 marL="746125" indent="-174625">
              <a:defRPr lang="en-US" sz="600" b="0" i="0" kern="1200" spc="0" baseline="0" dirty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C2285B0-0824-4973-8F1D-C24F2784A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C254480-49EA-44F8-91E6-0FCF9F498DC6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D5DBBD6-CA78-4551-B263-2F8BFC4E781A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454480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58696A-2388-495D-981D-050920BB5C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5334000"/>
            <a:ext cx="5372099" cy="876300"/>
          </a:xfrm>
        </p:spPr>
        <p:txBody>
          <a:bodyPr>
            <a:noAutofit/>
          </a:bodyPr>
          <a:lstStyle>
            <a:lvl1pPr marL="0" indent="0">
              <a:buNone/>
              <a:tabLst/>
              <a:defRPr sz="16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C009990-5F38-4F94-ABE2-44DA301BD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0" y="5334000"/>
            <a:ext cx="5372099" cy="876300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D01E734-4CA7-4CBD-A769-BCC20375564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1500" y="1905000"/>
            <a:ext cx="5372100" cy="3271156"/>
          </a:xfrm>
          <a:solidFill>
            <a:schemeClr val="bg2"/>
          </a:solidFill>
        </p:spPr>
        <p:txBody>
          <a:bodyPr anchor="ctr" anchorCtr="0">
            <a:no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2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E24BD1C9-BB6F-4B1A-B0AC-70FBFBAD0DD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48400" y="1905000"/>
            <a:ext cx="5372100" cy="3271156"/>
          </a:xfrm>
          <a:solidFill>
            <a:schemeClr val="bg2"/>
          </a:solidFill>
        </p:spPr>
        <p:txBody>
          <a:bodyPr anchor="ctr" anchorCtr="0">
            <a:no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2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C3A3765-3130-474C-96F5-7E50AE68B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CEFB623-3BE4-41A5-AD7A-7D81E50E12F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840F6A6-3445-46E0-90CD-B778CB75CB3D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93928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8C1C862-6F14-47C3-885D-12D6E1A99AA2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AD8007C-DE91-4E81-8041-976C5135CD04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121286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DDEF7496-FB76-482F-B4DC-5B78B30B1B0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054F9D6-4889-4D51-9ADF-D453DFF1E8E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905000"/>
            <a:ext cx="12192000" cy="43053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algn="ctr"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3476B1-5604-4136-9D0F-58F8AF89B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CDEE37D-020A-4A22-922F-31441A6C8745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69658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054F9D6-4889-4D51-9ADF-D453DFF1E8E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blipFill dpi="0" rotWithShape="1">
            <a:blip r:embed="rId2">
              <a:alphaModFix amt="2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DEF7496-FB76-482F-B4DC-5B78B30B1B0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96465F4-B55E-463E-9A4A-F93B1EE9FD60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6807" y="6364637"/>
            <a:ext cx="503671" cy="221124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81D1E80-33EB-4E5D-9415-4B0EE02EBDF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954413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4 data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2462AB-6463-CF4C-ACBF-34DDFE050AC3}"/>
              </a:ext>
            </a:extLst>
          </p:cNvPr>
          <p:cNvCxnSpPr>
            <a:cxnSpLocks/>
          </p:cNvCxnSpPr>
          <p:nvPr/>
        </p:nvCxnSpPr>
        <p:spPr>
          <a:xfrm>
            <a:off x="9069052" y="993221"/>
            <a:ext cx="2559049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1776A2A-B671-AB4E-8FDB-35C6B7BE364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9069051" y="1845940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F7A43E-8EF4-FE4A-ACFF-9F5A5EC847DE}"/>
              </a:ext>
            </a:extLst>
          </p:cNvPr>
          <p:cNvCxnSpPr>
            <a:cxnSpLocks/>
          </p:cNvCxnSpPr>
          <p:nvPr/>
        </p:nvCxnSpPr>
        <p:spPr>
          <a:xfrm>
            <a:off x="9084040" y="3346677"/>
            <a:ext cx="2544059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5778F89-154B-F240-B35E-F81B16D999D6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9069051" y="4199396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A56877E-29E1-3742-BB24-CC81DFFFE5D8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9066105" y="1052982"/>
            <a:ext cx="2561996" cy="688453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2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25,000+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900FC7C-DD9A-C846-843B-5642805FB71B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9066105" y="3398942"/>
            <a:ext cx="2561996" cy="688453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2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30%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F9833B0-6B7A-714F-92F0-2318F3988881}"/>
              </a:ext>
            </a:extLst>
          </p:cNvPr>
          <p:cNvCxnSpPr>
            <a:cxnSpLocks/>
          </p:cNvCxnSpPr>
          <p:nvPr/>
        </p:nvCxnSpPr>
        <p:spPr>
          <a:xfrm>
            <a:off x="6235910" y="993221"/>
            <a:ext cx="2559049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3FA3CBF-374B-A244-B5C0-E13E40FCC1EA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6235910" y="1845940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116D5F1-B389-8444-92F2-80861F0A60F1}"/>
              </a:ext>
            </a:extLst>
          </p:cNvPr>
          <p:cNvCxnSpPr>
            <a:cxnSpLocks/>
          </p:cNvCxnSpPr>
          <p:nvPr/>
        </p:nvCxnSpPr>
        <p:spPr>
          <a:xfrm>
            <a:off x="6250899" y="3346677"/>
            <a:ext cx="2544059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325976-5126-7040-BC43-767BC0796538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6235910" y="4199396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84EF73E-6055-7549-9FBD-CCA53A9BB16F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6232963" y="1052982"/>
            <a:ext cx="2561996" cy="688453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2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77%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96A08685-9430-244D-BED6-B6CDCC29A954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6232963" y="3398942"/>
            <a:ext cx="2561996" cy="688453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2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-50</a:t>
            </a:r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F0978613-50ED-4F51-BBE0-00F6975A767E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4833332" cy="341390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 spc="0"/>
            </a:lvl1pPr>
            <a:lvl2pPr>
              <a:defRPr sz="1067" spc="0"/>
            </a:lvl2pPr>
            <a:lvl3pPr>
              <a:defRPr sz="800" spc="0"/>
            </a:lvl3pPr>
            <a:lvl4pPr>
              <a:defRPr sz="400" spc="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08D8E3A7-A4BC-4E58-A3CD-1366DCB307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3222"/>
            <a:ext cx="4838960" cy="167508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with key data right</a:t>
            </a:r>
          </a:p>
        </p:txBody>
      </p:sp>
      <p:sp>
        <p:nvSpPr>
          <p:cNvPr id="38" name="Slide Number Placeholder 4">
            <a:extLst>
              <a:ext uri="{FF2B5EF4-FFF2-40B4-BE49-F238E27FC236}">
                <a16:creationId xmlns:a16="http://schemas.microsoft.com/office/drawing/2014/main" id="{EB927BF6-B7DB-457A-BD02-2BDF652259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316AFE74-19AA-44F5-A0EC-8E1A24A495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48461BE4-FEE8-4E08-94EF-CF8BE4A0F9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1643625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-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6734A84-A20E-4265-848D-432FAF49C4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2236BEA-8B84-4433-AC6E-DE816054A44B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76FF25-9CEA-4D73-9CD8-BCF0613C55EA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207944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-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4BE6003-571D-4817-A40A-6421214126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4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4156D67-C67F-41CF-BA17-0B2BFD535E2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92C7D0-4978-4D65-A39E-9CB076EFBCC3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74761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-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10703F-CBA9-4296-B386-BA35019F8F44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79EE8F-1900-4C5E-A4C1-BB6BE90235E1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42094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D6DF483-DD51-444D-AF16-AF31E72FDD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514350" indent="-171450">
              <a:buFont typeface="Arial" panose="020B0604020202020204" pitchFamily="34" charset="0"/>
              <a:buChar char="•"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0BAC715-F543-452A-80B1-3A07B10B2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73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F48862-22C1-482F-B821-3D8CC682DAB1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524910-4FFE-49EA-99DE-65BFB724546B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743488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5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1E1BB935-C530-47D2-883E-00828E3A8FC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200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D970870-8847-48D6-ACCA-B0F7D662F2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 marL="514350" indent="-171450">
              <a:buFont typeface="Arial" panose="020B0604020202020204" pitchFamily="34" charset="0"/>
              <a:buChar char="•"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8CEBD18-98E9-4568-A90A-5715A834E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73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38F8A1A-3A97-4C8E-9550-2C62BC10A83F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52298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5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FEF2E81-694A-4A5A-BEDE-DF13285D820B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5E2598-51C8-4F83-B09D-69C86C142A3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1905000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737D39F-19A0-4D2A-8E85-527465AFD610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188208" y="1905000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4FE5E7B-ECDC-404D-9B30-E7B580CCEED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714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1CDB75F-12E1-4403-B291-31A3B1C83B0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1882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BA687946-9318-4CD5-B900-AA488A7BDA5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200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ECBF8DC3-DA3E-470B-AE86-6B154E24E3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73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312C61A-B9D3-456C-953D-82B30FE7C4A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47487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552">
          <p15:clr>
            <a:srgbClr val="A4A3A4"/>
          </p15:clr>
        </p15:guide>
        <p15:guide id="3" pos="4128">
          <p15:clr>
            <a:srgbClr val="A4A3A4"/>
          </p15:clr>
        </p15:guide>
        <p15:guide id="4" orient="horz" pos="1656">
          <p15:clr>
            <a:srgbClr val="A4A3A4"/>
          </p15:clr>
        </p15:guide>
        <p15:guide id="5" orient="horz" pos="1752">
          <p15:clr>
            <a:srgbClr val="A4A3A4"/>
          </p15:clr>
        </p15:guide>
      </p15:sldGuideLst>
    </p:ext>
  </p:extLst>
</p:sldLayout>
</file>

<file path=ppt/slideLayouts/slideLayout5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689F426-4C63-454D-B133-BC94D9D160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B15451E-AF4B-4B3A-B376-2003DB48C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776074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9F1EE91-F457-4893-88BA-AF3B71081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490D2D3-F0B6-4527-A912-AE8F2F7E703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714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D27C7EF2-E1C7-403F-81BA-2822B0BADEE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1882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322DDD1-796F-4817-A0A2-B54629B89214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1905000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5075854-0A14-4136-BC79-1BC72756705A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188208" y="1905000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449711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552">
          <p15:clr>
            <a:srgbClr val="A4A3A4"/>
          </p15:clr>
        </p15:guide>
        <p15:guide id="2" pos="4152">
          <p15:clr>
            <a:srgbClr val="A4A3A4"/>
          </p15:clr>
        </p15:guide>
      </p15:sldGuideLst>
    </p:ext>
  </p:extLst>
</p:sldLayout>
</file>

<file path=ppt/slideLayouts/slideLayout5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AEEE0BE-B874-4CB1-92B1-404602B5CA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B74128E-BA5E-4242-8B4E-D1F742670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613D29C-0961-4A3D-8A56-1E1B5BC7445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1F61BA1-F848-4E08-8C07-5D6D5E6C0A8C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31248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5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ight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C82BCFB0-2C06-4262-9388-B4438F4E968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68778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E96ABEA8-C693-429B-8E00-CBD848A92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1F330DC-3ED8-470C-84C4-C7D10A9020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8BD350E-1BA7-4789-8917-9D2180DC456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98411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2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2462AB-6463-CF4C-ACBF-34DDFE050AC3}"/>
              </a:ext>
            </a:extLst>
          </p:cNvPr>
          <p:cNvCxnSpPr>
            <a:cxnSpLocks/>
          </p:cNvCxnSpPr>
          <p:nvPr/>
        </p:nvCxnSpPr>
        <p:spPr>
          <a:xfrm>
            <a:off x="8121723" y="993221"/>
            <a:ext cx="3506376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1776A2A-B671-AB4E-8FDB-35C6B7BE364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8124669" y="1599573"/>
            <a:ext cx="350637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of data with option to highlight text with a color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F7A43E-8EF4-FE4A-ACFF-9F5A5EC847DE}"/>
              </a:ext>
            </a:extLst>
          </p:cNvPr>
          <p:cNvCxnSpPr>
            <a:cxnSpLocks/>
          </p:cNvCxnSpPr>
          <p:nvPr/>
        </p:nvCxnSpPr>
        <p:spPr>
          <a:xfrm>
            <a:off x="8121723" y="3346677"/>
            <a:ext cx="3506376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5778F89-154B-F240-B35E-F81B16D999D6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8124669" y="3953029"/>
            <a:ext cx="350637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of data with option to highlight text with a color</a:t>
            </a: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A953F6CF-E655-4E7D-BDFB-6A551D28089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4896179" cy="3399937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 spc="0"/>
            </a:lvl1pPr>
            <a:lvl2pPr>
              <a:defRPr sz="1067" spc="0"/>
            </a:lvl2pPr>
            <a:lvl3pPr>
              <a:defRPr sz="800" spc="0"/>
            </a:lvl3pPr>
            <a:lvl4pPr>
              <a:defRPr sz="400" spc="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35A59425-FB4F-4C38-AD94-620219A101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3220"/>
            <a:ext cx="4901805" cy="170991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with key data right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11798FBB-8372-4722-82BF-FACDB6A640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4127422-6D86-4CED-ABA9-B9D18F6B22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28A8C1EF-D8F4-42D5-AAB0-CC93828312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BCAD04E-4C2E-418B-8D4E-04445E6DDC9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124670" y="1139204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BDD70ED-054E-4BF0-8B6B-069CF8E5142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121723" y="347758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</p:spTree>
    <p:extLst>
      <p:ext uri="{BB962C8B-B14F-4D97-AF65-F5344CB8AC3E}">
        <p14:creationId xmlns:p14="http://schemas.microsoft.com/office/powerpoint/2010/main" val="10911164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ight 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2BE86DFA-31C3-4F24-A7FF-57697A0FEFD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68778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BA23DE7-CFFA-40A9-9A64-A60D8665455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553199" y="1910149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60001BE-2917-4768-B6B6-BEC070C85F3E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71232" y="1910149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F033B061-30E2-4203-B7D3-0E4FF6C4CC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4F90B59D-E2BD-42BC-B3BC-06F77504882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5531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8269256-DD80-4564-A3AF-D017D4A7ED5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1699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BB20381-4C93-463A-927C-0BB3E602CAA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55441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5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ight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F60A532-8EEA-467C-8E7E-39CF1DB485A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6D3B650-5EC2-4F87-A7DF-85C7547613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4FB1BE2-EC71-4AA4-B103-A670DCD7AA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55836A8-05ED-470D-9C33-44AD1D4866F1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24673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5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ight 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F60A532-8EEA-467C-8E7E-39CF1DB485A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9A0B76E-2F1E-4BD6-AA72-3682A69C9C34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553199" y="1910149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5818B49-B6BC-412E-A21D-631A69222221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71232" y="1910149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442FDF7C-40C4-4C20-819D-D8B06F0E8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7B14163-B0FE-4287-968A-93DE8034681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5531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4927BC81-4C08-47F4-BA08-8F857CA477A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1699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E009170-4223-4B7A-A077-F74B3DE3688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051212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5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A305123-92F2-4B89-A355-7539327F08C3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1500" y="2787408"/>
            <a:ext cx="3465576" cy="3420333"/>
          </a:xfrm>
        </p:spPr>
        <p:txBody>
          <a:bodyPr/>
          <a:lstStyle>
            <a:lvl3pPr>
              <a:defRPr/>
            </a:lvl3pPr>
            <a:lvl4pPr marL="514350" indent="-17145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1907558"/>
            <a:ext cx="3465576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2" name="Content Placeholder 4">
            <a:extLst>
              <a:ext uri="{FF2B5EF4-FFF2-40B4-BE49-F238E27FC236}">
                <a16:creationId xmlns:a16="http://schemas.microsoft.com/office/drawing/2014/main" id="{F96C995E-58E0-4A91-AA56-8759CFD3EA73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499" y="2787408"/>
            <a:ext cx="3467099" cy="3420333"/>
          </a:xfrm>
        </p:spPr>
        <p:txBody>
          <a:bodyPr/>
          <a:lstStyle>
            <a:lvl3pPr>
              <a:defRPr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071BF92C-4C07-4794-8CC8-D51F3173376C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0" y="1907558"/>
            <a:ext cx="3467099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4" name="Content Placeholder 4">
            <a:extLst>
              <a:ext uri="{FF2B5EF4-FFF2-40B4-BE49-F238E27FC236}">
                <a16:creationId xmlns:a16="http://schemas.microsoft.com/office/drawing/2014/main" id="{47F7CD6B-9884-4317-A0E7-31AE02F93993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0" y="2787408"/>
            <a:ext cx="3467100" cy="3420333"/>
          </a:xfrm>
        </p:spPr>
        <p:txBody>
          <a:bodyPr/>
          <a:lstStyle>
            <a:lvl3pPr marL="346075" indent="-171450">
              <a:buFont typeface="Arial" panose="020B0604020202020204" pitchFamily="34" charset="0"/>
              <a:buChar char="•"/>
              <a:defRPr/>
            </a:lvl3pPr>
            <a:lvl4pPr marL="512763" indent="-169863"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EECB8C3-35E8-4930-A0AE-3BA62609BFD9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8153400" y="1904999"/>
            <a:ext cx="3467100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1D46A44-801A-40B4-8117-1D09F7B03348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9A2394E-0E95-4850-A756-0015178A4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50DAF14-F79F-48F1-BCFF-1EC74CF6ED79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384486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9CE094B7-A2CC-4860-A57D-F142C2E63FC6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4041159"/>
            <a:ext cx="3465576" cy="2169141"/>
          </a:xfrm>
        </p:spPr>
        <p:txBody>
          <a:bodyPr/>
          <a:lstStyle>
            <a:lvl3pPr marL="346075" indent="-17145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E2DCECB4-BB48-48B5-A871-A080DE20BDFF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499" y="4041159"/>
            <a:ext cx="3467099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Content Placeholder 4">
            <a:extLst>
              <a:ext uri="{FF2B5EF4-FFF2-40B4-BE49-F238E27FC236}">
                <a16:creationId xmlns:a16="http://schemas.microsoft.com/office/drawing/2014/main" id="{868F585C-1E6D-44C6-9295-9866846056CD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0" y="4038600"/>
            <a:ext cx="3467100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A1EBBB-1490-4A58-9FEB-3DAB9E66019A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577124" y="3429000"/>
            <a:ext cx="3465576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6C65CC39-4D00-45CB-AE15-8C3D3E976756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0" y="3429000"/>
            <a:ext cx="3467099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9291D51-BC1A-4ED4-8278-30B67F7C4AA7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8153400" y="3426441"/>
            <a:ext cx="3467100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42E7DBE-A450-4BC3-A3EC-3A1EE7839F6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94344F4-D05A-E24F-A679-CB39B058D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1084CAD-AB1E-47FC-A2EF-2D347CCE071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655664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8D3B3576-E092-44AC-9525-9DA3161E6EE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C21223BB-13C2-46FE-9733-BCC3C77A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2102BF9D-05AF-4C40-AEC2-376EE9F4E666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577124" y="4041159"/>
            <a:ext cx="2514600" cy="2169141"/>
          </a:xfrm>
        </p:spPr>
        <p:txBody>
          <a:bodyPr/>
          <a:lstStyle>
            <a:lvl3pPr>
              <a:defRPr/>
            </a:lvl3pPr>
            <a:lvl4pPr marL="342900" indent="0">
              <a:buNone/>
              <a:defRPr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F548FAB6-7AFF-4D5A-A1E9-06C746623E4C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429001" y="4041159"/>
            <a:ext cx="2510730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FB91503-30B7-4FD7-846E-47F4CF9F474A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6244532" y="4041159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E14F77AB-427A-46FA-9A58-62890F9733C1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9088316" y="4041159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72B32549-6990-4E43-A843-9EEA9CC29CF0}"/>
              </a:ext>
            </a:extLst>
          </p:cNvPr>
          <p:cNvSpPr>
            <a:spLocks noGrp="1"/>
          </p:cNvSpPr>
          <p:nvPr>
            <p:ph type="body" sz="half" idx="77" hasCustomPrompt="1"/>
          </p:nvPr>
        </p:nvSpPr>
        <p:spPr>
          <a:xfrm>
            <a:off x="577124" y="3429000"/>
            <a:ext cx="25146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A54DA02-E155-45D5-B886-1EDF7135C93F}"/>
              </a:ext>
            </a:extLst>
          </p:cNvPr>
          <p:cNvSpPr>
            <a:spLocks noGrp="1"/>
          </p:cNvSpPr>
          <p:nvPr>
            <p:ph type="body" sz="half" idx="78" hasCustomPrompt="1"/>
          </p:nvPr>
        </p:nvSpPr>
        <p:spPr>
          <a:xfrm>
            <a:off x="3429001" y="3429000"/>
            <a:ext cx="2514599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EC4E001-5A82-4221-8FE3-9B25D98B0EA9}"/>
              </a:ext>
            </a:extLst>
          </p:cNvPr>
          <p:cNvSpPr>
            <a:spLocks noGrp="1"/>
          </p:cNvSpPr>
          <p:nvPr>
            <p:ph type="body" sz="half" idx="79" hasCustomPrompt="1"/>
          </p:nvPr>
        </p:nvSpPr>
        <p:spPr>
          <a:xfrm>
            <a:off x="6244532" y="3426441"/>
            <a:ext cx="2511833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E779C7D-755B-428C-BB0F-6496238D6D83}"/>
              </a:ext>
            </a:extLst>
          </p:cNvPr>
          <p:cNvSpPr>
            <a:spLocks noGrp="1"/>
          </p:cNvSpPr>
          <p:nvPr>
            <p:ph type="body" sz="half" idx="80" hasCustomPrompt="1"/>
          </p:nvPr>
        </p:nvSpPr>
        <p:spPr>
          <a:xfrm>
            <a:off x="9088316" y="3426441"/>
            <a:ext cx="2511833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A758410-2F69-431F-99F7-B6259194CBFF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26826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-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29000" y="0"/>
            <a:ext cx="8762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5309CA-3E25-47B8-99B6-670FE796BB9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971800"/>
            <a:ext cx="2552700" cy="3238500"/>
          </a:xfrm>
        </p:spPr>
        <p:txBody>
          <a:bodyPr/>
          <a:lstStyle>
            <a:lvl3pPr marL="346075" indent="-17145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8B3BBBD-95D5-473C-B5AA-4C86DA04A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2552700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982096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872">
          <p15:clr>
            <a:srgbClr val="A4A3A4"/>
          </p15:clr>
        </p15:guide>
        <p15:guide id="3" orient="horz" pos="1680">
          <p15:clr>
            <a:srgbClr val="A4A3A4"/>
          </p15:clr>
        </p15:guide>
      </p15:sldGuideLst>
    </p:ext>
  </p:extLst>
</p:sldLayout>
</file>

<file path=ppt/slideLayouts/slideLayout5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-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76700" y="609600"/>
            <a:ext cx="75438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4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336A642-95C4-40BE-AE95-D81502EF3AE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E0708104-F9EC-4157-95F0-FA326192EA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609600"/>
            <a:ext cx="2857500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</a:t>
            </a:r>
            <a:br>
              <a:rPr lang="en-US"/>
            </a:br>
            <a:r>
              <a:rPr lang="en-US"/>
              <a:t>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B1B1C66-A921-41B1-B007-79881FEFA60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971800"/>
            <a:ext cx="2857500" cy="3238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C2511D1-1C83-4E3F-B853-447E699CCCF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456610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29000" y="0"/>
            <a:ext cx="8762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4891977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71499" y="5486401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8" y="3631820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8" y="3037396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F1A913C-478C-4159-AD61-19314F8B1D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2552699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246906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ur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94026FE-B789-4F5D-805E-02B0631E7EC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8" y="4891977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0788797-0721-4FDF-B9A8-D8FD6A85E245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71498" y="5486401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0231F72B-DB93-439F-8D5C-3A98DBB9C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609600"/>
            <a:ext cx="5372099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042C4D8C-C05E-40DC-A5F1-D8E216530543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8" y="3631820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79DD178-20FD-4061-A4CF-ADAD80B00223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8" y="3037396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55C8534-6B0E-41CD-9706-61F591BFF126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390900" y="4891977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0DECDBD2-EF07-4EFE-81B0-67DD271A8E4A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390900" y="5486401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A005CF03-ABB1-4046-89FC-A41C9CAD1DE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3390899" y="3631820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49AEAAD6-2FA1-420B-BCE8-48233BD945BF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3390899" y="3037396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534740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4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2462AB-6463-CF4C-ACBF-34DDFE050AC3}"/>
              </a:ext>
            </a:extLst>
          </p:cNvPr>
          <p:cNvCxnSpPr>
            <a:cxnSpLocks/>
          </p:cNvCxnSpPr>
          <p:nvPr/>
        </p:nvCxnSpPr>
        <p:spPr>
          <a:xfrm>
            <a:off x="9069052" y="993221"/>
            <a:ext cx="2559049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1776A2A-B671-AB4E-8FDB-35C6B7BE364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9069051" y="1612208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F7A43E-8EF4-FE4A-ACFF-9F5A5EC847DE}"/>
              </a:ext>
            </a:extLst>
          </p:cNvPr>
          <p:cNvCxnSpPr>
            <a:cxnSpLocks/>
          </p:cNvCxnSpPr>
          <p:nvPr/>
        </p:nvCxnSpPr>
        <p:spPr>
          <a:xfrm>
            <a:off x="9084040" y="3346677"/>
            <a:ext cx="2544059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5778F89-154B-F240-B35E-F81B16D999D6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9069051" y="3965664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F9833B0-6B7A-714F-92F0-2318F3988881}"/>
              </a:ext>
            </a:extLst>
          </p:cNvPr>
          <p:cNvCxnSpPr>
            <a:cxnSpLocks/>
          </p:cNvCxnSpPr>
          <p:nvPr/>
        </p:nvCxnSpPr>
        <p:spPr>
          <a:xfrm>
            <a:off x="6235910" y="993221"/>
            <a:ext cx="2559049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3FA3CBF-374B-A244-B5C0-E13E40FCC1EA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6235910" y="1612208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116D5F1-B389-8444-92F2-80861F0A60F1}"/>
              </a:ext>
            </a:extLst>
          </p:cNvPr>
          <p:cNvCxnSpPr>
            <a:cxnSpLocks/>
          </p:cNvCxnSpPr>
          <p:nvPr/>
        </p:nvCxnSpPr>
        <p:spPr>
          <a:xfrm>
            <a:off x="6250899" y="3346677"/>
            <a:ext cx="2544059" cy="0"/>
          </a:xfrm>
          <a:prstGeom prst="line">
            <a:avLst/>
          </a:prstGeom>
          <a:ln w="1270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325976-5126-7040-BC43-767BC0796538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6235910" y="3965664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F0978613-50ED-4F51-BBE0-00F6975A767E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4833332" cy="341390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 spc="0"/>
            </a:lvl1pPr>
            <a:lvl2pPr>
              <a:defRPr sz="1067" spc="0"/>
            </a:lvl2pPr>
            <a:lvl3pPr>
              <a:defRPr sz="800" spc="0"/>
            </a:lvl3pPr>
            <a:lvl4pPr>
              <a:defRPr sz="400" spc="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08D8E3A7-A4BC-4E58-A3CD-1366DCB307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3222"/>
            <a:ext cx="4838960" cy="167508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with key data right</a:t>
            </a:r>
          </a:p>
        </p:txBody>
      </p:sp>
      <p:sp>
        <p:nvSpPr>
          <p:cNvPr id="38" name="Slide Number Placeholder 4">
            <a:extLst>
              <a:ext uri="{FF2B5EF4-FFF2-40B4-BE49-F238E27FC236}">
                <a16:creationId xmlns:a16="http://schemas.microsoft.com/office/drawing/2014/main" id="{EB927BF6-B7DB-457A-BD02-2BDF652259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316AFE74-19AA-44F5-A0EC-8E1A24A495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48461BE4-FEE8-4E08-94EF-CF8BE4A0F9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1529625F-7DEE-402F-BCC7-E3F6B1DFA88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50899" y="1147648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6839659-BE0B-4010-92F6-DAEB5D615CD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50899" y="347971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A83BDD0-E718-4437-ADC5-FDF817E32F4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084040" y="114663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FD13EB52-63CB-4ADD-B22D-D9D6F1D697A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084040" y="3478699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</p:spTree>
    <p:extLst>
      <p:ext uri="{BB962C8B-B14F-4D97-AF65-F5344CB8AC3E}">
        <p14:creationId xmlns:p14="http://schemas.microsoft.com/office/powerpoint/2010/main" val="20897761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ith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81500" y="609600"/>
            <a:ext cx="34671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</a:t>
            </a:r>
            <a:br>
              <a:rPr lang="en-US"/>
            </a:br>
            <a:r>
              <a:rPr lang="en-US"/>
              <a:t>photo here or click or tap </a:t>
            </a:r>
            <a:br>
              <a:rPr lang="en-US"/>
            </a:br>
            <a:r>
              <a:rPr lang="en-US"/>
              <a:t>icon 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80B26961-BE72-42FE-83E3-E9413C61E43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153400" y="609600"/>
            <a:ext cx="34671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</a:t>
            </a:r>
            <a:br>
              <a:rPr lang="en-US"/>
            </a:br>
            <a:r>
              <a:rPr lang="en-US"/>
              <a:t>photo here or click or tap </a:t>
            </a:r>
            <a:br>
              <a:rPr lang="en-US"/>
            </a:br>
            <a:r>
              <a:rPr lang="en-US"/>
              <a:t>icon 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7117EB1-347D-42E5-8273-C02EF79929C2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8" y="3276600"/>
            <a:ext cx="3505201" cy="29337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E1DC698-4F08-40A9-8E7D-20E5FF561A26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8" y="2057400"/>
            <a:ext cx="3505201" cy="1066800"/>
          </a:xfrm>
        </p:spPr>
        <p:txBody>
          <a:bodyPr wrap="square" anchor="b" anchorCtr="0">
            <a:noAutofit/>
          </a:bodyPr>
          <a:lstStyle>
            <a:lvl1pPr>
              <a:defRPr lang="en-US" sz="2000" dirty="0" smtClean="0"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E0567A-A5F3-4C61-8B3C-08121E05DDC7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D3E41E21-7547-4B83-8F53-91A26F07F5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3505201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6FBF98B-2A50-454A-BE00-7C981795572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528921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6EE0FED-0F8F-1D4B-BDC6-134B0FE8D3AF}"/>
              </a:ext>
            </a:extLst>
          </p:cNvPr>
          <p:cNvSpPr/>
          <p:nvPr/>
        </p:nvSpPr>
        <p:spPr>
          <a:xfrm>
            <a:off x="3428999" y="0"/>
            <a:ext cx="8763001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00FA166-5D3F-4D89-9646-F16A985660E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25527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E9CD8F1-BCCB-4886-9A5C-6DBC2AED36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25527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8F119A-0C2E-4A56-861D-52501224E76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005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488">
          <p15:clr>
            <a:srgbClr val="A4A3A4"/>
          </p15:clr>
        </p15:guide>
        <p15:guide id="3" orient="horz" pos="1584">
          <p15:clr>
            <a:srgbClr val="A4A3A4"/>
          </p15:clr>
        </p15:guide>
      </p15:sldGuideLst>
    </p:ext>
  </p:extLst>
</p:sldLayout>
</file>

<file path=ppt/slideLayouts/slideLayout5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97389CA-AA00-4146-B54D-B32C999B76FE}"/>
              </a:ext>
            </a:extLst>
          </p:cNvPr>
          <p:cNvSpPr/>
          <p:nvPr/>
        </p:nvSpPr>
        <p:spPr>
          <a:xfrm>
            <a:off x="4991100" y="0"/>
            <a:ext cx="72009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3852A25-25D6-4B6B-902F-93AEC433B73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38100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CC6C67FE-13C1-4F4C-8B7C-A596738753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38100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74ED29-7748-494F-852C-C675DE7124A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46766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lf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5F55B17-88C3-D348-889E-49139B7173C6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C55F65A-E884-4545-813B-8B12A150F0E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47244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C7E4F0C-628A-4B9F-8B0B-ACF8C8FB35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47244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B4C80E-343D-4240-BC0E-A777164C587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21788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ith Two Data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7848600" y="1905380"/>
            <a:ext cx="3771900" cy="1242697"/>
          </a:xfrm>
        </p:spPr>
        <p:txBody>
          <a:bodyPr/>
          <a:lstStyle>
            <a:lvl1pPr>
              <a:spcAft>
                <a:spcPts val="300"/>
              </a:spcAft>
              <a:defRPr sz="2400">
                <a:latin typeface="+mj-lt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7848600" y="1172402"/>
            <a:ext cx="3771900" cy="553998"/>
          </a:xfrm>
        </p:spPr>
        <p:txBody>
          <a:bodyPr wrap="square" anchor="t" anchorCtr="0">
            <a:spAutoFit/>
          </a:bodyPr>
          <a:lstStyle>
            <a:lvl1pPr>
              <a:defRPr sz="3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XX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E4E13D-43FB-4287-8055-FE35994AA77F}"/>
              </a:ext>
            </a:extLst>
          </p:cNvPr>
          <p:cNvCxnSpPr>
            <a:cxnSpLocks/>
          </p:cNvCxnSpPr>
          <p:nvPr/>
        </p:nvCxnSpPr>
        <p:spPr>
          <a:xfrm>
            <a:off x="7847932" y="1066800"/>
            <a:ext cx="3780167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F04E06-6C46-46FE-9956-F0E8ED6633DF}"/>
              </a:ext>
            </a:extLst>
          </p:cNvPr>
          <p:cNvCxnSpPr>
            <a:cxnSpLocks/>
          </p:cNvCxnSpPr>
          <p:nvPr/>
        </p:nvCxnSpPr>
        <p:spPr>
          <a:xfrm>
            <a:off x="7847932" y="3429000"/>
            <a:ext cx="3780167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C652CDCF-A770-46B4-8121-F76B79BBD16B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BC8C455-2242-44E3-A715-51CE102AB98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53721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C222245D-C3A3-4396-926D-88ECBE5C8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53721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0676A19-4AB7-4E11-A8A8-87E09D920368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848600" y="4276402"/>
            <a:ext cx="3771900" cy="1242697"/>
          </a:xfrm>
        </p:spPr>
        <p:txBody>
          <a:bodyPr/>
          <a:lstStyle>
            <a:lvl1pPr>
              <a:spcAft>
                <a:spcPts val="300"/>
              </a:spcAft>
              <a:defRPr sz="2400">
                <a:latin typeface="+mj-lt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05020DF-F1F5-4BD5-B207-F94988F4F455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848600" y="3543424"/>
            <a:ext cx="37719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A0EEA72-5966-4ADA-9370-9330195584D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917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ith Four Data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067269" y="3539749"/>
            <a:ext cx="2551216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9067184" y="4298127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9067800" y="1778380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067800" y="1020002"/>
            <a:ext cx="25527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E4E13D-43FB-4287-8055-FE35994AA77F}"/>
              </a:ext>
            </a:extLst>
          </p:cNvPr>
          <p:cNvCxnSpPr>
            <a:cxnSpLocks/>
          </p:cNvCxnSpPr>
          <p:nvPr/>
        </p:nvCxnSpPr>
        <p:spPr>
          <a:xfrm>
            <a:off x="9069804" y="9144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F04E06-6C46-46FE-9956-F0E8ED6633DF}"/>
              </a:ext>
            </a:extLst>
          </p:cNvPr>
          <p:cNvCxnSpPr>
            <a:cxnSpLocks/>
          </p:cNvCxnSpPr>
          <p:nvPr/>
        </p:nvCxnSpPr>
        <p:spPr>
          <a:xfrm>
            <a:off x="9069804" y="342899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13425D7-1452-4F87-AE64-7C2F048C2469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248485" y="3539749"/>
            <a:ext cx="2551216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806E283-8E77-44C1-84BC-00B971D42EBD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248400" y="4298127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BDD5CD07-CCF1-451E-8B13-2BE3821C220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249016" y="1778385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sz="1600">
                <a:latin typeface="+mj-lt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DD3D7F-C0BF-415A-9378-D8759CED06B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9016" y="1020002"/>
            <a:ext cx="25527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B67A14D-E25C-4D75-8D2E-0D450CE9656D}"/>
              </a:ext>
            </a:extLst>
          </p:cNvPr>
          <p:cNvCxnSpPr>
            <a:cxnSpLocks/>
          </p:cNvCxnSpPr>
          <p:nvPr/>
        </p:nvCxnSpPr>
        <p:spPr>
          <a:xfrm>
            <a:off x="6251020" y="91440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9FFCD6B-6781-45B9-A0FF-441B99A220B5}"/>
              </a:ext>
            </a:extLst>
          </p:cNvPr>
          <p:cNvCxnSpPr>
            <a:cxnSpLocks/>
          </p:cNvCxnSpPr>
          <p:nvPr/>
        </p:nvCxnSpPr>
        <p:spPr>
          <a:xfrm>
            <a:off x="6251020" y="34290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58239EE2-4739-4DF9-A78C-6994DD9D6E29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8EBC35A6-C3F6-4CAA-B6FE-77A0C0F6904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53721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367F26D2-980E-498C-9B01-AEF3F1821C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53721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1DE9A97B-CB1E-4FA3-9806-5D1E1D446DEE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84884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-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C865750-8F0C-6B4A-A308-228D6B53EE0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254B061-C071-4247-8356-D55F1F50C5D6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8E7470-A9D2-4756-B67E-9B25728B0E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E2BE28-CF01-49D3-AF0B-092C5B9F5DD1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7E1B09A-7737-4F73-8857-1144D4CA24F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24230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-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6A164E9-1234-4BC2-B8E7-F3047AC35998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9BFEE4A-F2C6-4F21-8071-313D1B3C613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361C734-A636-4E0E-A708-B9C530351863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DDA5770-9471-B746-BDC8-3306A09120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2453D8B-1785-4D30-B87D-91AEE8A23A9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525678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-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9CBA9FE-67A6-43C6-8EE8-C7E8559F1DB7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1486C46-F4F9-421A-A39F-3E52A938244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BE82382-DE4E-4A48-A33B-C56A93877509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FAB8C5-AE86-9F4C-A87D-A5551D4E663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40A3314-D7F9-4E72-B2F7-E008E985900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2979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-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2B69982-B253-4DE6-9C5E-FB93C3A27F4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22572" y="4880809"/>
            <a:ext cx="6145427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lang="en-US" sz="1400" b="0" i="0" kern="0" spc="0" baseline="0" dirty="0">
                <a:solidFill>
                  <a:schemeClr val="tx1"/>
                </a:solidFill>
                <a:latin typeface="CiscoSansTT Medium" panose="020B0903020201020303" pitchFamily="34" charset="0"/>
                <a:ea typeface="+mn-ea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Insert name her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46ED238B-31FF-436C-9838-14BADBEE1071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3429000" y="4648200"/>
            <a:ext cx="952500" cy="952500"/>
          </a:xfrm>
          <a:prstGeom prst="ellipse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67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13AA95C-29B9-4045-B598-AA928D1B9666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4522572" y="5225969"/>
            <a:ext cx="6145427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lang="en-US" sz="12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Job title, company, loc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C98AB57-B534-43CE-8598-7264AC2F5F2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FB38577-29E6-6546-851F-B5859A13FFB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C6E4486-5C09-4179-B8AA-BE5DFD4AA98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06478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ea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6109FABB-685C-064C-97C0-CDEBA83E6A90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75128" y="1681972"/>
            <a:ext cx="1890755" cy="24622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1867" spc="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A94773F4-AAB7-E940-B2A8-EFEBE8948C45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575128" y="3237202"/>
            <a:ext cx="1890755" cy="24622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1867" spc="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67" name="Text Placeholder 3">
            <a:extLst>
              <a:ext uri="{FF2B5EF4-FFF2-40B4-BE49-F238E27FC236}">
                <a16:creationId xmlns:a16="http://schemas.microsoft.com/office/drawing/2014/main" id="{282895ED-6050-3747-8F02-64EC64223ADF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575128" y="4792431"/>
            <a:ext cx="1890755" cy="24622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1867" spc="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87" name="Picture Placeholder 2">
            <a:extLst>
              <a:ext uri="{FF2B5EF4-FFF2-40B4-BE49-F238E27FC236}">
                <a16:creationId xmlns:a16="http://schemas.microsoft.com/office/drawing/2014/main" id="{323133DF-7BD6-514D-BEB7-88A3F593064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803160" y="831957"/>
            <a:ext cx="6603168" cy="5321508"/>
          </a:xfrm>
          <a:prstGeom prst="rect">
            <a:avLst/>
          </a:prstGeom>
          <a:solidFill>
            <a:schemeClr val="bg1"/>
          </a:solidFill>
        </p:spPr>
        <p:txBody>
          <a:bodyPr anchor="t" anchorCtr="0">
            <a:noAutofit/>
          </a:bodyPr>
          <a:lstStyle>
            <a:lvl1pPr marL="0" indent="0" algn="ctr">
              <a:buNone/>
              <a:defRPr sz="2509" spc="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1" name="Slide Number Placeholder 4">
            <a:extLst>
              <a:ext uri="{FF2B5EF4-FFF2-40B4-BE49-F238E27FC236}">
                <a16:creationId xmlns:a16="http://schemas.microsoft.com/office/drawing/2014/main" id="{1D2CC720-C5B4-48FE-A1CD-BA2700675B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2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825B61A-3A85-4882-BBB1-5D9D49DE8B11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5128" y="2033026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tx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77C9AC3-9E3A-4EA8-B187-A1C1A3FCF4EC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75128" y="3586888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 dirty="0">
                <a:solidFill>
                  <a:schemeClr val="tx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5D3C119-BE92-4F78-B40B-2CD0BA25798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75128" y="5140751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>
                <a:solidFill>
                  <a:schemeClr val="tx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85E9FFB8-448F-4BEB-9062-AE6453AC476B}"/>
              </a:ext>
            </a:extLst>
          </p:cNvPr>
          <p:cNvSpPr>
            <a:spLocks noGrp="1"/>
          </p:cNvSpPr>
          <p:nvPr>
            <p:ph type="body" sz="half" idx="48" hasCustomPrompt="1"/>
          </p:nvPr>
        </p:nvSpPr>
        <p:spPr>
          <a:xfrm>
            <a:off x="9742445" y="1682132"/>
            <a:ext cx="1890755" cy="24622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1867" spc="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490D1BE3-656B-4816-8D7F-6B972EE99B30}"/>
              </a:ext>
            </a:extLst>
          </p:cNvPr>
          <p:cNvSpPr>
            <a:spLocks noGrp="1"/>
          </p:cNvSpPr>
          <p:nvPr>
            <p:ph type="body" sz="half" idx="50" hasCustomPrompt="1"/>
          </p:nvPr>
        </p:nvSpPr>
        <p:spPr>
          <a:xfrm>
            <a:off x="9742445" y="3237362"/>
            <a:ext cx="1890755" cy="24622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1867" spc="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08A5BB13-4AE6-4F94-B95C-2999ADC2964E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9742445" y="4792591"/>
            <a:ext cx="1890755" cy="246221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1867" spc="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D5A01B2D-2DD4-48BE-9168-CD41BD2A052C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9742445" y="2033186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>
                <a:solidFill>
                  <a:schemeClr val="tx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E50C3374-25F2-4497-910F-A7F20424C332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9742445" y="3587048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>
                <a:solidFill>
                  <a:schemeClr val="tx1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7280B0E9-BE28-4C9B-8368-AB8CBD61305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9742445" y="5140911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>
              <a:defRPr lang="en-US" sz="1200">
                <a:solidFill>
                  <a:schemeClr val="tx1"/>
                </a:solidFill>
              </a:defRPr>
            </a:lvl1pPr>
            <a:lvl2pPr>
              <a:defRPr lang="en-US"/>
            </a:lvl2pPr>
          </a:lstStyle>
          <a:p>
            <a:pPr marL="0" lvl="0" indent="0">
              <a:lnSpc>
                <a:spcPct val="100000"/>
              </a:lnSpc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DB88346-186B-44A2-ACB8-13C6075E17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9008" y="1282135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423CEAC7-9351-44C0-8650-685B42C7DB3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69008" y="283365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92DA7B38-9444-4EC2-8018-21FD1A285F3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569008" y="4385168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9E1862F-9EB8-4655-8F44-7F8EAF7C5A2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742446" y="1296068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09882002-4CDE-4869-868F-E43E999F39D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742446" y="2847584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72D80060-E102-442A-9C04-C7B7F0A30E6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742446" y="43991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5EB31E36-A45C-4CA4-BAD6-608235E681A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BA87D479-30B1-45F9-9188-C9837378F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8208816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-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8ECCB6B-46C4-4E71-97ED-219163FCE9B9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D938136-20C6-401D-BA2C-F3CC96E9757F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692930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-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20F9E4-16CA-4B30-ADCC-BD4809B43944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0FB953B-93BA-45FD-AD0D-5A607DEF5ABD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764779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-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D4C5D01-C630-4FFC-963D-B04C145573C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348D590-B05C-4613-AFD1-D65C0ED502C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81806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5" y="6431691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92773B-7150-44D2-AFDB-DE60A8A0F625}"/>
              </a:ext>
            </a:extLst>
          </p:cNvPr>
          <p:cNvSpPr/>
          <p:nvPr/>
        </p:nvSpPr>
        <p:spPr>
          <a:xfrm>
            <a:off x="304800" y="6414273"/>
            <a:ext cx="2819400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BEBFBF78-0E90-472B-B2BB-48C8ECC385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39585" y="2209800"/>
            <a:ext cx="2912830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2156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5" y="6431691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B8EB6A92-1A18-4242-B37B-061D783A1E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33353" y="6061498"/>
            <a:ext cx="1633196" cy="49932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79071DA-63B2-46A2-892F-B272FF3B2408}"/>
              </a:ext>
            </a:extLst>
          </p:cNvPr>
          <p:cNvSpPr/>
          <p:nvPr/>
        </p:nvSpPr>
        <p:spPr>
          <a:xfrm>
            <a:off x="525451" y="6410479"/>
            <a:ext cx="503249" cy="1503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93043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Midnigh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4C42D79D-196D-79B2-C9D9-9E420F6F73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8011" y="3200817"/>
            <a:ext cx="10962553" cy="1504200"/>
          </a:xfrm>
          <a:prstGeom prst="rect">
            <a:avLst/>
          </a:prstGeom>
          <a:noFill/>
        </p:spPr>
        <p:txBody>
          <a:bodyPr lIns="0" tIns="0" rIns="0" bIns="0"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400" b="0" i="0" spc="0" baseline="0">
                <a:solidFill>
                  <a:schemeClr val="bg1"/>
                </a:solidFill>
                <a:latin typeface="CiscoSansTT ExtraLight" panose="020B0303020201020303" pitchFamily="34" charset="0"/>
                <a:cs typeface="CiscoSansTT ExtraLight"/>
              </a:defRPr>
            </a:lvl1pPr>
          </a:lstStyle>
          <a:p>
            <a:r>
              <a:rPr lang="en-GB"/>
              <a:t>Presenta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8D946DB3-26D2-2EE1-728C-7D32C4930F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28011" y="4807254"/>
            <a:ext cx="10962553" cy="398668"/>
          </a:xfrm>
          <a:prstGeom prst="rect">
            <a:avLst/>
          </a:prstGeom>
          <a:noFill/>
        </p:spPr>
        <p:txBody>
          <a:bodyPr lIns="0" tIns="0" rIns="0" bIns="0"/>
          <a:lstStyle>
            <a:lvl1pPr marL="0" indent="0" algn="l">
              <a:buFont typeface="Arial" panose="020B0604020202020204" pitchFamily="34" charset="0"/>
              <a:buNone/>
              <a:defRPr sz="2000" b="0" i="0" baseline="0">
                <a:solidFill>
                  <a:schemeClr val="tx1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406371" indent="0">
              <a:buNone/>
              <a:defRPr/>
            </a:lvl2pPr>
            <a:lvl3pPr marL="569863" indent="0">
              <a:buNone/>
              <a:defRPr/>
            </a:lvl3pPr>
            <a:lvl4pPr marL="688920" indent="0">
              <a:buNone/>
              <a:defRPr/>
            </a:lvl4pPr>
            <a:lvl5pPr marL="801621" indent="0">
              <a:buNone/>
              <a:defRPr/>
            </a:lvl5pPr>
          </a:lstStyle>
          <a:p>
            <a:pPr lvl="0"/>
            <a:r>
              <a:rPr lang="en-GB"/>
              <a:t>Subtitle goes her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07CA8F8-C47B-50F4-9C65-C46111F86B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28011" y="5314225"/>
            <a:ext cx="10962553" cy="807177"/>
          </a:xfrm>
          <a:prstGeom prst="rect">
            <a:avLst/>
          </a:prstGeom>
          <a:noFill/>
        </p:spPr>
        <p:txBody>
          <a:bodyPr lIns="0" tIns="0" rIns="0" bIns="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1600"/>
              </a:spcAft>
              <a:buNone/>
              <a:defRPr sz="1300" b="0" i="0">
                <a:solidFill>
                  <a:schemeClr val="tx1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4571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7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8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1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, Speaker title </a:t>
            </a:r>
            <a:br>
              <a:rPr lang="en-GB"/>
            </a:br>
            <a:r>
              <a:rPr lang="en-GB"/>
              <a:t>Department</a:t>
            </a:r>
          </a:p>
          <a:p>
            <a:r>
              <a:rPr lang="en-GB"/>
              <a:t>Date</a:t>
            </a:r>
            <a:endParaRPr lang="en-US"/>
          </a:p>
        </p:txBody>
      </p:sp>
      <p:pic>
        <p:nvPicPr>
          <p:cNvPr id="25" name="Picture 7">
            <a:extLst>
              <a:ext uri="{FF2B5EF4-FFF2-40B4-BE49-F238E27FC236}">
                <a16:creationId xmlns:a16="http://schemas.microsoft.com/office/drawing/2014/main" id="{C5A29C15-48D7-6644-9164-6F819B3D7D8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09602" y="431800"/>
            <a:ext cx="714359" cy="3753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99467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 column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480C16A7-AC87-3041-BFCA-5BAE809929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63903" y="2518229"/>
            <a:ext cx="2552092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8AFA0CDB-F372-1847-ACE3-8F2552F32E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01446" y="2518229"/>
            <a:ext cx="2552092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2CEDA4E7-FEF8-A844-BD5D-9125501BED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246246" y="2518229"/>
            <a:ext cx="2552092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0C5331F0-DC53-014A-AC10-09442296B48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076533" y="2518229"/>
            <a:ext cx="2552092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857640"/>
            <a:ext cx="2552092" cy="4363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-80" dirty="0">
                <a:latin typeface="CiscoSansTT Medium" panose="020B0503020201020303" pitchFamily="34" charset="0"/>
                <a:cs typeface="CiscoSansTT Medium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35F796C-3FA3-4D4C-9E57-306772BBFEB7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8" y="3857640"/>
            <a:ext cx="2552092" cy="4363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-80" dirty="0">
                <a:latin typeface="CiscoSansTT Medium" panose="020B0503020201020303" pitchFamily="34" charset="0"/>
                <a:cs typeface="CiscoSansTT Medium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3094BC0-195B-294A-B09B-12005D172A0C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857640"/>
            <a:ext cx="2552092" cy="4363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-80" dirty="0">
                <a:latin typeface="CiscoSansTT Medium" panose="020B0503020201020303" pitchFamily="34" charset="0"/>
                <a:cs typeface="CiscoSansTT Medium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A941269-22F0-1B4D-A516-00DAC2E11BF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857640"/>
            <a:ext cx="2552092" cy="4363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-80" dirty="0">
                <a:latin typeface="CiscoSansTT Medium" panose="020B0503020201020303" pitchFamily="34" charset="0"/>
                <a:cs typeface="CiscoSansTT Medium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E71F9B75-2801-4E3B-A4AF-EE2F5428DF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478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pc="-240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mages</a:t>
            </a:r>
          </a:p>
        </p:txBody>
      </p:sp>
      <p:sp>
        <p:nvSpPr>
          <p:cNvPr id="40" name="Slide Number Placeholder 4">
            <a:extLst>
              <a:ext uri="{FF2B5EF4-FFF2-40B4-BE49-F238E27FC236}">
                <a16:creationId xmlns:a16="http://schemas.microsoft.com/office/drawing/2014/main" id="{C287D7C0-FDBF-4DC2-A5AD-21F027C218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B282261E-4BBB-4DDF-A272-64831DF6A48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63902" y="4479689"/>
            <a:ext cx="2552095" cy="169843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35DF58A1-C9DA-4098-A483-3AF5EEE2823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13562" y="4479689"/>
            <a:ext cx="2552095" cy="169843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506F507-8135-47B0-B749-1ECA83F7A4C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47251" y="4479689"/>
            <a:ext cx="2552095" cy="169843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D835D938-BABF-448A-911C-81BC403D164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96911" y="4479689"/>
            <a:ext cx="2552095" cy="169843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91F740F-284B-4B91-944E-3E248D56447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45924221-968B-489A-B12E-3DB03CF53A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5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9712526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0601"/>
            <a:ext cx="11080025" cy="127000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pc="-133" baseline="0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AAF988F-32DA-6CD5-F920-8255E820C39E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462752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matchingName="Title with Subhead" preserve="1">
  <p:cSld name="1_Title with Subhead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Google Shape;15;p7"/>
          <p:cNvSpPr txBox="1">
            <a:spLocks noGrp="1"/>
          </p:cNvSpPr>
          <p:nvPr>
            <p:ph type="body" idx="1"/>
          </p:nvPr>
        </p:nvSpPr>
        <p:spPr>
          <a:xfrm>
            <a:off x="571500" y="1222129"/>
            <a:ext cx="11043376" cy="30777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marL="457200" lvl="0" indent="-22860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2000"/>
              <a:buFont typeface="Arial"/>
              <a:buNone/>
              <a:defRPr sz="2000">
                <a:latin typeface="Arial"/>
                <a:ea typeface="Arial"/>
                <a:cs typeface="Arial"/>
                <a:sym typeface="Arial"/>
              </a:defRPr>
            </a:lvl1pPr>
            <a:lvl2pPr marL="914400" lvl="1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400"/>
              <a:buNone/>
              <a:defRPr/>
            </a:lvl2pPr>
            <a:lvl3pPr marL="1371600" lvl="2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200"/>
              <a:buNone/>
              <a:defRPr/>
            </a:lvl3pPr>
            <a:lvl4pPr marL="1828800" lvl="3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000"/>
              <a:buNone/>
              <a:defRPr/>
            </a:lvl4pPr>
            <a:lvl5pPr marL="2286000" lvl="4" indent="-228600" algn="l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500"/>
              <a:buNone/>
              <a:defRPr/>
            </a:lvl5pPr>
            <a:lvl6pPr marL="2743200" lvl="5" indent="-342900" algn="l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6pPr>
            <a:lvl7pPr marL="3200400" lvl="6" indent="-342900" algn="l">
              <a:lnSpc>
                <a:spcPct val="90000"/>
              </a:lnSpc>
              <a:spcBef>
                <a:spcPts val="48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7pPr>
            <a:lvl8pPr marL="3657600" lvl="7" indent="-342900" algn="l">
              <a:lnSpc>
                <a:spcPct val="90000"/>
              </a:lnSpc>
              <a:spcBef>
                <a:spcPts val="48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8pPr>
            <a:lvl9pPr marL="4114800" lvl="8" indent="-342900" algn="l">
              <a:lnSpc>
                <a:spcPct val="90000"/>
              </a:lnSpc>
              <a:spcBef>
                <a:spcPts val="483"/>
              </a:spcBef>
              <a:spcAft>
                <a:spcPts val="0"/>
              </a:spcAft>
              <a:buClr>
                <a:schemeClr val="dk1"/>
              </a:buClr>
              <a:buSzPts val="1800"/>
              <a:buChar char="•"/>
              <a:defRPr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Google Shape;16;p7"/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600"/>
              <a:buFont typeface="Arial"/>
              <a:buNone/>
            </a:pPr>
            <a:r>
              <a:rPr lang="en-US" sz="6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© 2025 Cisco and/or its affiliates. All rights reserved. Cisco Confidential</a:t>
            </a:r>
            <a:endParaRPr/>
          </a:p>
        </p:txBody>
      </p:sp>
      <p:sp>
        <p:nvSpPr>
          <p:cNvPr id="17" name="Google Shape;17;p7"/>
          <p:cNvSpPr txBox="1"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>
            <a:lvl1pPr lvl="0" algn="l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4000"/>
              <a:buFont typeface="Arial"/>
              <a:buNone/>
              <a:defRPr sz="4000"/>
            </a:lvl1pPr>
            <a:lvl2pPr lvl="1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1400"/>
              <a:buNone/>
              <a:defRPr/>
            </a:lvl9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18" name="Google Shape;18;p7"/>
          <p:cNvSpPr txBox="1"/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 sz="800" b="0" i="0" u="none" strike="noStrike" cap="none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‹#›</a:t>
            </a:fld>
            <a:endParaRPr sz="800" b="0" i="0" u="none" strike="noStrike" cap="none">
              <a:solidFill>
                <a:schemeClr val="dk1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6209721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E84602F-A2F5-0AB3-EDDA-2F6FBCDFA8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1792" y="1600200"/>
            <a:ext cx="10960608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8" indent="-228598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95" indent="-220132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92" indent="-146050">
              <a:buClr>
                <a:schemeClr val="accent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CiscoSansTT" panose="020B0503020201020303" pitchFamily="34" charset="0"/>
                <a:ea typeface="CiscoSansTT" panose="020B0503020201020303" pitchFamily="34" charset="0"/>
                <a:cs typeface="CiscoSansTT" panose="020B0503020201020303" pitchFamily="34" charset="0"/>
              </a:defRPr>
            </a:lvl3pPr>
            <a:lvl4pPr marL="1214703" indent="-228552">
              <a:buClr>
                <a:schemeClr val="accent1"/>
              </a:buClr>
              <a:buSzPct val="80000"/>
              <a:buFont typeface="Arial"/>
              <a:buChar char="•"/>
              <a:defRPr sz="1333" b="0" i="0">
                <a:solidFill>
                  <a:schemeClr val="tx1"/>
                </a:solidFill>
                <a:latin typeface="CiscoSansTT Medium" panose="020B0503020201020303" pitchFamily="34" charset="0"/>
                <a:ea typeface="CiscoSansTT Medium" panose="020B0503020201020303" pitchFamily="34" charset="0"/>
                <a:cs typeface="CiscoSansTT Medium" panose="020B0503020201020303" pitchFamily="34" charset="0"/>
              </a:defRPr>
            </a:lvl4pPr>
            <a:lvl5pPr marL="1443255" indent="-224318">
              <a:buClr>
                <a:schemeClr val="bg2"/>
              </a:buClr>
              <a:buSzPct val="80000"/>
              <a:buFont typeface="Arial"/>
              <a:buChar char="•"/>
              <a:defRPr sz="1333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9A4C47A-6966-3B09-BD1C-38665845F9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5928" y="431801"/>
            <a:ext cx="3489235" cy="304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300" b="0" i="0" baseline="0">
                <a:solidFill>
                  <a:schemeClr val="tx1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406371" indent="0">
              <a:buNone/>
              <a:defRPr/>
            </a:lvl2pPr>
            <a:lvl3pPr marL="569863" indent="0">
              <a:buNone/>
              <a:defRPr/>
            </a:lvl3pPr>
            <a:lvl4pPr marL="688920" indent="0">
              <a:buNone/>
              <a:defRPr/>
            </a:lvl4pPr>
            <a:lvl5pPr marL="801621" indent="0">
              <a:buNone/>
              <a:defRPr/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1FCB4DFA-B41D-91DA-5108-E390AFFDD53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5928" y="739630"/>
            <a:ext cx="7460073" cy="482748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r>
              <a:rPr lang="en-GB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41233198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1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FB7DABE0-8F22-F041-8366-E2731CE05EE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1835" y="1591765"/>
            <a:ext cx="280579" cy="224463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C865750-8F0C-6B4A-A308-228D6B53EE0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01837" y="4666993"/>
            <a:ext cx="6314695" cy="205184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buNone/>
              <a:defRPr sz="1333" b="1" i="0" spc="0" baseline="0">
                <a:solidFill>
                  <a:schemeClr val="bg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254B061-C071-4247-8356-D55F1F50C5D6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01837" y="4952059"/>
            <a:ext cx="6314695" cy="16414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buNone/>
              <a:defRPr sz="1067" b="0" i="0" spc="0" baseline="0">
                <a:solidFill>
                  <a:schemeClr val="bg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DF49B7B-CEAB-794E-93D3-3BE6E19D776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1835" y="2006769"/>
            <a:ext cx="7570967" cy="2363812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>
            <a:lvl1pPr>
              <a:defRPr lang="en-US" sz="4052" spc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4052">
                <a:solidFill>
                  <a:schemeClr val="bg1"/>
                </a:solidFill>
              </a:rPr>
              <a:t>Quote here dolor sit </a:t>
            </a:r>
            <a:r>
              <a:rPr lang="en-US" sz="4052" err="1">
                <a:solidFill>
                  <a:schemeClr val="bg1"/>
                </a:solidFill>
              </a:rPr>
              <a:t>amet</a:t>
            </a:r>
            <a:r>
              <a:rPr lang="en-US" sz="4052">
                <a:solidFill>
                  <a:schemeClr val="bg1"/>
                </a:solidFill>
              </a:rPr>
              <a:t>, </a:t>
            </a:r>
            <a:r>
              <a:rPr lang="en-US" sz="4052" err="1">
                <a:solidFill>
                  <a:schemeClr val="bg1"/>
                </a:solidFill>
              </a:rPr>
              <a:t>consectetur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adipiscing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elit</a:t>
            </a:r>
            <a:r>
              <a:rPr lang="en-US" sz="4052">
                <a:solidFill>
                  <a:schemeClr val="bg1"/>
                </a:solidFill>
              </a:rPr>
              <a:t>, sed </a:t>
            </a:r>
            <a:r>
              <a:rPr lang="en-US" sz="4052" err="1">
                <a:solidFill>
                  <a:schemeClr val="bg1"/>
                </a:solidFill>
              </a:rPr>
              <a:t>eiusmod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tempor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incididunt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ut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labore</a:t>
            </a:r>
            <a:r>
              <a:rPr lang="en-US" sz="4052">
                <a:solidFill>
                  <a:schemeClr val="bg1"/>
                </a:solidFill>
              </a:rPr>
              <a:t> et dolore .</a:t>
            </a:r>
            <a:endParaRPr lang="en-US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E9F3EB2-8419-DA47-B375-D5E047B95E78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C4105021-0C0A-411C-AAFB-43C46FF3DF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20B0701-D2EE-418D-9142-D939104A06A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BC9CFBC5-DB8C-4D83-985B-54F321A8AB9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bg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1356992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86F225C-F7F7-4528-849E-361C51FFB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904" y="990605"/>
            <a:ext cx="11077296" cy="126135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pc="-24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696DE5-6EFF-4C09-9943-5FCA93FF6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352" y="2431884"/>
            <a:ext cx="11077296" cy="3744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67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38FCC569-4B46-4920-ACAD-F80E06ACD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98D7571-5BE1-4182-8211-BAD95EBE9A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2B15268-7993-4213-A094-A98AEF8E227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1042888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titl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555904" y="570404"/>
            <a:ext cx="11077296" cy="5693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algn="ctr">
              <a:defRPr sz="4000" b="0" i="0" spc="-120" baseline="0">
                <a:latin typeface="CiscoSansTT Medium" panose="020B0503020201020303" pitchFamily="34" charset="0"/>
                <a:cs typeface="CiscoSansTT Medium" panose="020B0503020201020303" pitchFamily="34" charset="0"/>
              </a:defRPr>
            </a:lvl1pPr>
          </a:lstStyle>
          <a:p>
            <a:r>
              <a:rPr lang="en-US"/>
              <a:t>Slide Title</a:t>
            </a:r>
            <a:endParaRPr/>
          </a:p>
        </p:txBody>
      </p:sp>
      <p:sp>
        <p:nvSpPr>
          <p:cNvPr id="32" name="正文级别 1…"/>
          <p:cNvSpPr txBox="1">
            <a:spLocks noGrp="1"/>
          </p:cNvSpPr>
          <p:nvPr>
            <p:ph type="body" idx="1" hasCustomPrompt="1"/>
          </p:nvPr>
        </p:nvSpPr>
        <p:spPr>
          <a:xfrm>
            <a:off x="555904" y="1142869"/>
            <a:ext cx="1107729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 spc="-100" baseline="0">
                <a:solidFill>
                  <a:srgbClr val="00BCF5"/>
                </a:solidFill>
              </a:defRPr>
            </a:lvl1pPr>
            <a:lvl2pPr marL="304784" indent="0" algn="ctr">
              <a:buNone/>
              <a:defRPr sz="2000"/>
            </a:lvl2pPr>
            <a:lvl3pPr marL="609570" indent="0" algn="ctr">
              <a:buNone/>
              <a:defRPr sz="2000"/>
            </a:lvl3pPr>
            <a:lvl4pPr marL="914354" indent="0" algn="ctr">
              <a:buNone/>
              <a:defRPr sz="2000"/>
            </a:lvl4pPr>
            <a:lvl5pPr marL="1219140" indent="0" algn="ctr">
              <a:buNone/>
              <a:defRPr sz="2000"/>
            </a:lvl5pPr>
          </a:lstStyle>
          <a:p>
            <a:r>
              <a:rPr lang="en-US"/>
              <a:t>Caption</a:t>
            </a:r>
            <a:endParaRPr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FD2167-ACD6-18D8-49F4-35CCB6076E47}"/>
              </a:ext>
            </a:extLst>
          </p:cNvPr>
          <p:cNvSpPr txBox="1"/>
          <p:nvPr/>
        </p:nvSpPr>
        <p:spPr>
          <a:xfrm>
            <a:off x="4511040" y="79248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20000"/>
              </a:lnSpc>
            </a:pP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960531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805338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eading and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C30067D-BDB2-4ED3-9FF2-9A7F7110FF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5928" y="431801"/>
            <a:ext cx="3489235" cy="304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300" b="0" i="0" baseline="0">
                <a:solidFill>
                  <a:schemeClr val="tx1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406371" indent="0">
              <a:buNone/>
              <a:defRPr/>
            </a:lvl2pPr>
            <a:lvl3pPr marL="569863" indent="0">
              <a:buNone/>
              <a:defRPr/>
            </a:lvl3pPr>
            <a:lvl4pPr marL="688920" indent="0">
              <a:buNone/>
              <a:defRPr/>
            </a:lvl4pPr>
            <a:lvl5pPr marL="801621" indent="0">
              <a:buNone/>
              <a:defRPr/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1878F7B9-C122-B8FB-05FB-508A64772A9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5928" y="739630"/>
            <a:ext cx="7460073" cy="482748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r>
              <a:rPr lang="en-GB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168564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960348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Heading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8A973767-6838-8C37-C9AB-EBCBB78A52A3}"/>
              </a:ext>
            </a:extLst>
          </p:cNvPr>
          <p:cNvSpPr>
            <a:spLocks noGrp="1"/>
          </p:cNvSpPr>
          <p:nvPr>
            <p:ph type="body" sz="quarter" idx="82" hasCustomPrompt="1"/>
          </p:nvPr>
        </p:nvSpPr>
        <p:spPr>
          <a:xfrm>
            <a:off x="625928" y="450012"/>
            <a:ext cx="7460073" cy="482748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 i="0">
                <a:solidFill>
                  <a:schemeClr val="bg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r>
              <a:rPr lang="en-GB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5388359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3DB55142-3282-44B4-8B59-4020D50B81F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7112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177F995B-5AF4-45BF-8B28-CA063BFFEDF8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80260" y="6214836"/>
            <a:ext cx="1554872" cy="422925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41142" y="4713806"/>
            <a:ext cx="6314695" cy="511087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Speaker’s Nam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41142" y="5264012"/>
            <a:ext cx="6314695" cy="95082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 her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142" y="993220"/>
            <a:ext cx="6312765" cy="196977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6667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ver headline sentence cas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541142" y="3017205"/>
            <a:ext cx="6328221" cy="16966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2667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 err="1"/>
              <a:t>Subheadline</a:t>
            </a:r>
            <a:r>
              <a:rPr lang="en-US"/>
              <a:t> in sentence case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FA08DDBA-7B96-42E2-86EA-0C94483881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E7AC964-20BC-5C44-BB9D-2C010A17A54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 altLang="zh-TW"/>
              <a:t>Month</a:t>
            </a:r>
            <a:r>
              <a:rPr lang="zh-TW" altLang="en-US"/>
              <a:t> </a:t>
            </a:r>
            <a:r>
              <a:rPr lang="en-US" altLang="zh-TW"/>
              <a:t>XX,</a:t>
            </a:r>
            <a:r>
              <a:rPr lang="zh-TW" altLang="en-US"/>
              <a:t> </a:t>
            </a:r>
            <a:r>
              <a:rPr lang="en-US" altLang="zh-TW"/>
              <a:t>Yea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26166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up to 5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3222"/>
            <a:ext cx="4518361" cy="205379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ontents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F3B1879A-B619-984E-82C7-4434B9F2A25C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5782530" y="1011863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1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4BD297AF-7D2D-D94D-B0E8-94538FF52057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6578191" y="2480482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EB822921-0C8E-3C44-A1CD-F57BC9505616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5782530" y="2087129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2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DA9D4E5-FBBF-994F-AA3B-A8FD8ADBD704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6578191" y="3556661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B03C4A2-7938-6849-8D46-277EC2DB2F8E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6578191" y="3135605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5E9B8D30-521D-864E-AAD2-9AB01D6BBF2E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5782530" y="3153930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3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CF377F4-3F0E-754A-84E9-8885433BCA73}"/>
              </a:ext>
            </a:extLst>
          </p:cNvPr>
          <p:cNvSpPr>
            <a:spLocks noGrp="1"/>
          </p:cNvSpPr>
          <p:nvPr>
            <p:ph type="body" sz="half" idx="33" hasCustomPrompt="1"/>
          </p:nvPr>
        </p:nvSpPr>
        <p:spPr>
          <a:xfrm>
            <a:off x="6578191" y="4623462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8B6D2346-F32B-6245-ABF4-0D656814BDAC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6578191" y="4202405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90907DA3-7813-1343-BE3E-5E4707F98652}"/>
              </a:ext>
            </a:extLst>
          </p:cNvPr>
          <p:cNvSpPr>
            <a:spLocks noGrp="1"/>
          </p:cNvSpPr>
          <p:nvPr>
            <p:ph type="body" sz="half" idx="35" hasCustomPrompt="1"/>
          </p:nvPr>
        </p:nvSpPr>
        <p:spPr>
          <a:xfrm>
            <a:off x="5782530" y="4220730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4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357F977-9E83-FB43-A933-EBF86645182F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6578191" y="5664861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43AE9062-3EA5-8441-A358-162479B3E4C4}"/>
              </a:ext>
            </a:extLst>
          </p:cNvPr>
          <p:cNvSpPr>
            <a:spLocks noGrp="1"/>
          </p:cNvSpPr>
          <p:nvPr>
            <p:ph type="body" sz="half" idx="37" hasCustomPrompt="1"/>
          </p:nvPr>
        </p:nvSpPr>
        <p:spPr>
          <a:xfrm>
            <a:off x="6578191" y="5243804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B32ED203-88E4-614B-AB16-C784FB6AAEC2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5782530" y="5262130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5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FB49C323-7C7D-804E-82D9-2045EA5F8DCA}"/>
              </a:ext>
            </a:extLst>
          </p:cNvPr>
          <p:cNvSpPr>
            <a:spLocks noGrp="1"/>
          </p:cNvSpPr>
          <p:nvPr>
            <p:ph type="body" sz="half" idx="39" hasCustomPrompt="1"/>
          </p:nvPr>
        </p:nvSpPr>
        <p:spPr>
          <a:xfrm>
            <a:off x="6578191" y="978559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36E9A218-B974-1D4F-81D6-6E343885F274}"/>
              </a:ext>
            </a:extLst>
          </p:cNvPr>
          <p:cNvSpPr>
            <a:spLocks noGrp="1"/>
          </p:cNvSpPr>
          <p:nvPr>
            <p:ph type="body" sz="half" idx="40" hasCustomPrompt="1"/>
          </p:nvPr>
        </p:nvSpPr>
        <p:spPr>
          <a:xfrm>
            <a:off x="6578191" y="2057083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4E0C9FA-1CEF-D442-805C-B1304D12773B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6578191" y="1401958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EA9F760-54C7-4D39-BFBE-CB5FEB9E61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71820893-9915-4BFA-B034-1C8F63FF81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100000"/>
              </a:lnSpc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FFD397-3600-4EC8-8694-6DE9A09E921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8739689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up to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3223"/>
            <a:ext cx="5390425" cy="13188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4267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F3B1879A-B619-984E-82C7-4434B9F2A25C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558801" y="2478139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1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4BD297AF-7D2D-D94D-B0E8-94538FF52057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1354461" y="3810313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EB822921-0C8E-3C44-A1CD-F57BC9505616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558801" y="3397683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2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DA9D4E5-FBBF-994F-AA3B-A8FD8ADBD704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1354461" y="4734069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B03C4A2-7938-6849-8D46-277EC2DB2F8E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1354461" y="4312232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5E9B8D30-521D-864E-AAD2-9AB01D6BBF2E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558801" y="4317227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3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CF377F4-3F0E-754A-84E9-8885433BCA73}"/>
              </a:ext>
            </a:extLst>
          </p:cNvPr>
          <p:cNvSpPr>
            <a:spLocks noGrp="1"/>
          </p:cNvSpPr>
          <p:nvPr>
            <p:ph type="body" sz="half" idx="33" hasCustomPrompt="1"/>
          </p:nvPr>
        </p:nvSpPr>
        <p:spPr>
          <a:xfrm>
            <a:off x="1342112" y="5657826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8B6D2346-F32B-6245-ABF4-0D656814BDAC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1342112" y="5236769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90907DA3-7813-1343-BE3E-5E4707F98652}"/>
              </a:ext>
            </a:extLst>
          </p:cNvPr>
          <p:cNvSpPr>
            <a:spLocks noGrp="1"/>
          </p:cNvSpPr>
          <p:nvPr>
            <p:ph type="body" sz="half" idx="35" hasCustomPrompt="1"/>
          </p:nvPr>
        </p:nvSpPr>
        <p:spPr>
          <a:xfrm>
            <a:off x="546451" y="5236771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4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FB49C323-7C7D-804E-82D9-2045EA5F8DCA}"/>
              </a:ext>
            </a:extLst>
          </p:cNvPr>
          <p:cNvSpPr>
            <a:spLocks noGrp="1"/>
          </p:cNvSpPr>
          <p:nvPr>
            <p:ph type="body" sz="half" idx="39" hasCustomPrompt="1"/>
          </p:nvPr>
        </p:nvSpPr>
        <p:spPr>
          <a:xfrm>
            <a:off x="1354461" y="2463157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36E9A218-B974-1D4F-81D6-6E343885F274}"/>
              </a:ext>
            </a:extLst>
          </p:cNvPr>
          <p:cNvSpPr>
            <a:spLocks noGrp="1"/>
          </p:cNvSpPr>
          <p:nvPr>
            <p:ph type="body" sz="half" idx="40" hasCustomPrompt="1"/>
          </p:nvPr>
        </p:nvSpPr>
        <p:spPr>
          <a:xfrm>
            <a:off x="1354461" y="3387694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4E0C9FA-1CEF-D442-805C-B1304D12773B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1354461" y="2886557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EA9F760-54C7-4D39-BFBE-CB5FEB9E61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71820893-9915-4BFA-B034-1C8F63FF81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100000"/>
              </a:lnSpc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FFD397-3600-4EC8-8694-6DE9A09E921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3C20764-63DC-41E8-9C7F-E25D307EE557}"/>
              </a:ext>
            </a:extLst>
          </p:cNvPr>
          <p:cNvSpPr>
            <a:spLocks noGrp="1"/>
          </p:cNvSpPr>
          <p:nvPr>
            <p:ph type="body" sz="half" idx="43" hasCustomPrompt="1"/>
          </p:nvPr>
        </p:nvSpPr>
        <p:spPr>
          <a:xfrm>
            <a:off x="6264207" y="2463157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5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54FF577-772A-41CF-B806-B27FEBD63D74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7059868" y="3795330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B55BF2F-380E-4EFB-B046-8182E6C5D20A}"/>
              </a:ext>
            </a:extLst>
          </p:cNvPr>
          <p:cNvSpPr>
            <a:spLocks noGrp="1"/>
          </p:cNvSpPr>
          <p:nvPr>
            <p:ph type="body" sz="half" idx="45" hasCustomPrompt="1"/>
          </p:nvPr>
        </p:nvSpPr>
        <p:spPr>
          <a:xfrm>
            <a:off x="6264207" y="3382701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6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43F57A3-46B0-4550-84B1-CC695920B0EE}"/>
              </a:ext>
            </a:extLst>
          </p:cNvPr>
          <p:cNvSpPr>
            <a:spLocks noGrp="1"/>
          </p:cNvSpPr>
          <p:nvPr>
            <p:ph type="body" sz="half" idx="46" hasCustomPrompt="1"/>
          </p:nvPr>
        </p:nvSpPr>
        <p:spPr>
          <a:xfrm>
            <a:off x="7059868" y="4719086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3789CA6-53C8-4BAE-954E-06003EB6D646}"/>
              </a:ext>
            </a:extLst>
          </p:cNvPr>
          <p:cNvSpPr>
            <a:spLocks noGrp="1"/>
          </p:cNvSpPr>
          <p:nvPr>
            <p:ph type="body" sz="half" idx="47" hasCustomPrompt="1"/>
          </p:nvPr>
        </p:nvSpPr>
        <p:spPr>
          <a:xfrm>
            <a:off x="7059868" y="4297249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6496AA22-DA56-4B97-8E59-16462CD7A335}"/>
              </a:ext>
            </a:extLst>
          </p:cNvPr>
          <p:cNvSpPr>
            <a:spLocks noGrp="1"/>
          </p:cNvSpPr>
          <p:nvPr>
            <p:ph type="body" sz="half" idx="48" hasCustomPrompt="1"/>
          </p:nvPr>
        </p:nvSpPr>
        <p:spPr>
          <a:xfrm>
            <a:off x="6264207" y="4302245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6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4C89E3A-AB27-4036-93FF-BD8A83504130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7047519" y="5642843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0F66D1C-C372-4707-AA8E-384994CA8FB5}"/>
              </a:ext>
            </a:extLst>
          </p:cNvPr>
          <p:cNvSpPr>
            <a:spLocks noGrp="1"/>
          </p:cNvSpPr>
          <p:nvPr>
            <p:ph type="body" sz="half" idx="50" hasCustomPrompt="1"/>
          </p:nvPr>
        </p:nvSpPr>
        <p:spPr>
          <a:xfrm>
            <a:off x="7047519" y="5221786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F21B11E7-AF06-4AAF-A83E-878C585EC666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6251858" y="5221789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8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44A6C6A-3712-4F22-AB73-02EF14791FEB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7059868" y="2448174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98A57429-28BA-4B50-8D4B-BE52589BD153}"/>
              </a:ext>
            </a:extLst>
          </p:cNvPr>
          <p:cNvSpPr>
            <a:spLocks noGrp="1"/>
          </p:cNvSpPr>
          <p:nvPr>
            <p:ph type="body" sz="half" idx="53" hasCustomPrompt="1"/>
          </p:nvPr>
        </p:nvSpPr>
        <p:spPr>
          <a:xfrm>
            <a:off x="7059868" y="3372712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8FE7BF6C-D02D-4BAF-82B1-B39EC24946DD}"/>
              </a:ext>
            </a:extLst>
          </p:cNvPr>
          <p:cNvSpPr>
            <a:spLocks noGrp="1"/>
          </p:cNvSpPr>
          <p:nvPr>
            <p:ph type="body" sz="half" idx="54" hasCustomPrompt="1"/>
          </p:nvPr>
        </p:nvSpPr>
        <p:spPr>
          <a:xfrm>
            <a:off x="7059868" y="2871574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</p:spTree>
    <p:extLst>
      <p:ext uri="{BB962C8B-B14F-4D97-AF65-F5344CB8AC3E}">
        <p14:creationId xmlns:p14="http://schemas.microsoft.com/office/powerpoint/2010/main" val="32202166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unlimited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3223"/>
            <a:ext cx="5390425" cy="13188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4267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EA9F760-54C7-4D39-BFBE-CB5FEB9E61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71820893-9915-4BFA-B034-1C8F63FF81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100000"/>
              </a:lnSpc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FFD397-3600-4EC8-8694-6DE9A09E921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4E693A-514B-4840-BF84-65FC4630DA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558800" y="2494135"/>
            <a:ext cx="11074400" cy="3539164"/>
          </a:xfrm>
        </p:spPr>
        <p:txBody>
          <a:bodyPr numCol="2" spcCol="457200">
            <a:noAutofit/>
          </a:bodyPr>
          <a:lstStyle>
            <a:lvl1pPr marL="0" indent="0">
              <a:lnSpc>
                <a:spcPct val="120000"/>
              </a:lnSpc>
              <a:buSzPct val="100000"/>
              <a:buFont typeface="Arial" panose="020B0604020202020204" pitchFamily="34" charset="0"/>
              <a:buNone/>
              <a:defRPr>
                <a:latin typeface="+mj-lt"/>
              </a:defRPr>
            </a:lvl1pPr>
            <a:lvl2pPr>
              <a:lnSpc>
                <a:spcPct val="120000"/>
              </a:lnSpc>
              <a:defRPr>
                <a:latin typeface="+mj-lt"/>
              </a:defRPr>
            </a:lvl2pPr>
            <a:lvl3pPr>
              <a:lnSpc>
                <a:spcPct val="120000"/>
              </a:lnSpc>
              <a:defRPr>
                <a:latin typeface="+mj-lt"/>
              </a:defRPr>
            </a:lvl3pPr>
            <a:lvl4pPr>
              <a:lnSpc>
                <a:spcPct val="120000"/>
              </a:lnSpc>
              <a:defRPr>
                <a:latin typeface="+mj-lt"/>
              </a:defRPr>
            </a:lvl4pPr>
            <a:lvl5pPr>
              <a:lnSpc>
                <a:spcPct val="120000"/>
              </a:lnSpc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2872070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5D7582C7-D8A5-B844-99D4-FF1EF0B2678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1835" y="1591765"/>
            <a:ext cx="280579" cy="22446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4AD1EDD-48E3-1149-9699-942910AF654C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0F001CB-6071-495E-8B33-0D4D8B9A5C6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01837" y="4666993"/>
            <a:ext cx="6314695" cy="205184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buNone/>
              <a:defRPr sz="1333" b="1" i="0" spc="0" baseline="0">
                <a:solidFill>
                  <a:schemeClr val="bg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D410D66-33BB-4469-B397-AE29D77038D2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01837" y="4952059"/>
            <a:ext cx="6314695" cy="16414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buNone/>
              <a:defRPr sz="1067" b="0" i="0" spc="0" baseline="0">
                <a:solidFill>
                  <a:schemeClr val="bg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180EAB82-4858-4448-A1B6-9E3DE1802CD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1835" y="2006769"/>
            <a:ext cx="7570967" cy="2363812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>
            <a:lvl1pPr>
              <a:defRPr lang="en-US" sz="4052" spc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4052">
                <a:solidFill>
                  <a:schemeClr val="bg1"/>
                </a:solidFill>
              </a:rPr>
              <a:t>Quote here dolor sit </a:t>
            </a:r>
            <a:r>
              <a:rPr lang="en-US" sz="4052" err="1">
                <a:solidFill>
                  <a:schemeClr val="bg1"/>
                </a:solidFill>
              </a:rPr>
              <a:t>amet</a:t>
            </a:r>
            <a:r>
              <a:rPr lang="en-US" sz="4052">
                <a:solidFill>
                  <a:schemeClr val="bg1"/>
                </a:solidFill>
              </a:rPr>
              <a:t>, </a:t>
            </a:r>
            <a:r>
              <a:rPr lang="en-US" sz="4052" err="1">
                <a:solidFill>
                  <a:schemeClr val="bg1"/>
                </a:solidFill>
              </a:rPr>
              <a:t>consectetur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adipiscing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elit</a:t>
            </a:r>
            <a:r>
              <a:rPr lang="en-US" sz="4052">
                <a:solidFill>
                  <a:schemeClr val="bg1"/>
                </a:solidFill>
              </a:rPr>
              <a:t>, sed </a:t>
            </a:r>
            <a:r>
              <a:rPr lang="en-US" sz="4052" err="1">
                <a:solidFill>
                  <a:schemeClr val="bg1"/>
                </a:solidFill>
              </a:rPr>
              <a:t>eiusmod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tempor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incididunt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ut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labore</a:t>
            </a:r>
            <a:r>
              <a:rPr lang="en-US" sz="4052">
                <a:solidFill>
                  <a:schemeClr val="bg1"/>
                </a:solidFill>
              </a:rPr>
              <a:t> et dolore .</a:t>
            </a:r>
            <a:endParaRPr lang="en-US"/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30F2DE5F-07B7-44AB-9AE4-5A490A346A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550B2741-EFD3-42CB-802C-BC10433BCD8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9D82E41F-6F4F-4439-B72F-C490B5CA09E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bg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3651463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86F225C-F7F7-4528-849E-361C51FFB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904" y="990601"/>
            <a:ext cx="11077296" cy="126135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pc="-133" baseline="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696DE5-6EFF-4C09-9943-5FCA93FF6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352" y="2431880"/>
            <a:ext cx="11077296" cy="3744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38FCC569-4B46-4920-ACAD-F80E06ACD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98D7571-5BE1-4182-8211-BAD95EBE9A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2B15268-7993-4213-A094-A98AEF8E227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5150410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5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0601"/>
            <a:ext cx="11080025" cy="127000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pc="-133" baseline="0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AAF988F-32DA-6CD5-F920-8255E820C39E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851429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653349"/>
            <a:ext cx="11080025" cy="1044544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>
            <a:lvl1pPr>
              <a:defRPr lang="en-US" spc="-133" baseline="0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60FCB4-EE3E-42E3-BBE8-23ACC4C8255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58800" y="1697893"/>
            <a:ext cx="11074400" cy="791633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Subhead here</a:t>
            </a:r>
          </a:p>
        </p:txBody>
      </p:sp>
    </p:spTree>
    <p:extLst>
      <p:ext uri="{BB962C8B-B14F-4D97-AF65-F5344CB8AC3E}">
        <p14:creationId xmlns:p14="http://schemas.microsoft.com/office/powerpoint/2010/main" val="12216096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653349"/>
            <a:ext cx="11080025" cy="1044544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>
            <a:lvl1pPr>
              <a:defRPr lang="en-US" spc="-133" baseline="0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60FCB4-EE3E-42E3-BBE8-23ACC4C8255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58800" y="1697893"/>
            <a:ext cx="11074400" cy="627163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70470B5-7D83-479D-9564-22B6B8F5C0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352" y="2431880"/>
            <a:ext cx="11077296" cy="3744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1315389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8C469D-456E-4ECF-83FA-AF1F3BDB26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9962" y="2870199"/>
            <a:ext cx="5036747" cy="3306764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8E86-A92A-495E-A49E-35F25D765A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2870199"/>
            <a:ext cx="5036747" cy="3306764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07E327-023E-47A7-9F81-203A5EF3E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C82030-C78E-4E63-AF50-53433F6349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631F93F1-F5D5-44EF-B435-0444DF40D6A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41E03BCD-4647-8142-8C2E-FB3E6786A3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3223"/>
            <a:ext cx="10733135" cy="13188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4267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4C5DDAA-0303-504E-8EBE-D33A79B54FA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41422691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DC1BA0-9AAE-4457-AB7A-2225418D1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8801" y="2605088"/>
            <a:ext cx="4491699" cy="823912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E848AC0-25F2-405D-B9A8-6A6D59BA03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5982" y="3610285"/>
            <a:ext cx="4487517" cy="253283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933"/>
            </a:lvl3pPr>
            <a:lvl4pPr>
              <a:lnSpc>
                <a:spcPct val="100000"/>
              </a:lnSpc>
              <a:defRPr sz="533"/>
            </a:lvl4pPr>
            <a:lvl5pPr>
              <a:lnSpc>
                <a:spcPct val="100000"/>
              </a:lnSpc>
              <a:defRPr sz="2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AF116F-80E4-401F-8142-28C0EE2B6E8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48401" y="2605088"/>
            <a:ext cx="4513820" cy="823912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E3511E8-A554-4DB3-8DE9-40E338349FC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48402" y="3610285"/>
            <a:ext cx="4509617" cy="253283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933"/>
            </a:lvl3pPr>
            <a:lvl4pPr>
              <a:lnSpc>
                <a:spcPct val="100000"/>
              </a:lnSpc>
              <a:defRPr sz="533"/>
            </a:lvl4pPr>
            <a:lvl5pPr>
              <a:lnSpc>
                <a:spcPct val="100000"/>
              </a:lnSpc>
              <a:defRPr sz="2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324A219-BAAE-44FA-9F17-70A08A4E4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0F9371A-4233-460B-91A9-B91A8429B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631F93F1-F5D5-44EF-B435-0444DF40D6A6}" type="slidenum">
              <a:rPr lang="en-US" smtClean="0"/>
              <a:t>‹#›</a:t>
            </a:fld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E7D2E1E7-3627-C24A-8859-F22E42967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3223"/>
            <a:ext cx="10204844" cy="13188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4267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DDEBB81F-3B6A-9D42-BBB8-E7239C96535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37469621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324A219-BAAE-44FA-9F17-70A08A4E4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0F9371A-4233-460B-91A9-B91A8429B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631F93F1-F5D5-44EF-B435-0444DF40D6A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58696A-2388-495D-981D-050920BB5C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1" y="5698889"/>
            <a:ext cx="4993217" cy="585216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C009990-5F38-4F94-ABE2-44DA301BD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1" y="5698889"/>
            <a:ext cx="4993217" cy="585216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D01E734-4CA7-4CBD-A769-BCC20375564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8800" y="2870201"/>
            <a:ext cx="5029200" cy="2563284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E24BD1C9-BB6F-4B1A-B0AC-70FBFBAD0D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48400" y="2870201"/>
            <a:ext cx="5029200" cy="2563284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7B77A1AA-FFDB-F549-829A-9D558731DFD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3223"/>
            <a:ext cx="10724425" cy="1318837"/>
          </a:xfrm>
          <a:prstGeom prst="rect">
            <a:avLst/>
          </a:prstGeom>
        </p:spPr>
        <p:txBody>
          <a:bodyPr vert="horz" lIns="0" tIns="45720" rIns="0" bIns="45720" rtlCol="0" anchor="t">
            <a:noAutofit/>
          </a:bodyPr>
          <a:lstStyle>
            <a:lvl1pPr>
              <a:defRPr sz="4267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ntent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9FF5CA2-AA5C-A44B-9D30-11F10D000DF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584037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7" y="1435770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01829FA-66B0-49C8-B058-060918442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AFEEC4E5-C9B5-4809-A3AF-A1BF455A6D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5AC6BC3-E361-426B-A484-414155D5E00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0926978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852EFE5-F3AD-466D-A810-5721563A61F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1"/>
            <a:ext cx="12192000" cy="687142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7" y="1435770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bg2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C5A7B1-F776-4AEB-A138-D3C83604F0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bg2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871DBA-F007-46A1-A631-B39FF80484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2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41D7A26-8D16-41D3-9962-58AF73F09FA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DCAF470-2A1A-492F-A797-E4EF9D10BED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6248386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lu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7" y="1435770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A832AD-9020-43CC-9118-CF9573E3613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9C3388C-D351-41C3-8A5A-719088525C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8FF48E17-5F97-4F10-BA4E-743A412EE4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78C9D1-477C-4088-B4A6-993E397641F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41457176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3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C8151F1-B4B3-4946-ABEC-1380FC0939C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1835" y="1591765"/>
            <a:ext cx="280579" cy="22446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E73A939-ABFE-FF48-B40B-0547237F3E11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33BA5D9-8DD3-44FA-97F1-0BE7E11890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01837" y="4666993"/>
            <a:ext cx="6314695" cy="205184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buNone/>
              <a:defRPr sz="1333" b="1" i="0" spc="0" baseline="0">
                <a:solidFill>
                  <a:schemeClr val="bg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34D1A77-E568-4CF9-B725-C0D0BF9F82C5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01837" y="4952059"/>
            <a:ext cx="6314695" cy="16414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buNone/>
              <a:defRPr sz="1067" b="0" i="0" spc="0" baseline="0">
                <a:solidFill>
                  <a:schemeClr val="bg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6CB0DADA-5A76-4539-BB25-1A84FE99D0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1835" y="2006769"/>
            <a:ext cx="7570967" cy="2363812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>
            <a:lvl1pPr>
              <a:defRPr lang="en-US" sz="4052" spc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sz="4052">
                <a:solidFill>
                  <a:schemeClr val="bg1"/>
                </a:solidFill>
              </a:rPr>
              <a:t>Quote here dolor sit </a:t>
            </a:r>
            <a:r>
              <a:rPr lang="en-US" sz="4052" err="1">
                <a:solidFill>
                  <a:schemeClr val="bg1"/>
                </a:solidFill>
              </a:rPr>
              <a:t>amet</a:t>
            </a:r>
            <a:r>
              <a:rPr lang="en-US" sz="4052">
                <a:solidFill>
                  <a:schemeClr val="bg1"/>
                </a:solidFill>
              </a:rPr>
              <a:t>, </a:t>
            </a:r>
            <a:r>
              <a:rPr lang="en-US" sz="4052" err="1">
                <a:solidFill>
                  <a:schemeClr val="bg1"/>
                </a:solidFill>
              </a:rPr>
              <a:t>consectetur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adipiscing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elit</a:t>
            </a:r>
            <a:r>
              <a:rPr lang="en-US" sz="4052">
                <a:solidFill>
                  <a:schemeClr val="bg1"/>
                </a:solidFill>
              </a:rPr>
              <a:t>, sed </a:t>
            </a:r>
            <a:r>
              <a:rPr lang="en-US" sz="4052" err="1">
                <a:solidFill>
                  <a:schemeClr val="bg1"/>
                </a:solidFill>
              </a:rPr>
              <a:t>eiusmod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tempor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incididunt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ut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labore</a:t>
            </a:r>
            <a:r>
              <a:rPr lang="en-US" sz="4052">
                <a:solidFill>
                  <a:schemeClr val="bg1"/>
                </a:solidFill>
              </a:rPr>
              <a:t> et dolore .</a:t>
            </a:r>
            <a:endParaRPr lang="en-US"/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41AF0EE6-B3C9-4B84-B580-E17BEB0703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4FC14E5-D972-4B5E-B82D-A2D6DA9AF57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7B7A962E-AB16-4EBC-8EC0-545EA8C20AA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bg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9922872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Red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7" y="1435770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568E111-65BF-4A46-8EAE-312C901D58C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99EEAE5F-ECFF-4F72-96BB-3224A53463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0D416E35-5B7F-4B60-AA20-B7D96C3AAF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1D93D2D-5BCB-4781-AF52-A821F4FEE7E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38583285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Orang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7" y="1435770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BFC48DC-824F-D44A-AB16-F590AD9FBE6F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3297E32-6352-4D99-9949-266620911B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93F2BD-54CB-4DEA-A29C-C6C514A756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0E3BE08-F150-4EA2-BBA1-E1E7F059747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8363150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83972"/>
            <a:ext cx="8071795" cy="66702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z="2400" spc="0" dirty="0">
                <a:solidFill>
                  <a:schemeClr val="accent5"/>
                </a:solidFill>
                <a:cs typeface="CiscoSansTT" panose="020B0503020201020303" pitchFamily="34" charset="0"/>
              </a:defRPr>
            </a:lvl1pPr>
          </a:lstStyle>
          <a:p>
            <a:pPr marL="0"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75BB999-B759-4029-B296-14C2F167911F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46101" y="1811867"/>
            <a:ext cx="8078871" cy="4214284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3733">
                <a:latin typeface="+mj-lt"/>
              </a:defRPr>
            </a:lvl1pPr>
            <a:lvl2pPr>
              <a:lnSpc>
                <a:spcPct val="90000"/>
              </a:lnSpc>
              <a:defRPr sz="2667"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41229253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an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DA0E52D-C721-4650-9C0F-6736A8356BDD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32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7" y="983972"/>
            <a:ext cx="4981879" cy="66702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z="2400" spc="0" dirty="0">
                <a:solidFill>
                  <a:schemeClr val="accent5"/>
                </a:solidFill>
                <a:cs typeface="CiscoSansTT" panose="020B0503020201020303" pitchFamily="34" charset="0"/>
              </a:defRPr>
            </a:lvl1pPr>
          </a:lstStyle>
          <a:p>
            <a:pPr marL="0"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127894-6416-466C-BB1B-398D49613D6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530558" y="982135"/>
            <a:ext cx="4885983" cy="668867"/>
          </a:xfrm>
        </p:spPr>
        <p:txBody>
          <a:bodyPr vert="horz" lIns="0" tIns="45720" rIns="0" bIns="45720" rtlCol="0" anchor="t" anchorCtr="0">
            <a:noAutofit/>
          </a:bodyPr>
          <a:lstStyle>
            <a:lvl1pPr marL="0" indent="0">
              <a:buNone/>
              <a:defRPr lang="en-US" sz="2400" kern="100" dirty="0" smtClean="0">
                <a:solidFill>
                  <a:schemeClr val="accent5"/>
                </a:solidFill>
                <a:latin typeface="CiscoSansTT" panose="020B0503020201020303" pitchFamily="34" charset="0"/>
                <a:ea typeface="+mj-ea"/>
                <a:cs typeface="CiscoSansTT" panose="020B0503020201020303" pitchFamily="34" charset="0"/>
              </a:defRPr>
            </a:lvl1pPr>
            <a:lvl2pPr>
              <a:defRPr lang="en-US" dirty="0"/>
            </a:lvl2pPr>
          </a:lstStyle>
          <a:p>
            <a:pPr marL="78314" lvl="0" indent="-380990">
              <a:lnSpc>
                <a:spcPct val="90000"/>
              </a:lnSpc>
              <a:spcBef>
                <a:spcPct val="0"/>
              </a:spcBef>
            </a:pPr>
            <a:r>
              <a:rPr lang="en-US"/>
              <a:t>Headline her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BC4757B-926E-4069-B78F-E73CDA44A44E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0496176-F129-4881-B78D-72B2E47446FA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46101" y="1811867"/>
            <a:ext cx="4988639" cy="4214284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3200">
                <a:latin typeface="+mj-lt"/>
              </a:defRPr>
            </a:lvl1pPr>
            <a:lvl2pPr>
              <a:lnSpc>
                <a:spcPct val="90000"/>
              </a:lnSpc>
              <a:defRPr sz="2400"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C9A2F0E-BF59-44DA-B575-55D071F77A76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530560" y="1811867"/>
            <a:ext cx="4874187" cy="4214284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0000"/>
              </a:lnSpc>
              <a:defRPr sz="24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9480623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BA091B5-A806-4305-BC24-7E50D3D4B3A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0"/>
            <a:ext cx="5029200" cy="343621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>
              <a:defRPr sz="1067"/>
            </a:lvl2pPr>
            <a:lvl3pPr>
              <a:defRPr sz="800"/>
            </a:lvl3pPr>
            <a:lvl4pPr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848DCA2-1B24-46EE-95C8-6D3E57E0DD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034828" cy="162197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pc="-133" baseline="0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13C221C-310C-4FD1-A99C-046A2149E8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2" y="6375912"/>
            <a:ext cx="5386555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99F7D69-A9F4-4F01-BFAC-42E7473B3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1E1BB935-C530-47D2-883E-00828E3A8FC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055" y="761514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45D52EC-26A2-4717-A839-1CB71E6AF42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2ADC0D05-BC65-421F-926D-B535B5CE43F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0495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BA091B5-A806-4305-BC24-7E50D3D4B3A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5029200" cy="342228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/>
            </a:lvl1pPr>
            <a:lvl2pPr>
              <a:defRPr lang="en-US" sz="1067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848DCA2-1B24-46EE-95C8-6D3E57E0DD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0599"/>
            <a:ext cx="5034827" cy="168467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99F7D69-A9F4-4F01-BFAC-42E7473B3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70E4E8C-5C8A-4A5C-9CB6-21983AE4806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4D12009-BC76-F36D-E9A5-BFC1023BC47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815431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D667F840-8562-40AC-BE3D-8404AB46E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3984B84-E026-4120-A200-04C1B3AFF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3ADC711-D282-4C9D-AD92-4B5C00C5CDD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41086465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A712B4B-CA11-4116-8559-6D5A2D1AD8D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1"/>
            <a:ext cx="5384800" cy="334378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552303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D667F840-8562-40AC-BE3D-8404AB46E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3984B84-E026-4120-A200-04C1B3AFF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3ADC711-D282-4C9D-AD92-4B5C00C5CDD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42548975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with 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52E6C41-3632-4791-A76B-5B35DCA25DAF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189A80C0-FE7D-436D-94CB-79A4952FA34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57055" y="761514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EFB02FA9-F74D-409A-AE50-03692123A90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79177" y="2870200"/>
            <a:ext cx="5154188" cy="3606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/>
            </a:lvl1pPr>
            <a:lvl2pPr>
              <a:defRPr lang="en-US" sz="1067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A66571F9-8F5F-4F9C-B69D-8194767FDE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9176" y="788893"/>
            <a:ext cx="5154025" cy="147170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357B425C-8918-4CBA-983D-6480207069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DAE731F-CEF1-4611-A55D-062453F80F6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17F00142-F1DD-4B1E-A9C4-C526A67469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732425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 column with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B6A8E52-E098-4BEB-8F13-22E14C2A0F4D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67566B7-7005-4688-80F7-DA1BD8DAD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034827" cy="159410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0A1CBFF-FEB1-426F-8ABF-7C8FF483E89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6" y="2675274"/>
            <a:ext cx="2353909" cy="75372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en-US" sz="1867" spc="-8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/>
            <a:r>
              <a:rPr lang="en-US"/>
              <a:t>Subtit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E2F20EC-16BD-48F7-86D9-438E0739413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234092" y="2675274"/>
            <a:ext cx="2353909" cy="75372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Font typeface="Arial" panose="020B0604020202020204" pitchFamily="34" charset="0"/>
              <a:buNone/>
              <a:defRPr lang="en-US" sz="1867" spc="-8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/>
            <a:r>
              <a:rPr lang="en-US"/>
              <a:t>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1A4FF-001F-46B0-B50B-76B7ADF0DB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6" y="3684026"/>
            <a:ext cx="2353909" cy="25383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DC8C8FE-D77A-44F7-8C57-F06010945CF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34092" y="3684026"/>
            <a:ext cx="2353909" cy="25383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AC2492A7-148D-4E60-BDC4-A6493F242C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CDD052D2-0346-4769-8167-74B8A275E9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6553055" y="761514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59658CE-4B1C-4ADA-AC3D-EFB1CD9C445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74606954-118C-4C45-80E6-C37F9445AA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96121D6-85B1-4C28-AC8D-3F3FE793177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98357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C8151F1-B4B3-4946-ABEC-1380FC0939C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1835" y="1591765"/>
            <a:ext cx="280579" cy="224463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33BA5D9-8DD3-44FA-97F1-0BE7E11890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01837" y="4666993"/>
            <a:ext cx="6314695" cy="205184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buNone/>
              <a:defRPr sz="1333" b="1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34D1A77-E568-4CF9-B725-C0D0BF9F82C5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01837" y="4952059"/>
            <a:ext cx="6314695" cy="16414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buNone/>
              <a:defRPr sz="1067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6CB0DADA-5A76-4539-BB25-1A84FE99D0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1835" y="2006769"/>
            <a:ext cx="7570967" cy="2363812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>
            <a:lvl1pPr>
              <a:defRPr lang="en-US" sz="4052" spc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z="4052">
                <a:solidFill>
                  <a:schemeClr val="bg1"/>
                </a:solidFill>
              </a:rPr>
              <a:t>Quote here dolor sit </a:t>
            </a:r>
            <a:r>
              <a:rPr lang="en-US" sz="4052" err="1">
                <a:solidFill>
                  <a:schemeClr val="bg1"/>
                </a:solidFill>
              </a:rPr>
              <a:t>amet</a:t>
            </a:r>
            <a:r>
              <a:rPr lang="en-US" sz="4052">
                <a:solidFill>
                  <a:schemeClr val="bg1"/>
                </a:solidFill>
              </a:rPr>
              <a:t>, </a:t>
            </a:r>
            <a:r>
              <a:rPr lang="en-US" sz="4052" err="1">
                <a:solidFill>
                  <a:schemeClr val="bg1"/>
                </a:solidFill>
              </a:rPr>
              <a:t>consectetur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adipiscing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elit</a:t>
            </a:r>
            <a:r>
              <a:rPr lang="en-US" sz="4052">
                <a:solidFill>
                  <a:schemeClr val="bg1"/>
                </a:solidFill>
              </a:rPr>
              <a:t>, sed </a:t>
            </a:r>
            <a:r>
              <a:rPr lang="en-US" sz="4052" err="1">
                <a:solidFill>
                  <a:schemeClr val="bg1"/>
                </a:solidFill>
              </a:rPr>
              <a:t>eiusmod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tempor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incididunt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ut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labore</a:t>
            </a:r>
            <a:r>
              <a:rPr lang="en-US" sz="4052">
                <a:solidFill>
                  <a:schemeClr val="bg1"/>
                </a:solidFill>
              </a:rPr>
              <a:t> et dolore .</a:t>
            </a:r>
            <a:endParaRPr lang="en-US"/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41AF0EE6-B3C9-4B84-B580-E17BEB0703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D51E634-0B11-495A-90D8-9BB9BA4CDBD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B4423B4F-08B9-46D7-8661-1E4F42D8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3DB18D84-6CD4-FF42-B28B-0A3FD20B000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401836" y="1589981"/>
            <a:ext cx="282809" cy="226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80699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 column icons - Graphic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9D1492D-5902-43CB-8931-D377D390098C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E98C8BEA-B15D-4061-953B-D90FCE37158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302291"/>
            <a:ext cx="2278585" cy="6470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DB00627B-8E9E-451B-8924-7096742DBBB8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3320148" y="3302291"/>
            <a:ext cx="2278585" cy="6470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71D6F508-837A-4CD5-AC3A-FF7EE23D05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599"/>
            <a:ext cx="5045559" cy="171254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2-column with icon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C411F75-6788-47F4-9D8B-6D1716F8EC0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5" y="4245578"/>
            <a:ext cx="2278585" cy="198975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B962768-3C7E-49E5-AC1D-7730E96FE84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309416" y="4245578"/>
            <a:ext cx="2278585" cy="198975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A84CF3E9-1E0B-46B7-BF52-271009164E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63D291-DE41-4BB4-9E4C-30D49C50E58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63904" y="300736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DA18A8E-48CB-4C25-A5F2-E849DDAE33A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320147" y="300736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1C4A4C9F-D416-40E3-B8EA-2BD12E0C07D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055" y="761514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A9374F8-EA98-413F-93D6-9F08CC6F089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DD9EF6ED-0BDB-4440-A26F-732B644588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10DA2899-5C85-403B-9BD6-F6A2C1003C7D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725555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sm column icons - Graphic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DFF45C6-46F9-8640-A5F1-11290FCEA3EC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63903" y="2988783"/>
            <a:ext cx="2257675" cy="54833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429BA22C-8830-7E4A-B1E1-AC3DC42388CA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563903" y="4868879"/>
            <a:ext cx="2257675" cy="54833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A6A5AFD9-009A-4A4C-94F4-05A23B341CF2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3270816" y="2988783"/>
            <a:ext cx="2317184" cy="54833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8930094A-C63F-1B4B-8A52-5C7320E7BE21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3270816" y="4868879"/>
            <a:ext cx="2317184" cy="54833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0" dirty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C085B0A-AD7F-468E-9CC5-0FE40B937CB6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19A47C88-6D77-40E6-9F1E-6FF92AB2F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034828" cy="148263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con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86AA7C8-7D59-46CE-A267-59CE001AF21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6" y="3727089"/>
            <a:ext cx="2267119" cy="675929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Aft>
                <a:spcPts val="267"/>
              </a:spcAft>
              <a:buNone/>
              <a:defRPr sz="1200" spc="0"/>
            </a:lvl1pPr>
            <a:lvl2pPr marL="378875" indent="-152396">
              <a:lnSpc>
                <a:spcPct val="120000"/>
              </a:lnSpc>
              <a:spcAft>
                <a:spcPts val="267"/>
              </a:spcAft>
              <a:defRPr sz="933" spc="0"/>
            </a:lvl2pPr>
            <a:lvl3pPr marL="687900" indent="-232828">
              <a:defRPr sz="667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D602771-5223-47EB-BA07-406BD8C6942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61124" y="3727089"/>
            <a:ext cx="2326877" cy="675929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Aft>
                <a:spcPts val="267"/>
              </a:spcAft>
              <a:buNone/>
              <a:defRPr sz="1200" spc="0"/>
            </a:lvl1pPr>
            <a:lvl2pPr marL="378875" indent="-152396">
              <a:lnSpc>
                <a:spcPct val="120000"/>
              </a:lnSpc>
              <a:spcAft>
                <a:spcPts val="267"/>
              </a:spcAft>
              <a:defRPr sz="933" spc="0"/>
            </a:lvl2pPr>
            <a:lvl3pPr marL="687900" indent="-232828">
              <a:defRPr sz="667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D47C9E04-F2BD-40A7-B46E-117AEBB53AF0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63906" y="5616954"/>
            <a:ext cx="2267119" cy="675929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Aft>
                <a:spcPts val="267"/>
              </a:spcAft>
              <a:buNone/>
              <a:defRPr sz="1200" spc="0"/>
            </a:lvl1pPr>
            <a:lvl2pPr marL="378875" indent="-152396">
              <a:lnSpc>
                <a:spcPct val="120000"/>
              </a:lnSpc>
              <a:spcAft>
                <a:spcPts val="267"/>
              </a:spcAft>
              <a:defRPr sz="933" spc="0"/>
            </a:lvl2pPr>
            <a:lvl3pPr marL="687900" indent="-232828">
              <a:defRPr sz="667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CE5E9F3F-438C-4859-85E0-F4A6C4DAF8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61124" y="5616954"/>
            <a:ext cx="2326877" cy="675929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Aft>
                <a:spcPts val="267"/>
              </a:spcAft>
              <a:buNone/>
              <a:defRPr sz="1200" spc="0"/>
            </a:lvl1pPr>
            <a:lvl2pPr marL="378875" indent="-152396">
              <a:lnSpc>
                <a:spcPct val="120000"/>
              </a:lnSpc>
              <a:spcAft>
                <a:spcPts val="267"/>
              </a:spcAft>
              <a:defRPr sz="933" spc="0"/>
            </a:lvl2pPr>
            <a:lvl3pPr marL="687900" indent="-232828">
              <a:defRPr sz="667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Slide Number Placeholder 4">
            <a:extLst>
              <a:ext uri="{FF2B5EF4-FFF2-40B4-BE49-F238E27FC236}">
                <a16:creationId xmlns:a16="http://schemas.microsoft.com/office/drawing/2014/main" id="{89496E11-838C-4853-9266-14C470B1EB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1DD1BAC7-1730-495E-82FF-94326537FCF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63906" y="2777347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434F53B-C383-4B15-BF37-0278F10B6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71856" y="2777347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D830F54C-BE4C-4892-AF17-69FB7EE275D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63906" y="465379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743047EE-B643-4307-9434-A43A6442CEA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271856" y="465379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00863BCC-B5EC-45FB-844E-7C3682179BE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055" y="761514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D616B35-E779-4164-BE39-DCA9FA4591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7ADC0998-FC91-48CB-BBA2-E75826EA35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6FD7FD53-D3AF-41DB-B84F-D4E80412D91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50457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with transparen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BA091B5-A806-4305-BC24-7E50D3D4B3A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1"/>
            <a:ext cx="5029200" cy="342228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/>
            </a:lvl1pPr>
            <a:lvl2pPr>
              <a:defRPr lang="en-US" sz="1067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848DCA2-1B24-46EE-95C8-6D3E57E0DD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034827" cy="168467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99F7D69-A9F4-4F01-BFAC-42E7473B3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E7FC8E3-F8D5-4DC5-9A71-8969BF71007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85E86296-46B5-4176-82D9-9548F258FF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125973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with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8C1DAE-07C6-4799-AB2A-6BC4035F1F9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6096000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EFB02FA9-F74D-409A-AE50-03692123A90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79177" y="2870201"/>
            <a:ext cx="5154188" cy="3606799"/>
          </a:xfrm>
        </p:spPr>
        <p:txBody>
          <a:bodyPr>
            <a:noAutofit/>
          </a:bodyPr>
          <a:lstStyle>
            <a:lvl1pPr marL="228594" indent="-228594">
              <a:lnSpc>
                <a:spcPct val="100000"/>
              </a:lnSpc>
              <a:buFont typeface="Arial" panose="020B0604020202020204" pitchFamily="34" charset="0"/>
              <a:buChar char="•"/>
              <a:defRPr sz="1333"/>
            </a:lvl1pPr>
            <a:lvl2pPr>
              <a:lnSpc>
                <a:spcPct val="100000"/>
              </a:lnSpc>
              <a:defRPr sz="1067"/>
            </a:lvl2pPr>
            <a:lvl3pPr>
              <a:lnSpc>
                <a:spcPct val="100000"/>
              </a:lnSpc>
              <a:defRPr sz="800"/>
            </a:lvl3pPr>
            <a:lvl4pPr>
              <a:lnSpc>
                <a:spcPct val="100000"/>
              </a:lnSpc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A66571F9-8F5F-4F9C-B69D-8194767FDE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9176" y="990600"/>
            <a:ext cx="5154025" cy="160803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357B425C-8918-4CBA-983D-6480207069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30708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 column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A3358592-959E-4456-B08C-B18561ACD90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67566B7-7005-4688-80F7-DA1BD8DAD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034828" cy="1461733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0A1CBFF-FEB1-426F-8ABF-7C8FF483E89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6" y="2800677"/>
            <a:ext cx="2321893" cy="77593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b="0" spc="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E2F20EC-16BD-48F7-86D9-438E0739413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266107" y="2800677"/>
            <a:ext cx="2321893" cy="77593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b="0" spc="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lnSpc>
                <a:spcPct val="100000"/>
              </a:lnSpc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1A4FF-001F-46B0-B50B-76B7ADF0DB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6" y="3684026"/>
            <a:ext cx="2321893" cy="25383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/>
            </a:lvl1pPr>
            <a:lvl2pPr>
              <a:defRPr lang="en-US" sz="1067" dirty="0"/>
            </a:lvl2pPr>
            <a:lvl3pPr>
              <a:defRPr lang="en-US" sz="800" dirty="0"/>
            </a:lvl3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DC8C8FE-D77A-44F7-8C57-F06010945CF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66107" y="3684026"/>
            <a:ext cx="2321893" cy="25383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AC2492A7-148D-4E60-BDC4-A6493F242C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1DA0D3C-E618-4E74-AE1A-D790FB5661A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1208D92E-CD7A-49C0-A704-73CF645867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034586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 column icons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BE8071A5-D2DE-4A93-921A-785E22F45F37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096000" y="0"/>
            <a:ext cx="6096000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E98C8BEA-B15D-4061-953B-D90FCE37158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700087"/>
            <a:ext cx="2322323" cy="59269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DB00627B-8E9E-451B-8924-7096742DBBB8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3276411" y="3700087"/>
            <a:ext cx="2322323" cy="59269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71D6F508-837A-4CD5-AC3A-FF7EE23D05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045560" cy="156623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2-column with icon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C411F75-6788-47F4-9D8B-6D1716F8EC0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5" y="4371432"/>
            <a:ext cx="2322323" cy="185090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/>
            </a:lvl1pPr>
            <a:lvl2pPr>
              <a:defRPr lang="en-US" sz="1067" dirty="0"/>
            </a:lvl2pPr>
            <a:lvl3pPr>
              <a:defRPr lang="en-US" sz="800" dirty="0"/>
            </a:lvl3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B962768-3C7E-49E5-AC1D-7730E96FE84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65679" y="4371432"/>
            <a:ext cx="2322323" cy="185090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A84CF3E9-1E0B-46B7-BF52-271009164E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63D291-DE41-4BB4-9E4C-30D49C50E58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63904" y="3350787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DA18A8E-48CB-4C25-A5F2-E849DDAE33A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76410" y="3350787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C49583F-365C-4C9E-81DD-9046A0055A5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551AB8E0-3E63-4511-8C72-DE00D1124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554222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sm column icons - Graphic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2965406F-4919-4C06-802B-3D3899E60FA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DFF45C6-46F9-8640-A5F1-11290FCEA3EC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63903" y="3034588"/>
            <a:ext cx="2317184" cy="5887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429BA22C-8830-7E4A-B1E1-AC3DC42388CA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563903" y="4932949"/>
            <a:ext cx="2317184" cy="5887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A6A5AFD9-009A-4A4C-94F4-05A23B341CF2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3270816" y="3034588"/>
            <a:ext cx="2317184" cy="5887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8930094A-C63F-1B4B-8A52-5C7320E7BE21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3270816" y="4932949"/>
            <a:ext cx="2317184" cy="588768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19A47C88-6D77-40E6-9F1E-6FF92AB2F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5034828" cy="14965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con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86AA7C8-7D59-46CE-A267-59CE001AF21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6" y="3727089"/>
            <a:ext cx="2326877" cy="67592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1333" dirty="0"/>
            </a:lvl1pPr>
            <a:lvl2pPr>
              <a:lnSpc>
                <a:spcPct val="100000"/>
              </a:lnSpc>
              <a:defRPr lang="en-US" sz="1067" dirty="0"/>
            </a:lvl2pPr>
          </a:lstStyle>
          <a:p>
            <a:pPr marL="0" lvl="0" indent="0">
              <a:lnSpc>
                <a:spcPct val="120000"/>
              </a:lnSpc>
              <a:spcAft>
                <a:spcPts val="267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D602771-5223-47EB-BA07-406BD8C6942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61124" y="3727089"/>
            <a:ext cx="2326877" cy="67592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1333" dirty="0"/>
            </a:lvl1pPr>
            <a:lvl2pPr>
              <a:lnSpc>
                <a:spcPct val="100000"/>
              </a:lnSpc>
              <a:defRPr lang="en-US" sz="1067" dirty="0"/>
            </a:lvl2pPr>
          </a:lstStyle>
          <a:p>
            <a:pPr marL="0" lvl="0" indent="0">
              <a:lnSpc>
                <a:spcPct val="120000"/>
              </a:lnSpc>
              <a:spcAft>
                <a:spcPts val="267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D47C9E04-F2BD-40A7-B46E-117AEBB53AF0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63906" y="5616954"/>
            <a:ext cx="2326877" cy="67592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1333" dirty="0"/>
            </a:lvl1pPr>
            <a:lvl2pPr>
              <a:lnSpc>
                <a:spcPct val="100000"/>
              </a:lnSpc>
              <a:defRPr lang="en-US" sz="1067" dirty="0"/>
            </a:lvl2pPr>
          </a:lstStyle>
          <a:p>
            <a:pPr marL="0" lvl="0" indent="0">
              <a:lnSpc>
                <a:spcPct val="120000"/>
              </a:lnSpc>
              <a:spcAft>
                <a:spcPts val="267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CE5E9F3F-438C-4859-85E0-F4A6C4DAF8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61124" y="5616954"/>
            <a:ext cx="2326877" cy="67592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1333" dirty="0"/>
            </a:lvl1pPr>
            <a:lvl2pPr>
              <a:lnSpc>
                <a:spcPct val="100000"/>
              </a:lnSpc>
              <a:defRPr lang="en-US" sz="1067" dirty="0"/>
            </a:lvl2pPr>
          </a:lstStyle>
          <a:p>
            <a:pPr marL="0" lvl="0" indent="0">
              <a:lnSpc>
                <a:spcPct val="120000"/>
              </a:lnSpc>
              <a:spcAft>
                <a:spcPts val="267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7" name="Slide Number Placeholder 4">
            <a:extLst>
              <a:ext uri="{FF2B5EF4-FFF2-40B4-BE49-F238E27FC236}">
                <a16:creationId xmlns:a16="http://schemas.microsoft.com/office/drawing/2014/main" id="{89496E11-838C-4853-9266-14C470B1EB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1DD1BAC7-1730-495E-82FF-94326537FCF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63906" y="2688935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434F53B-C383-4B15-BF37-0278F10B6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71856" y="2688935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D830F54C-BE4C-4892-AF17-69FB7EE275D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63906" y="4583649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743047EE-B643-4307-9434-A43A6442CEA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271856" y="4583649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36F33AF-48EA-421B-91FF-4AD7EDD725A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EE29C994-41DB-4E88-8A93-3D10E1A8BA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868728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13E34AB2-EB40-45F2-BAE7-A8136E51FF6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714582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  <a:p>
            <a:pPr marL="228594" lvl="3" indent="-228594">
              <a:lnSpc>
                <a:spcPct val="100000"/>
              </a:lnSpc>
            </a:pPr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2616182"/>
            <a:ext cx="3357020" cy="80327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EA591F5-58AE-D343-A6EB-87F69740E76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2620628"/>
            <a:ext cx="3357020" cy="80327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B8558003-6140-3442-986E-2C60FA775A53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2616182"/>
            <a:ext cx="3357020" cy="80327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FBBB06B7-9478-4C6F-9560-109718AC49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965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50389FDF-392D-4049-AC2A-1E9DF18496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Content Placeholder 6">
            <a:extLst>
              <a:ext uri="{FF2B5EF4-FFF2-40B4-BE49-F238E27FC236}">
                <a16:creationId xmlns:a16="http://schemas.microsoft.com/office/drawing/2014/main" id="{5CF71C16-241D-4C12-986F-49C011B6FB62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111" y="3714582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  <a:p>
            <a:pPr marL="228594" lvl="3" indent="-228594">
              <a:lnSpc>
                <a:spcPct val="100000"/>
              </a:lnSpc>
            </a:pPr>
            <a:r>
              <a:rPr lang="en-US"/>
              <a:t>Fourth level</a:t>
            </a:r>
          </a:p>
        </p:txBody>
      </p:sp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DF591020-88DC-4E7B-BD72-36E6EB59E14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126438" y="3714582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  <a:p>
            <a:pPr marL="228594" lvl="3" indent="-228594">
              <a:lnSpc>
                <a:spcPct val="100000"/>
              </a:lnSpc>
            </a:pPr>
            <a:r>
              <a:rPr lang="en-US"/>
              <a:t>Four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383FF70-E831-4747-A153-F9977C8D40C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1ACA0FBF-BD85-4A2B-857C-5FEA45B4C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609262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A041BB60-92E2-E24D-A7E4-A3567C28152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63902" y="2518229"/>
            <a:ext cx="3501661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EDAD314-6F73-5C4E-93D2-9F6E7C78F6D1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3857639"/>
            <a:ext cx="3363063" cy="51663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E5D9876C-926F-4148-B388-37AF2EC91BA9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3857638"/>
            <a:ext cx="3363063" cy="52199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A0EB0E0-8003-1149-85CF-5D63FB41C1C8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3853193"/>
            <a:ext cx="3363063" cy="52199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4" name="Picture Placeholder 2">
            <a:extLst>
              <a:ext uri="{FF2B5EF4-FFF2-40B4-BE49-F238E27FC236}">
                <a16:creationId xmlns:a16="http://schemas.microsoft.com/office/drawing/2014/main" id="{5C20FC9A-2038-AF44-9486-38D2103687A7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4348111" y="2518229"/>
            <a:ext cx="3501661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35" name="Picture Placeholder 2">
            <a:extLst>
              <a:ext uri="{FF2B5EF4-FFF2-40B4-BE49-F238E27FC236}">
                <a16:creationId xmlns:a16="http://schemas.microsoft.com/office/drawing/2014/main" id="{14AE4050-3A50-CC40-A2F2-6040AFDD5C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8132320" y="2518229"/>
            <a:ext cx="3494627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664EEB71-E7FA-45C6-8549-2F56C38185D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3386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images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AD169A5A-D278-4C7A-80C6-4AAAFCE2E17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77CC832-63CA-4131-ABA9-356B02B9073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2" y="4605092"/>
            <a:ext cx="3363063" cy="1617249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CD16B98-DFE6-42E9-983E-5855355500F4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48111" y="4605092"/>
            <a:ext cx="3363063" cy="1617249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B43A5D85-76F0-4FEF-A17F-4532934D5A5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25286" y="4605092"/>
            <a:ext cx="3363063" cy="1617249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BB14B9EC-8559-42D6-A40F-F7BF924ADBA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A5974834-AF48-48D6-A946-C25C1D483AC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507426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5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D1EB964-31F1-4CBE-82A3-C0D6A156FC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55926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icons</a:t>
            </a:r>
          </a:p>
        </p:txBody>
      </p:sp>
      <p:sp>
        <p:nvSpPr>
          <p:cNvPr id="43" name="Slide Number Placeholder 4">
            <a:extLst>
              <a:ext uri="{FF2B5EF4-FFF2-40B4-BE49-F238E27FC236}">
                <a16:creationId xmlns:a16="http://schemas.microsoft.com/office/drawing/2014/main" id="{EF211203-217C-43EA-B455-2829537E92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DD9E95C-54D7-4CDC-9398-06EA3EF4C2B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63904" y="342900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308B72D-42DD-4AFC-86F7-A60C430A65F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48111" y="342900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92FBA143-4C75-4705-B518-3C3BEB4DB59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25287" y="3429000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BFFB3BB-96C3-43AE-AE37-B552C0F815F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1" y="3783515"/>
            <a:ext cx="3383963" cy="59075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557260CF-2100-49E9-84E8-B0D7AFADA565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3782745"/>
            <a:ext cx="3383963" cy="5968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0E159BC0-6118-41FB-BD15-D9B76E35ED35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3778299"/>
            <a:ext cx="3383963" cy="5968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2CDBFEA-91A7-4FE4-AAE2-321927A46CE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1" y="4605092"/>
            <a:ext cx="3383963" cy="1617249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1CBFE74-247B-4E42-8A8C-4D5F9D2997F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48111" y="4605092"/>
            <a:ext cx="3383963" cy="1617249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CD5C99F-F57F-4957-BA17-CF590173E3F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25285" y="4605092"/>
            <a:ext cx="3383963" cy="1617249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415BF8F-879F-4E1A-A7D8-9D683393FD0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3534F201-EBA0-46A0-B1E7-7AF9F7C498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3572781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0601"/>
            <a:ext cx="11080025" cy="127000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8874051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33BA5D9-8DD3-44FA-97F1-0BE7E11890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393055" y="4723459"/>
            <a:ext cx="6314695" cy="205184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buNone/>
              <a:defRPr sz="1333" b="1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34D1A77-E568-4CF9-B725-C0D0BF9F82C5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4393055" y="5008525"/>
            <a:ext cx="6314695" cy="16414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buNone/>
              <a:defRPr sz="1067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6CB0DADA-5A76-4539-BB25-1A84FE99D08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401835" y="2006769"/>
            <a:ext cx="7570967" cy="2363812"/>
          </a:xfrm>
          <a:prstGeom prst="rect">
            <a:avLst/>
          </a:prstGeom>
        </p:spPr>
        <p:txBody>
          <a:bodyPr vert="horz" wrap="square" lIns="0" tIns="45720" rIns="0" bIns="45720" rtlCol="0" anchor="t" anchorCtr="0">
            <a:noAutofit/>
          </a:bodyPr>
          <a:lstStyle>
            <a:lvl1pPr>
              <a:defRPr lang="en-US" sz="4052" spc="0" dirty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sz="4052">
                <a:solidFill>
                  <a:schemeClr val="bg1"/>
                </a:solidFill>
              </a:rPr>
              <a:t>Quote here dolor sit </a:t>
            </a:r>
            <a:r>
              <a:rPr lang="en-US" sz="4052" err="1">
                <a:solidFill>
                  <a:schemeClr val="bg1"/>
                </a:solidFill>
              </a:rPr>
              <a:t>amet</a:t>
            </a:r>
            <a:r>
              <a:rPr lang="en-US" sz="4052">
                <a:solidFill>
                  <a:schemeClr val="bg1"/>
                </a:solidFill>
              </a:rPr>
              <a:t>, </a:t>
            </a:r>
            <a:r>
              <a:rPr lang="en-US" sz="4052" err="1">
                <a:solidFill>
                  <a:schemeClr val="bg1"/>
                </a:solidFill>
              </a:rPr>
              <a:t>consectetur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adipiscing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elit</a:t>
            </a:r>
            <a:r>
              <a:rPr lang="en-US" sz="4052">
                <a:solidFill>
                  <a:schemeClr val="bg1"/>
                </a:solidFill>
              </a:rPr>
              <a:t>, sed </a:t>
            </a:r>
            <a:r>
              <a:rPr lang="en-US" sz="4052" err="1">
                <a:solidFill>
                  <a:schemeClr val="bg1"/>
                </a:solidFill>
              </a:rPr>
              <a:t>eiusmod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tempor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incididunt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ut</a:t>
            </a:r>
            <a:r>
              <a:rPr lang="en-US" sz="4052">
                <a:solidFill>
                  <a:schemeClr val="bg1"/>
                </a:solidFill>
              </a:rPr>
              <a:t> </a:t>
            </a:r>
            <a:r>
              <a:rPr lang="en-US" sz="4052" err="1">
                <a:solidFill>
                  <a:schemeClr val="bg1"/>
                </a:solidFill>
              </a:rPr>
              <a:t>labore</a:t>
            </a:r>
            <a:r>
              <a:rPr lang="en-US" sz="4052">
                <a:solidFill>
                  <a:schemeClr val="bg1"/>
                </a:solidFill>
              </a:rPr>
              <a:t> et dolore .</a:t>
            </a:r>
            <a:endParaRPr lang="en-US"/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41AF0EE6-B3C9-4B84-B580-E17BEB0703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1D51E634-0B11-495A-90D8-9BB9BA4CDBD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B4423B4F-08B9-46D7-8661-1E4F42D86F1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F03AA98E-9019-404A-A14B-86F788D43A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233626" y="4479666"/>
            <a:ext cx="1003300" cy="1003300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>
              <a:buNone/>
              <a:defRPr sz="1067" spc="0"/>
            </a:lvl1pPr>
          </a:lstStyle>
          <a:p>
            <a:r>
              <a:rPr lang="en-US"/>
              <a:t>Click icon to add pictur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8F71054C-1DC1-CE42-92D0-3775ED683A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401836" y="1589981"/>
            <a:ext cx="282809" cy="2262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25009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057549"/>
            <a:ext cx="2552092" cy="51906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35F796C-3FA3-4D4C-9E57-306772BBFEB7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8" y="3057549"/>
            <a:ext cx="2552092" cy="51906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3094BC0-195B-294A-B09B-12005D172A0C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057549"/>
            <a:ext cx="2552092" cy="51906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A941269-22F0-1B4D-A516-00DAC2E11BF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057549"/>
            <a:ext cx="2552092" cy="519064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137A293-3428-4F1D-AFE7-A91A006BF4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573204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</a:t>
            </a:r>
          </a:p>
        </p:txBody>
      </p:sp>
      <p:sp>
        <p:nvSpPr>
          <p:cNvPr id="31" name="Slide Number Placeholder 4">
            <a:extLst>
              <a:ext uri="{FF2B5EF4-FFF2-40B4-BE49-F238E27FC236}">
                <a16:creationId xmlns:a16="http://schemas.microsoft.com/office/drawing/2014/main" id="{1F64BCE5-C4DF-42FB-9C93-FE7C16DD9E1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A1B0035-5E54-40B0-935E-AFA22AAC3DE7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2" y="3755136"/>
            <a:ext cx="2552095" cy="2422987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180B363-3DB0-4182-92AF-F3299D006F1E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13562" y="3755136"/>
            <a:ext cx="2552095" cy="2422987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3B10F2FC-21B2-4819-A881-BDACEDED633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47251" y="3755136"/>
            <a:ext cx="2552095" cy="2422987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E502F68-635D-4926-A522-08E453196227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9096911" y="3755136"/>
            <a:ext cx="2552095" cy="2422987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C673C67A-6C31-484A-AD1D-2437BA26271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8" name="Footer Placeholder 3">
            <a:extLst>
              <a:ext uri="{FF2B5EF4-FFF2-40B4-BE49-F238E27FC236}">
                <a16:creationId xmlns:a16="http://schemas.microsoft.com/office/drawing/2014/main" id="{40BD81C6-9DFB-4402-A90A-584421618C4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914810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316224"/>
            <a:ext cx="2552092" cy="58433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35F796C-3FA3-4D4C-9E57-306772BBFEB7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8" y="3316224"/>
            <a:ext cx="2552092" cy="58433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3094BC0-195B-294A-B09B-12005D172A0C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316224"/>
            <a:ext cx="2552092" cy="58433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A941269-22F0-1B4D-A516-00DAC2E11BF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316224"/>
            <a:ext cx="2552092" cy="58433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BA943510-C75F-4986-83E1-EC263D2044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965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cons</a:t>
            </a:r>
          </a:p>
        </p:txBody>
      </p:sp>
      <p:sp>
        <p:nvSpPr>
          <p:cNvPr id="38" name="Slide Number Placeholder 4">
            <a:extLst>
              <a:ext uri="{FF2B5EF4-FFF2-40B4-BE49-F238E27FC236}">
                <a16:creationId xmlns:a16="http://schemas.microsoft.com/office/drawing/2014/main" id="{73F974E0-E6C8-49D5-B2CA-B9DD7D4D653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A680BB83-959F-4FDD-88B5-B99A3D5A1463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2" y="4160176"/>
            <a:ext cx="2552095" cy="2082128"/>
          </a:xfrm>
        </p:spPr>
        <p:txBody>
          <a:bodyPr>
            <a:noAutofit/>
          </a:bodyPr>
          <a:lstStyle>
            <a:lvl1pPr marL="228594" indent="-228594">
              <a:lnSpc>
                <a:spcPct val="140000"/>
              </a:lnSpc>
              <a:buFont typeface="Arial" panose="020B0604020202020204" pitchFamily="34" charset="0"/>
              <a:buChar char="•"/>
              <a:defRPr sz="1333"/>
            </a:lvl1pPr>
            <a:lvl2pPr marL="378875" indent="-152396">
              <a:lnSpc>
                <a:spcPct val="140000"/>
              </a:lnSpc>
              <a:defRPr sz="1067"/>
            </a:lvl2pPr>
            <a:lvl3pPr marL="687900" indent="-232828">
              <a:lnSpc>
                <a:spcPct val="140000"/>
              </a:lnSpc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4B47409-39CC-4AB0-89D1-284C38860D9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413561" y="4160176"/>
            <a:ext cx="2626704" cy="2082128"/>
          </a:xfrm>
        </p:spPr>
        <p:txBody>
          <a:bodyPr>
            <a:noAutofit/>
          </a:bodyPr>
          <a:lstStyle>
            <a:lvl1pPr marL="228594" indent="-228594">
              <a:lnSpc>
                <a:spcPct val="140000"/>
              </a:lnSpc>
              <a:buFont typeface="Arial" panose="020B0604020202020204" pitchFamily="34" charset="0"/>
              <a:buChar char="•"/>
              <a:defRPr sz="1333"/>
            </a:lvl1pPr>
            <a:lvl2pPr marL="378875" indent="-152396">
              <a:lnSpc>
                <a:spcPct val="140000"/>
              </a:lnSpc>
              <a:defRPr sz="1067"/>
            </a:lvl2pPr>
            <a:lvl3pPr marL="687900" indent="-232828">
              <a:lnSpc>
                <a:spcPct val="140000"/>
              </a:lnSpc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6F9B79A2-65D9-4B8F-8DB9-71B2D0007C26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6247251" y="4160176"/>
            <a:ext cx="2552095" cy="2082128"/>
          </a:xfrm>
        </p:spPr>
        <p:txBody>
          <a:bodyPr>
            <a:noAutofit/>
          </a:bodyPr>
          <a:lstStyle>
            <a:lvl1pPr marL="228594" indent="-228594">
              <a:lnSpc>
                <a:spcPct val="140000"/>
              </a:lnSpc>
              <a:buFont typeface="Arial" panose="020B0604020202020204" pitchFamily="34" charset="0"/>
              <a:buChar char="•"/>
              <a:defRPr sz="1333"/>
            </a:lvl1pPr>
            <a:lvl2pPr marL="378875" indent="-152396">
              <a:lnSpc>
                <a:spcPct val="140000"/>
              </a:lnSpc>
              <a:defRPr sz="1067"/>
            </a:lvl2pPr>
            <a:lvl3pPr marL="687900" indent="-232828">
              <a:lnSpc>
                <a:spcPct val="140000"/>
              </a:lnSpc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AB7D9D7-F3C2-4406-B72E-37E861D8E5AE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96911" y="4160176"/>
            <a:ext cx="2552095" cy="2082128"/>
          </a:xfrm>
        </p:spPr>
        <p:txBody>
          <a:bodyPr>
            <a:noAutofit/>
          </a:bodyPr>
          <a:lstStyle>
            <a:lvl1pPr marL="228594" indent="-228594">
              <a:lnSpc>
                <a:spcPct val="140000"/>
              </a:lnSpc>
              <a:buFont typeface="Arial" panose="020B0604020202020204" pitchFamily="34" charset="0"/>
              <a:buChar char="•"/>
              <a:defRPr sz="1333"/>
            </a:lvl1pPr>
            <a:lvl2pPr marL="378875" indent="-152396">
              <a:lnSpc>
                <a:spcPct val="140000"/>
              </a:lnSpc>
              <a:defRPr sz="1067"/>
            </a:lvl2pPr>
            <a:lvl3pPr marL="687900" indent="-232828">
              <a:lnSpc>
                <a:spcPct val="140000"/>
              </a:lnSpc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325DA913-D561-481D-AC9D-C096DA657E39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3904" y="302763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C337FCA0-79CE-4E7B-B272-E4EFB372C129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3403233" y="302763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C2E0F4FC-9970-45E4-9784-BCA838895F5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6242563" y="302763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2" name="Text Placeholder 2">
            <a:extLst>
              <a:ext uri="{FF2B5EF4-FFF2-40B4-BE49-F238E27FC236}">
                <a16:creationId xmlns:a16="http://schemas.microsoft.com/office/drawing/2014/main" id="{3014E5A9-0003-43F7-A198-C160ED979BD7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9081891" y="302763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DF166E02-7641-4BBC-8370-DFA541EB63A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F37FEAB2-9122-4DDC-B50E-7C2AADAF965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077603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Quarterly-Plan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88427184-4D4B-2842-98CC-0D13D99CD8BE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563905" y="3169600"/>
            <a:ext cx="2552092" cy="63196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spcBef>
                <a:spcPts val="0"/>
              </a:spcBef>
              <a:buNone/>
              <a:defRPr sz="4267" b="0" i="0" spc="-241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Q1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A3B11FAB-FB94-FE47-98B7-C4E703DCE021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3389550" y="3169600"/>
            <a:ext cx="2552092" cy="63196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spcBef>
                <a:spcPts val="0"/>
              </a:spcBef>
              <a:buNone/>
              <a:defRPr sz="4267" b="0" i="0" spc="-241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Q2</a:t>
            </a:r>
          </a:p>
        </p:txBody>
      </p:sp>
      <p:sp>
        <p:nvSpPr>
          <p:cNvPr id="48" name="Text Placeholder 3">
            <a:extLst>
              <a:ext uri="{FF2B5EF4-FFF2-40B4-BE49-F238E27FC236}">
                <a16:creationId xmlns:a16="http://schemas.microsoft.com/office/drawing/2014/main" id="{4F5FE934-EAAA-2544-B7A7-0D9F568038D5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6230186" y="3169600"/>
            <a:ext cx="2552092" cy="63196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spcBef>
                <a:spcPts val="0"/>
              </a:spcBef>
              <a:buNone/>
              <a:defRPr sz="4267" b="0" i="0" spc="-241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Q3</a:t>
            </a:r>
          </a:p>
        </p:txBody>
      </p:sp>
      <p:sp>
        <p:nvSpPr>
          <p:cNvPr id="49" name="Text Placeholder 3">
            <a:extLst>
              <a:ext uri="{FF2B5EF4-FFF2-40B4-BE49-F238E27FC236}">
                <a16:creationId xmlns:a16="http://schemas.microsoft.com/office/drawing/2014/main" id="{50C5B955-9C7B-6947-9744-010C19BBB567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9055831" y="3169600"/>
            <a:ext cx="2552092" cy="631968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spcBef>
                <a:spcPts val="0"/>
              </a:spcBef>
              <a:buNone/>
              <a:defRPr sz="4267" b="0" i="0" spc="-241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Q4</a:t>
            </a:r>
          </a:p>
        </p:txBody>
      </p:sp>
      <p:sp>
        <p:nvSpPr>
          <p:cNvPr id="35" name="Text Placeholder 3">
            <a:extLst>
              <a:ext uri="{FF2B5EF4-FFF2-40B4-BE49-F238E27FC236}">
                <a16:creationId xmlns:a16="http://schemas.microsoft.com/office/drawing/2014/main" id="{DA111987-1B3E-4A88-9CE0-11B85B6A696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789061"/>
            <a:ext cx="2552092" cy="52451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CB765974-5A94-44D1-BEFA-32064162636B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8" y="3789061"/>
            <a:ext cx="2552092" cy="52451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2DCDDD54-163E-4B72-AC0A-9025AE8ED3A2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789061"/>
            <a:ext cx="2552092" cy="52451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633A5AB9-6304-4852-84C2-13EE0655D16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789061"/>
            <a:ext cx="2552092" cy="52451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9" name="Title Placeholder 1">
            <a:extLst>
              <a:ext uri="{FF2B5EF4-FFF2-40B4-BE49-F238E27FC236}">
                <a16:creationId xmlns:a16="http://schemas.microsoft.com/office/drawing/2014/main" id="{4EAFF05D-F126-4F6F-BC7A-D37D2D8198C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524436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Quarterly planning headline here</a:t>
            </a:r>
          </a:p>
        </p:txBody>
      </p:sp>
      <p:sp>
        <p:nvSpPr>
          <p:cNvPr id="42" name="Slide Number Placeholder 4">
            <a:extLst>
              <a:ext uri="{FF2B5EF4-FFF2-40B4-BE49-F238E27FC236}">
                <a16:creationId xmlns:a16="http://schemas.microsoft.com/office/drawing/2014/main" id="{B0C4E4CC-F4EF-41B1-859A-BEB48891029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45150659-4B06-4B5C-AEAE-D63AB44A0A01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63902" y="4480780"/>
            <a:ext cx="2552095" cy="162876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FE905DCE-53B2-44BC-A04D-E154A3AAD859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13562" y="4480780"/>
            <a:ext cx="2552095" cy="162876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ED54CEA9-0F8B-43FF-86F1-30D0A263E4D5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47251" y="4480780"/>
            <a:ext cx="2552095" cy="162876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A21997B-0FCE-4F0F-9413-09FF3CABCAFC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96911" y="4480780"/>
            <a:ext cx="2552095" cy="162876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3CFF6099-0DAF-43E0-A2BE-4FC739C1BE3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BF218AE5-98EE-4C23-93DE-5E0E691847A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667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201448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480C16A7-AC87-3041-BFCA-5BAE809929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63903" y="2518229"/>
            <a:ext cx="2552092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8AFA0CDB-F372-1847-ACE3-8F2552F32E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01446" y="2518229"/>
            <a:ext cx="2552092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2CEDA4E7-FEF8-A844-BD5D-9125501BED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246246" y="2518229"/>
            <a:ext cx="2552092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0C5331F0-DC53-014A-AC10-09442296B48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076533" y="2518229"/>
            <a:ext cx="2552092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857640"/>
            <a:ext cx="2552092" cy="4363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35F796C-3FA3-4D4C-9E57-306772BBFEB7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8" y="3857640"/>
            <a:ext cx="2552092" cy="4363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3094BC0-195B-294A-B09B-12005D172A0C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857640"/>
            <a:ext cx="2552092" cy="4363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A941269-22F0-1B4D-A516-00DAC2E11BF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857640"/>
            <a:ext cx="2552092" cy="4363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E71F9B75-2801-4E3B-A4AF-EE2F5428DF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478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mages</a:t>
            </a:r>
          </a:p>
        </p:txBody>
      </p:sp>
      <p:sp>
        <p:nvSpPr>
          <p:cNvPr id="40" name="Slide Number Placeholder 4">
            <a:extLst>
              <a:ext uri="{FF2B5EF4-FFF2-40B4-BE49-F238E27FC236}">
                <a16:creationId xmlns:a16="http://schemas.microsoft.com/office/drawing/2014/main" id="{C287D7C0-FDBF-4DC2-A5AD-21F027C218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B282261E-4BBB-4DDF-A272-64831DF6A48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63902" y="4479689"/>
            <a:ext cx="2552095" cy="169843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35DF58A1-C9DA-4098-A483-3AF5EEE2823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13562" y="4479689"/>
            <a:ext cx="2552095" cy="169843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506F507-8135-47B0-B749-1ECA83F7A4C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47251" y="4479689"/>
            <a:ext cx="2552095" cy="169843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D835D938-BABF-448A-911C-81BC403D164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96911" y="4479689"/>
            <a:ext cx="2552095" cy="169843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91F740F-284B-4B91-944E-3E248D56447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45924221-968B-489A-B12E-3DB03CF53A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494650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icon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1" y="0"/>
            <a:ext cx="6096001" cy="6858000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24644A4A-627D-4251-93AA-A2954900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2" y="990600"/>
            <a:ext cx="5125733" cy="12700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A8E6EAB-22F0-4C89-85F8-D4D94992ED22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63903" y="2960399"/>
            <a:ext cx="2319867" cy="46860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EF54FC4E-BD10-4F11-B8AA-EB5EF0D89E43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3268133" y="2960397"/>
            <a:ext cx="2319867" cy="46860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E64A8B51-1A62-459A-8DD3-93B84E82D8DE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563903" y="4880033"/>
            <a:ext cx="2319867" cy="46860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D090DEB6-2BCA-46D7-9263-9EB082FE8736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3268133" y="4880033"/>
            <a:ext cx="2319867" cy="46860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B195F9B-18C2-43DD-8D28-DB82565A615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63903" y="3493741"/>
            <a:ext cx="2319868" cy="89664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33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F57C87-BB0F-4D2F-BDF2-DAE041C1A7D0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3260877" y="3493741"/>
            <a:ext cx="2319868" cy="89664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33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F88AC67-0FCF-4070-8745-F2172B2CACC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63903" y="5421509"/>
            <a:ext cx="2319868" cy="89664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33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03DC3002-031A-4736-AABA-949B2E31DDE5}"/>
              </a:ext>
            </a:extLst>
          </p:cNvPr>
          <p:cNvSpPr>
            <a:spLocks noGrp="1"/>
          </p:cNvSpPr>
          <p:nvPr>
            <p:ph type="body" sz="quarter" idx="42"/>
          </p:nvPr>
        </p:nvSpPr>
        <p:spPr>
          <a:xfrm>
            <a:off x="3260877" y="5421509"/>
            <a:ext cx="2319868" cy="896643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33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0695B177-CA0C-4E8C-A61A-DBFC0E3A7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41FCFB0F-38DF-40D9-884B-4BB884CABC08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3904" y="255117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8AB00DA7-3784-4F1E-BCF7-020A8B5BBBC6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3270275" y="255117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4BF908E0-620E-4308-B4E4-794556D881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58800" y="45168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E982949E-1A10-4260-ACD5-08C3395104A0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3265171" y="45168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93881526-D455-4016-9E25-0B8C0592F64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50C5796D-69C7-4336-93B7-FBE71B2511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269835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hoto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F16390-6737-46A8-8714-112CAB201308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432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2350284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2344656" cy="3425840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>
              <a:defRPr sz="1067"/>
            </a:lvl2pPr>
            <a:lvl3pPr>
              <a:defRPr sz="800"/>
            </a:lvl3pPr>
            <a:lvl4pPr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0A03D6A-E3C9-4E0F-9561-1CDE1AE1995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1" y="339201"/>
            <a:ext cx="2701689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486C98BC-16EE-44A7-A5AA-7D9E6341040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178751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CREENSH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F16390-6737-46A8-8714-112CAB201308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2432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903365" y="990599"/>
            <a:ext cx="7790845" cy="5035913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6451" y="990600"/>
            <a:ext cx="2357007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2344656" cy="3425840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>
              <a:defRPr sz="1067"/>
            </a:lvl2pPr>
            <a:lvl3pPr>
              <a:defRPr sz="800"/>
            </a:lvl3pPr>
            <a:lvl4pPr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2854662-684B-46F5-B1C9-A8380A9FAEC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1" y="339201"/>
            <a:ext cx="2729556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BD02289-A003-4F50-8A0B-E04C3A5D3D9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3C0D703A-5C8B-4D7D-9178-8D74110152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324721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2441477-13D0-4DAF-BFCF-92EDFB2CE56C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pic>
        <p:nvPicPr>
          <p:cNvPr id="8" name="Picture 7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C2D43C02-732C-4374-A293-6B6EED828B5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49010" y="788893"/>
            <a:ext cx="9342991" cy="5394456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941345" y="1482178"/>
            <a:ext cx="5719729" cy="3817185"/>
          </a:xfrm>
          <a:prstGeom prst="roundRect">
            <a:avLst>
              <a:gd name="adj" fmla="val 1813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0600"/>
            <a:ext cx="2501421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2" y="3051160"/>
            <a:ext cx="2496125" cy="342584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>
              <a:defRPr sz="933"/>
            </a:lvl2pPr>
            <a:lvl3pPr>
              <a:defRPr sz="667"/>
            </a:lvl3pPr>
            <a:lvl4pPr>
              <a:defRPr sz="267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D5595A6-D46E-43B4-94A2-E3A6720BA94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1" y="339201"/>
            <a:ext cx="2655455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84C20AAF-DB2E-2C46-92D6-BF7375063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925045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compu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5205681A-15F4-4542-8501-C515AC30D1BA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pic>
        <p:nvPicPr>
          <p:cNvPr id="4" name="Picture 3" descr="Shape&#10;&#10;Description automatically generated">
            <a:extLst>
              <a:ext uri="{FF2B5EF4-FFF2-40B4-BE49-F238E27FC236}">
                <a16:creationId xmlns:a16="http://schemas.microsoft.com/office/drawing/2014/main" id="{6AA2E0EF-0C6B-4EAA-99C1-1ECA8048BD86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840796" y="656979"/>
            <a:ext cx="8351205" cy="6131456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765964" y="1161013"/>
            <a:ext cx="5979619" cy="3999807"/>
          </a:xfrm>
          <a:prstGeom prst="roundRect">
            <a:avLst>
              <a:gd name="adj" fmla="val 0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0600"/>
            <a:ext cx="2522248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2" y="3051160"/>
            <a:ext cx="2516908" cy="342584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>
              <a:defRPr sz="933"/>
            </a:lvl2pPr>
            <a:lvl3pPr>
              <a:defRPr sz="667"/>
            </a:lvl3pPr>
            <a:lvl4pPr>
              <a:defRPr sz="267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98962E2-B3FC-4FBC-BC4B-4742A1803A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1" y="339201"/>
            <a:ext cx="2648527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D8634464-E35F-424D-9518-FD1D77E273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834700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tab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71E636F5-6A4B-4828-9183-C8400F5ABCF5}"/>
              </a:ext>
            </a:extLst>
          </p:cNvPr>
          <p:cNvSpPr/>
          <p:nvPr/>
        </p:nvSpPr>
        <p:spPr>
          <a:xfrm>
            <a:off x="5057939" y="0"/>
            <a:ext cx="7134061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pic>
        <p:nvPicPr>
          <p:cNvPr id="7" name="Picture 6" descr="A picture containing shape&#10;&#10;Description automatically generated">
            <a:extLst>
              <a:ext uri="{FF2B5EF4-FFF2-40B4-BE49-F238E27FC236}">
                <a16:creationId xmlns:a16="http://schemas.microsoft.com/office/drawing/2014/main" id="{45553720-6AD0-4C34-AF96-C4899D7DC8A0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878692" y="468831"/>
            <a:ext cx="6557149" cy="6181019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714658" y="831275"/>
            <a:ext cx="3773233" cy="5014700"/>
          </a:xfrm>
          <a:prstGeom prst="roundRect">
            <a:avLst>
              <a:gd name="adj" fmla="val 2134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4127796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4122168" cy="342584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>
              <a:defRPr sz="933"/>
            </a:lvl2pPr>
            <a:lvl3pPr>
              <a:defRPr sz="667"/>
            </a:lvl3pPr>
            <a:lvl4pPr>
              <a:defRPr sz="267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BB01D8E-9815-4F00-B2C4-FCB63EA244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4214091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5B63261B-BB65-7146-AA40-6188B66076C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8232998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A712B4B-CA11-4116-8559-6D5A2D1AD8D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1"/>
            <a:ext cx="5384800" cy="3343785"/>
          </a:xfrm>
        </p:spPr>
        <p:txBody>
          <a:bodyPr>
            <a:noAutofit/>
          </a:bodyPr>
          <a:lstStyle>
            <a:lvl1pPr marL="228594" indent="-228594">
              <a:lnSpc>
                <a:spcPct val="140000"/>
              </a:lnSpc>
              <a:buFont typeface="Arial" panose="020B0604020202020204" pitchFamily="34" charset="0"/>
              <a:buChar char="•"/>
              <a:defRPr sz="1333"/>
            </a:lvl1pPr>
            <a:lvl2pPr>
              <a:lnSpc>
                <a:spcPct val="140000"/>
              </a:lnSpc>
              <a:defRPr sz="1067"/>
            </a:lvl2pPr>
            <a:lvl3pPr>
              <a:lnSpc>
                <a:spcPct val="140000"/>
              </a:lnSpc>
              <a:defRPr sz="800"/>
            </a:lvl3pPr>
            <a:lvl4pPr>
              <a:lnSpc>
                <a:spcPct val="140000"/>
              </a:lnSpc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60107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Turn guides on to use this slide’s grid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3984B84-E026-4120-A200-04C1B3AFF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14B2EEA-5915-42C8-9003-8974AFE90EA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B859ACCB-8619-4E02-BC00-0846527E11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2990233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496">
          <p15:clr>
            <a:srgbClr val="FBAE40"/>
          </p15:clr>
        </p15:guide>
        <p15:guide id="3" pos="2376">
          <p15:clr>
            <a:srgbClr val="FBAE40"/>
          </p15:clr>
        </p15:guide>
        <p15:guide id="4" pos="1920">
          <p15:clr>
            <a:srgbClr val="FBAE40"/>
          </p15:clr>
        </p15:guide>
        <p15:guide id="5" pos="2040">
          <p15:clr>
            <a:srgbClr val="FBAE40"/>
          </p15:clr>
        </p15:guide>
        <p15:guide id="6" pos="1608">
          <p15:clr>
            <a:srgbClr val="FBAE40"/>
          </p15:clr>
        </p15:guide>
        <p15:guide id="7" pos="1464">
          <p15:clr>
            <a:srgbClr val="FBAE40"/>
          </p15:clr>
        </p15:guide>
        <p15:guide id="8" pos="1152">
          <p15:clr>
            <a:srgbClr val="FBAE40"/>
          </p15:clr>
        </p15:guide>
        <p15:guide id="9" pos="1032">
          <p15:clr>
            <a:srgbClr val="FBAE40"/>
          </p15:clr>
        </p15:guide>
        <p15:guide id="10" pos="720">
          <p15:clr>
            <a:srgbClr val="FBAE40"/>
          </p15:clr>
        </p15:guide>
        <p15:guide id="11" pos="600">
          <p15:clr>
            <a:srgbClr val="FBAE40"/>
          </p15:clr>
        </p15:guide>
        <p15:guide id="12" pos="3264">
          <p15:clr>
            <a:srgbClr val="FBAE40"/>
          </p15:clr>
        </p15:guide>
        <p15:guide id="13" pos="3384">
          <p15:clr>
            <a:srgbClr val="FBAE40"/>
          </p15:clr>
        </p15:guide>
        <p15:guide id="14" pos="3720">
          <p15:clr>
            <a:srgbClr val="FBAE40"/>
          </p15:clr>
        </p15:guide>
        <p15:guide id="15" pos="3840">
          <p15:clr>
            <a:srgbClr val="FBAE40"/>
          </p15:clr>
        </p15:guide>
        <p15:guide id="16" pos="4152">
          <p15:clr>
            <a:srgbClr val="FBAE40"/>
          </p15:clr>
        </p15:guide>
        <p15:guide id="17" pos="4296">
          <p15:clr>
            <a:srgbClr val="FBAE40"/>
          </p15:clr>
        </p15:guide>
        <p15:guide id="18" pos="4608">
          <p15:clr>
            <a:srgbClr val="FBAE40"/>
          </p15:clr>
        </p15:guide>
        <p15:guide id="19" pos="4728">
          <p15:clr>
            <a:srgbClr val="FBAE40"/>
          </p15:clr>
        </p15:guide>
        <p15:guide id="20" pos="5040">
          <p15:clr>
            <a:srgbClr val="FBAE40"/>
          </p15:clr>
        </p15:guide>
        <p15:guide id="21" pos="5184">
          <p15:clr>
            <a:srgbClr val="FBAE40"/>
          </p15:clr>
        </p15:guide>
      </p15:sldGuideLst>
    </p:ext>
  </p:extLst>
</p:sldLayout>
</file>

<file path=ppt/slideLayouts/slideLayout6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ph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495A01C3-21A9-4B25-AB62-4FAD52B2553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1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7841673" y="612774"/>
            <a:ext cx="2611580" cy="5607737"/>
          </a:xfrm>
          <a:prstGeom prst="roundRect">
            <a:avLst>
              <a:gd name="adj" fmla="val 10423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034456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051160"/>
            <a:ext cx="5029200" cy="342584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>
              <a:defRPr sz="933"/>
            </a:lvl2pPr>
            <a:lvl3pPr>
              <a:defRPr sz="667"/>
            </a:lvl3pPr>
            <a:lvl4pPr>
              <a:defRPr sz="267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20EE9DBE-1BE0-4560-936E-2E2FA427021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D2941A98-608E-7047-AFCD-92F4920A95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4686710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icon and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24644A4A-627D-4251-93AA-A295490085E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2639207" cy="12700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A8E6EAB-22F0-4C89-85F8-D4D94992ED22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63903" y="2960399"/>
            <a:ext cx="2628477" cy="46860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E64A8B51-1A62-459A-8DD3-93B84E82D8DE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563903" y="4880033"/>
            <a:ext cx="2628477" cy="46860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B195F9B-18C2-43DD-8D28-DB82565A6159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563903" y="3562115"/>
            <a:ext cx="2628476" cy="828268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33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CF88AC67-0FCF-4070-8745-F2172B2CACC1}"/>
              </a:ext>
            </a:extLst>
          </p:cNvPr>
          <p:cNvSpPr>
            <a:spLocks noGrp="1"/>
          </p:cNvSpPr>
          <p:nvPr>
            <p:ph type="body" sz="quarter" idx="41"/>
          </p:nvPr>
        </p:nvSpPr>
        <p:spPr>
          <a:xfrm>
            <a:off x="563903" y="5489883"/>
            <a:ext cx="2628476" cy="828268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dirty="0"/>
            </a:lvl1pPr>
            <a:lvl2pPr>
              <a:lnSpc>
                <a:spcPct val="100000"/>
              </a:lnSpc>
              <a:defRPr lang="en-US" sz="933" dirty="0"/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0695B177-CA0C-4E8C-A61A-DBFC0E3A7C6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1444E932-C1FA-4694-B252-213CE981534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3904" y="255117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249D67FC-44E3-4A0F-B284-2778CCA9C971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58800" y="45168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4FEE173B-1D21-4AB4-A421-1AB61B9F8D89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584F5CA4-EDBB-48D4-AAFB-EA7E85ACF64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2722589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F01439ED-29DA-4405-95E2-BA47702ECDF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598498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C02DD20F-504D-C649-86C3-0A7F098F66D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8110017" y="986527"/>
            <a:ext cx="3518084" cy="4999727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93DBED3D-CA03-E943-B119-9872641B21DA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4336957" y="986527"/>
            <a:ext cx="3503571" cy="4999727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AB2924BE-0F83-44F9-8B78-9A892E0256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3431871" cy="12700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7350F883-4CBA-438B-9F10-05CAA3763AF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2612573"/>
            <a:ext cx="3421387" cy="96404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9CBC7F64-D22B-46D6-976F-39473E94D2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Content Placeholder 6">
            <a:extLst>
              <a:ext uri="{FF2B5EF4-FFF2-40B4-BE49-F238E27FC236}">
                <a16:creationId xmlns:a16="http://schemas.microsoft.com/office/drawing/2014/main" id="{A76585B6-D6AA-4B89-AF27-606CBEE93F5F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799" y="3776036"/>
            <a:ext cx="3426244" cy="2225208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>
              <a:defRPr sz="1067"/>
            </a:lvl2pPr>
            <a:lvl3pPr>
              <a:defRPr sz="800"/>
            </a:lvl3pPr>
            <a:lvl4pPr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AF259D3-3646-418A-ACF1-144AE8A5AA6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161CFB47-5D97-455D-9076-8BE7CF7DCA7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63426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and data -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C642F883-A541-DB46-9654-B4F21790C041}"/>
              </a:ext>
            </a:extLst>
          </p:cNvPr>
          <p:cNvCxnSpPr>
            <a:cxnSpLocks/>
          </p:cNvCxnSpPr>
          <p:nvPr/>
        </p:nvCxnSpPr>
        <p:spPr>
          <a:xfrm>
            <a:off x="563902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956930F6-4614-C940-AA31-EB153B9A3C14}"/>
              </a:ext>
            </a:extLst>
          </p:cNvPr>
          <p:cNvCxnSpPr>
            <a:cxnSpLocks/>
          </p:cNvCxnSpPr>
          <p:nvPr/>
        </p:nvCxnSpPr>
        <p:spPr>
          <a:xfrm>
            <a:off x="4337616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AE609397-087F-854B-9535-E4D803EA438C}"/>
              </a:ext>
            </a:extLst>
          </p:cNvPr>
          <p:cNvCxnSpPr>
            <a:cxnSpLocks/>
          </p:cNvCxnSpPr>
          <p:nvPr/>
        </p:nvCxnSpPr>
        <p:spPr>
          <a:xfrm>
            <a:off x="8125846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F6D98EE6-CE26-5746-9F24-417E0C5D93D7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513103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20%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756C9CF0-3AB5-A549-A273-298CB4402764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4308588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-300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47EE0A8E-A5BD-3644-A4C4-B97D607EF556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8089559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1"/>
                    </a:gs>
                    <a:gs pos="97000">
                      <a:schemeClr val="accent2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80+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8A16D6C-FD3D-414B-9631-678E295DE32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99F0397D-3C93-7845-879A-16F144523B4C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4164765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BA03067A-3923-2647-97D3-023C8639F1D2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B1FC53C6-F2F8-42A2-A49B-A9238A0EDAD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4756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data</a:t>
            </a:r>
          </a:p>
        </p:txBody>
      </p:sp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8A082190-6F7B-4BB6-90A3-08A8220E1F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A1FA8DC3-99FB-49CE-B894-90F025FACC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7" name="Footer Placeholder 3">
            <a:extLst>
              <a:ext uri="{FF2B5EF4-FFF2-40B4-BE49-F238E27FC236}">
                <a16:creationId xmlns:a16="http://schemas.microsoft.com/office/drawing/2014/main" id="{CAF1C110-2104-4113-AC2A-0735ED12996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976662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and data - 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D5F276A7-E979-4340-9836-CA9BE4464ED1}"/>
              </a:ext>
            </a:extLst>
          </p:cNvPr>
          <p:cNvCxnSpPr>
            <a:cxnSpLocks/>
          </p:cNvCxnSpPr>
          <p:nvPr/>
        </p:nvCxnSpPr>
        <p:spPr>
          <a:xfrm>
            <a:off x="563902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63936A3C-3E7D-9C41-9C09-B7B969F5C00B}"/>
              </a:ext>
            </a:extLst>
          </p:cNvPr>
          <p:cNvCxnSpPr>
            <a:cxnSpLocks/>
          </p:cNvCxnSpPr>
          <p:nvPr/>
        </p:nvCxnSpPr>
        <p:spPr>
          <a:xfrm>
            <a:off x="4337616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>
            <a:extLst>
              <a:ext uri="{FF2B5EF4-FFF2-40B4-BE49-F238E27FC236}">
                <a16:creationId xmlns:a16="http://schemas.microsoft.com/office/drawing/2014/main" id="{55D45874-2D43-0B46-A5F4-6E94698AFB20}"/>
              </a:ext>
            </a:extLst>
          </p:cNvPr>
          <p:cNvCxnSpPr>
            <a:cxnSpLocks/>
          </p:cNvCxnSpPr>
          <p:nvPr/>
        </p:nvCxnSpPr>
        <p:spPr>
          <a:xfrm>
            <a:off x="8125846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D83CB5A-02A6-8446-87FF-B791E6474486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513103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20%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D444B7E-7F71-4B46-976B-5429DA2173B3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4308588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-300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E00F2D7A-7571-4B4B-A546-B2325912C04B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8089559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5"/>
                    </a:gs>
                    <a:gs pos="97000">
                      <a:schemeClr val="accent6">
                        <a:lumMod val="60000"/>
                        <a:lumOff val="40000"/>
                      </a:schemeClr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80+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12EFBABB-5C70-4107-9088-C1B0E1BE156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ACC72060-E493-431B-8465-A5C938B0E36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4164765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B9A7DD94-38AB-4DFD-B3B1-7698117E5AA4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B2DA6EB3-F09E-4753-9759-61F5E48DA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8263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data</a:t>
            </a:r>
          </a:p>
        </p:txBody>
      </p:sp>
      <p:sp>
        <p:nvSpPr>
          <p:cNvPr id="25" name="Slide Number Placeholder 4">
            <a:extLst>
              <a:ext uri="{FF2B5EF4-FFF2-40B4-BE49-F238E27FC236}">
                <a16:creationId xmlns:a16="http://schemas.microsoft.com/office/drawing/2014/main" id="{95FD79ED-DC24-410F-98FA-8961227CA5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09419B13-A039-4394-A6EA-FE5AE56A5A7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73EE716-0BC0-46EB-9154-7E5AAA8CE83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438497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and data - oran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06B558A-BDEC-464B-B491-D9BC21129A9D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513103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3"/>
                    </a:gs>
                    <a:gs pos="97000">
                      <a:schemeClr val="accent4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20%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96ABD542-E4AD-F141-9F7C-F9D7647A7A44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4308588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3"/>
                    </a:gs>
                    <a:gs pos="97000">
                      <a:schemeClr val="accent4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-300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67E3190-6EA7-2940-AF53-00DFF865B774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8089559" y="3284433"/>
            <a:ext cx="3501661" cy="868700"/>
          </a:xfrm>
          <a:prstGeom prst="rect">
            <a:avLst/>
          </a:prstGeom>
        </p:spPr>
        <p:txBody>
          <a:bodyPr wrap="square" lIns="0" rIns="0" anchor="b" anchorCtr="0">
            <a:noAutofit/>
          </a:bodyPr>
          <a:lstStyle>
            <a:lvl1pPr marL="0" indent="0">
              <a:lnSpc>
                <a:spcPct val="90000"/>
              </a:lnSpc>
              <a:buNone/>
              <a:defRPr sz="6272" b="0" i="0" spc="0" baseline="0">
                <a:gradFill>
                  <a:gsLst>
                    <a:gs pos="0">
                      <a:schemeClr val="accent3"/>
                    </a:gs>
                    <a:gs pos="97000">
                      <a:schemeClr val="accent4"/>
                    </a:gs>
                  </a:gsLst>
                  <a:lin ang="5400000" scaled="0"/>
                </a:gra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80+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B58AAE14-673A-48C3-AB34-E203F644B8E4}"/>
              </a:ext>
            </a:extLst>
          </p:cNvPr>
          <p:cNvCxnSpPr>
            <a:cxnSpLocks/>
          </p:cNvCxnSpPr>
          <p:nvPr/>
        </p:nvCxnSpPr>
        <p:spPr>
          <a:xfrm>
            <a:off x="563902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3373FB8-5D9C-4D1B-987C-CE9B05227EC6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073D7130-65B2-418E-A28A-88D753AF2669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4164765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418B7352-50C9-4EB3-B44F-091AA75BB5B2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4160319"/>
            <a:ext cx="3501661" cy="1893879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Large succinct description here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25ABD418-4BFF-46CA-8258-2592F20AD1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8960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data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B8A52325-3C8A-4F56-829E-2C83AA7B78E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D4DB9AD6-305E-4CAC-884E-012D9656B7A1}"/>
              </a:ext>
            </a:extLst>
          </p:cNvPr>
          <p:cNvCxnSpPr>
            <a:cxnSpLocks/>
          </p:cNvCxnSpPr>
          <p:nvPr/>
        </p:nvCxnSpPr>
        <p:spPr>
          <a:xfrm>
            <a:off x="4337616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ABB1CD7A-4B2C-478A-8E8D-FA20C6C22242}"/>
              </a:ext>
            </a:extLst>
          </p:cNvPr>
          <p:cNvCxnSpPr>
            <a:cxnSpLocks/>
          </p:cNvCxnSpPr>
          <p:nvPr/>
        </p:nvCxnSpPr>
        <p:spPr>
          <a:xfrm>
            <a:off x="8125846" y="3013016"/>
            <a:ext cx="3501661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6DF1E74D-467C-4D1D-8B2D-9294B98C5C5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1" name="Footer Placeholder 3">
            <a:extLst>
              <a:ext uri="{FF2B5EF4-FFF2-40B4-BE49-F238E27FC236}">
                <a16:creationId xmlns:a16="http://schemas.microsoft.com/office/drawing/2014/main" id="{F50940B2-ABB8-4233-B366-97C29744D5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1013520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2 data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2462AB-6463-CF4C-ACBF-34DDFE050AC3}"/>
              </a:ext>
            </a:extLst>
          </p:cNvPr>
          <p:cNvCxnSpPr>
            <a:cxnSpLocks/>
          </p:cNvCxnSpPr>
          <p:nvPr/>
        </p:nvCxnSpPr>
        <p:spPr>
          <a:xfrm>
            <a:off x="8121723" y="993221"/>
            <a:ext cx="3506376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1776A2A-B671-AB4E-8FDB-35C6B7BE364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8124669" y="1845940"/>
            <a:ext cx="350637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of data option to highlight text with a color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F7A43E-8EF4-FE4A-ACFF-9F5A5EC847DE}"/>
              </a:ext>
            </a:extLst>
          </p:cNvPr>
          <p:cNvCxnSpPr>
            <a:cxnSpLocks/>
          </p:cNvCxnSpPr>
          <p:nvPr/>
        </p:nvCxnSpPr>
        <p:spPr>
          <a:xfrm>
            <a:off x="8121723" y="3346677"/>
            <a:ext cx="3506376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5778F89-154B-F240-B35E-F81B16D999D6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8124669" y="4199396"/>
            <a:ext cx="350637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of data option to highlight text with a color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A56877E-29E1-3742-BB24-CC81DFFFE5D8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1723" y="1045030"/>
            <a:ext cx="3506376" cy="800905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2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77%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900FC7C-DD9A-C846-843B-5642805FB71B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8121723" y="3390990"/>
            <a:ext cx="3506376" cy="800905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2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100,000+</a:t>
            </a: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A953F6CF-E655-4E7D-BDFB-6A551D28089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4896179" cy="3399937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 spc="0"/>
            </a:lvl1pPr>
            <a:lvl2pPr>
              <a:defRPr sz="1067" spc="0"/>
            </a:lvl2pPr>
            <a:lvl3pPr>
              <a:defRPr sz="800" spc="0"/>
            </a:lvl3pPr>
            <a:lvl4pPr>
              <a:defRPr sz="400" spc="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35A59425-FB4F-4C38-AD94-620219A101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3220"/>
            <a:ext cx="4901805" cy="170991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with key data right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11798FBB-8372-4722-82BF-FACDB6A640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4127422-6D86-4CED-ABA9-B9D18F6B22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28A8C1EF-D8F4-42D5-AAB0-CC93828312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180384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4 data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2462AB-6463-CF4C-ACBF-34DDFE050AC3}"/>
              </a:ext>
            </a:extLst>
          </p:cNvPr>
          <p:cNvCxnSpPr>
            <a:cxnSpLocks/>
          </p:cNvCxnSpPr>
          <p:nvPr/>
        </p:nvCxnSpPr>
        <p:spPr>
          <a:xfrm>
            <a:off x="9069052" y="993221"/>
            <a:ext cx="255904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1776A2A-B671-AB4E-8FDB-35C6B7BE364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9069051" y="1845940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F7A43E-8EF4-FE4A-ACFF-9F5A5EC847DE}"/>
              </a:ext>
            </a:extLst>
          </p:cNvPr>
          <p:cNvCxnSpPr>
            <a:cxnSpLocks/>
          </p:cNvCxnSpPr>
          <p:nvPr/>
        </p:nvCxnSpPr>
        <p:spPr>
          <a:xfrm>
            <a:off x="9084040" y="3346677"/>
            <a:ext cx="254405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5778F89-154B-F240-B35E-F81B16D999D6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9069051" y="4199396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8A56877E-29E1-3742-BB24-CC81DFFFE5D8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9066105" y="1052982"/>
            <a:ext cx="2561996" cy="688453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2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25,000+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4900FC7C-DD9A-C846-843B-5642805FB71B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9066105" y="3398942"/>
            <a:ext cx="2561996" cy="688453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2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30%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F9833B0-6B7A-714F-92F0-2318F3988881}"/>
              </a:ext>
            </a:extLst>
          </p:cNvPr>
          <p:cNvCxnSpPr>
            <a:cxnSpLocks/>
          </p:cNvCxnSpPr>
          <p:nvPr/>
        </p:nvCxnSpPr>
        <p:spPr>
          <a:xfrm>
            <a:off x="6235910" y="993221"/>
            <a:ext cx="255904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3FA3CBF-374B-A244-B5C0-E13E40FCC1EA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6235910" y="1845940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116D5F1-B389-8444-92F2-80861F0A60F1}"/>
              </a:ext>
            </a:extLst>
          </p:cNvPr>
          <p:cNvCxnSpPr>
            <a:cxnSpLocks/>
          </p:cNvCxnSpPr>
          <p:nvPr/>
        </p:nvCxnSpPr>
        <p:spPr>
          <a:xfrm>
            <a:off x="6250899" y="3346677"/>
            <a:ext cx="254405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325976-5126-7040-BC43-767BC0796538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6235910" y="4199396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284EF73E-6055-7549-9FBD-CCA53A9BB16F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6232963" y="1052982"/>
            <a:ext cx="2561996" cy="688453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2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77%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96A08685-9430-244D-BED6-B6CDCC29A954}"/>
              </a:ext>
            </a:extLst>
          </p:cNvPr>
          <p:cNvSpPr>
            <a:spLocks noGrp="1"/>
          </p:cNvSpPr>
          <p:nvPr>
            <p:ph type="body" sz="half" idx="28" hasCustomPrompt="1"/>
          </p:nvPr>
        </p:nvSpPr>
        <p:spPr>
          <a:xfrm>
            <a:off x="6232963" y="3398942"/>
            <a:ext cx="2561996" cy="688453"/>
          </a:xfrm>
          <a:prstGeom prst="rect">
            <a:avLst/>
          </a:prstGeom>
        </p:spPr>
        <p:txBody>
          <a:bodyPr wrap="square" lIns="0" rIns="0" anchor="ctr" anchorCtr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42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-50</a:t>
            </a:r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F0978613-50ED-4F51-BBE0-00F6975A767E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4833332" cy="341390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 spc="0"/>
            </a:lvl1pPr>
            <a:lvl2pPr>
              <a:defRPr sz="1067" spc="0"/>
            </a:lvl2pPr>
            <a:lvl3pPr>
              <a:defRPr sz="800" spc="0"/>
            </a:lvl3pPr>
            <a:lvl4pPr>
              <a:defRPr sz="400" spc="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08D8E3A7-A4BC-4E58-A3CD-1366DCB307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3222"/>
            <a:ext cx="4838960" cy="167508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with key data right</a:t>
            </a:r>
          </a:p>
        </p:txBody>
      </p:sp>
      <p:sp>
        <p:nvSpPr>
          <p:cNvPr id="38" name="Slide Number Placeholder 4">
            <a:extLst>
              <a:ext uri="{FF2B5EF4-FFF2-40B4-BE49-F238E27FC236}">
                <a16:creationId xmlns:a16="http://schemas.microsoft.com/office/drawing/2014/main" id="{EB927BF6-B7DB-457A-BD02-2BDF652259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316AFE74-19AA-44F5-A0EC-8E1A24A495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48461BE4-FEE8-4E08-94EF-CF8BE4A0F9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673694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2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2462AB-6463-CF4C-ACBF-34DDFE050AC3}"/>
              </a:ext>
            </a:extLst>
          </p:cNvPr>
          <p:cNvCxnSpPr>
            <a:cxnSpLocks/>
          </p:cNvCxnSpPr>
          <p:nvPr/>
        </p:nvCxnSpPr>
        <p:spPr>
          <a:xfrm>
            <a:off x="8121723" y="993221"/>
            <a:ext cx="3506376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1776A2A-B671-AB4E-8FDB-35C6B7BE364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8124669" y="1599573"/>
            <a:ext cx="3506376" cy="1565295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of data with option to highlight text with a color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F7A43E-8EF4-FE4A-ACFF-9F5A5EC847DE}"/>
              </a:ext>
            </a:extLst>
          </p:cNvPr>
          <p:cNvCxnSpPr>
            <a:cxnSpLocks/>
          </p:cNvCxnSpPr>
          <p:nvPr/>
        </p:nvCxnSpPr>
        <p:spPr>
          <a:xfrm>
            <a:off x="8121723" y="3346677"/>
            <a:ext cx="3506376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5778F89-154B-F240-B35E-F81B16D999D6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8124669" y="3953029"/>
            <a:ext cx="3506376" cy="1565295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2667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of data with option to highlight text with a color</a:t>
            </a:r>
          </a:p>
        </p:txBody>
      </p:sp>
      <p:sp>
        <p:nvSpPr>
          <p:cNvPr id="14" name="Content Placeholder 6">
            <a:extLst>
              <a:ext uri="{FF2B5EF4-FFF2-40B4-BE49-F238E27FC236}">
                <a16:creationId xmlns:a16="http://schemas.microsoft.com/office/drawing/2014/main" id="{A953F6CF-E655-4E7D-BDFB-6A551D280892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4896179" cy="3399937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 spc="0"/>
            </a:lvl1pPr>
            <a:lvl2pPr>
              <a:defRPr sz="1067" spc="0"/>
            </a:lvl2pPr>
            <a:lvl3pPr>
              <a:defRPr sz="800" spc="0"/>
            </a:lvl3pPr>
            <a:lvl4pPr>
              <a:defRPr sz="400" spc="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35A59425-FB4F-4C38-AD94-620219A101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3220"/>
            <a:ext cx="4901805" cy="170991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with key data right</a:t>
            </a:r>
          </a:p>
        </p:txBody>
      </p: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11798FBB-8372-4722-82BF-FACDB6A6402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4127422-6D86-4CED-ABA9-B9D18F6B22C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5" name="Footer Placeholder 3">
            <a:extLst>
              <a:ext uri="{FF2B5EF4-FFF2-40B4-BE49-F238E27FC236}">
                <a16:creationId xmlns:a16="http://schemas.microsoft.com/office/drawing/2014/main" id="{28A8C1EF-D8F4-42D5-AAB0-CC93828312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2BCAD04E-4C2E-418B-8D4E-04445E6DDC9B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8124670" y="1139204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CBDD70ED-054E-4BF0-8B6B-069CF8E5142B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8121723" y="347758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</p:spTree>
    <p:extLst>
      <p:ext uri="{BB962C8B-B14F-4D97-AF65-F5344CB8AC3E}">
        <p14:creationId xmlns:p14="http://schemas.microsoft.com/office/powerpoint/2010/main" val="18341351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and 4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A72462AB-6463-CF4C-ACBF-34DDFE050AC3}"/>
              </a:ext>
            </a:extLst>
          </p:cNvPr>
          <p:cNvCxnSpPr>
            <a:cxnSpLocks/>
          </p:cNvCxnSpPr>
          <p:nvPr/>
        </p:nvCxnSpPr>
        <p:spPr>
          <a:xfrm>
            <a:off x="9069052" y="993221"/>
            <a:ext cx="255904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1776A2A-B671-AB4E-8FDB-35C6B7BE364A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9069051" y="1612208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BF7A43E-8EF4-FE4A-ACFF-9F5A5EC847DE}"/>
              </a:ext>
            </a:extLst>
          </p:cNvPr>
          <p:cNvCxnSpPr>
            <a:cxnSpLocks/>
          </p:cNvCxnSpPr>
          <p:nvPr/>
        </p:nvCxnSpPr>
        <p:spPr>
          <a:xfrm>
            <a:off x="9084040" y="3346677"/>
            <a:ext cx="254405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65778F89-154B-F240-B35E-F81B16D999D6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9069051" y="3965664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8F9833B0-6B7A-714F-92F0-2318F3988881}"/>
              </a:ext>
            </a:extLst>
          </p:cNvPr>
          <p:cNvCxnSpPr>
            <a:cxnSpLocks/>
          </p:cNvCxnSpPr>
          <p:nvPr/>
        </p:nvCxnSpPr>
        <p:spPr>
          <a:xfrm>
            <a:off x="6235910" y="993221"/>
            <a:ext cx="255904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D3FA3CBF-374B-A244-B5C0-E13E40FCC1EA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6235910" y="1612208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1116D5F1-B389-8444-92F2-80861F0A60F1}"/>
              </a:ext>
            </a:extLst>
          </p:cNvPr>
          <p:cNvCxnSpPr>
            <a:cxnSpLocks/>
          </p:cNvCxnSpPr>
          <p:nvPr/>
        </p:nvCxnSpPr>
        <p:spPr>
          <a:xfrm>
            <a:off x="6250899" y="3346677"/>
            <a:ext cx="2544059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325976-5126-7040-BC43-767BC0796538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6235910" y="3965664"/>
            <a:ext cx="2561996" cy="1324481"/>
          </a:xfrm>
          <a:prstGeom prst="rect">
            <a:avLst/>
          </a:prstGeom>
        </p:spPr>
        <p:txBody>
          <a:bodyPr wrap="square" lIns="0" rIns="0">
            <a:no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buNone/>
              <a:defRPr sz="1600" b="0" i="0" spc="0" baseline="0"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Description with highlight option important fact</a:t>
            </a:r>
          </a:p>
        </p:txBody>
      </p:sp>
      <p:sp>
        <p:nvSpPr>
          <p:cNvPr id="25" name="Content Placeholder 6">
            <a:extLst>
              <a:ext uri="{FF2B5EF4-FFF2-40B4-BE49-F238E27FC236}">
                <a16:creationId xmlns:a16="http://schemas.microsoft.com/office/drawing/2014/main" id="{F0978613-50ED-4F51-BBE0-00F6975A767E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4833332" cy="3413905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 spc="0"/>
            </a:lvl1pPr>
            <a:lvl2pPr>
              <a:defRPr sz="1067" spc="0"/>
            </a:lvl2pPr>
            <a:lvl3pPr>
              <a:defRPr sz="800" spc="0"/>
            </a:lvl3pPr>
            <a:lvl4pPr>
              <a:defRPr sz="400" spc="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Title Placeholder 1">
            <a:extLst>
              <a:ext uri="{FF2B5EF4-FFF2-40B4-BE49-F238E27FC236}">
                <a16:creationId xmlns:a16="http://schemas.microsoft.com/office/drawing/2014/main" id="{08D8E3A7-A4BC-4E58-A3CD-1366DCB307D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3222"/>
            <a:ext cx="4838960" cy="167508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with key data right</a:t>
            </a:r>
          </a:p>
        </p:txBody>
      </p:sp>
      <p:sp>
        <p:nvSpPr>
          <p:cNvPr id="38" name="Slide Number Placeholder 4">
            <a:extLst>
              <a:ext uri="{FF2B5EF4-FFF2-40B4-BE49-F238E27FC236}">
                <a16:creationId xmlns:a16="http://schemas.microsoft.com/office/drawing/2014/main" id="{EB927BF6-B7DB-457A-BD02-2BDF6522593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316AFE74-19AA-44F5-A0EC-8E1A24A4951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48461BE4-FEE8-4E08-94EF-CF8BE4A0F9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1529625F-7DEE-402F-BCC7-E3F6B1DFA885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50899" y="1147648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F6839659-BE0B-4010-92F6-DAEB5D615CD4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50899" y="347971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7A83BDD0-E718-4437-ADC5-FDF817E32F41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084040" y="114663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FD13EB52-63CB-4ADD-B22D-D9D6F1D697A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9084040" y="3478699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</p:spTree>
    <p:extLst>
      <p:ext uri="{BB962C8B-B14F-4D97-AF65-F5344CB8AC3E}">
        <p14:creationId xmlns:p14="http://schemas.microsoft.com/office/powerpoint/2010/main" val="26379268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825D1DB-33F5-3C4E-9082-E33280F7438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61000" y="2794000"/>
            <a:ext cx="1270000" cy="1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21802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eature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6109FABB-685C-064C-97C0-CDEBA83E6A90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75128" y="1681972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867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A94773F4-AAB7-E940-B2A8-EFEBE8948C45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575128" y="3237202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867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67" name="Text Placeholder 3">
            <a:extLst>
              <a:ext uri="{FF2B5EF4-FFF2-40B4-BE49-F238E27FC236}">
                <a16:creationId xmlns:a16="http://schemas.microsoft.com/office/drawing/2014/main" id="{282895ED-6050-3747-8F02-64EC64223ADF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575128" y="4792431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867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87" name="Picture Placeholder 2">
            <a:extLst>
              <a:ext uri="{FF2B5EF4-FFF2-40B4-BE49-F238E27FC236}">
                <a16:creationId xmlns:a16="http://schemas.microsoft.com/office/drawing/2014/main" id="{323133DF-7BD6-514D-BEB7-88A3F593064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803160" y="831957"/>
            <a:ext cx="6603168" cy="5321508"/>
          </a:xfrm>
          <a:prstGeom prst="rect">
            <a:avLst/>
          </a:prstGeom>
          <a:solidFill>
            <a:srgbClr val="121212"/>
          </a:solidFill>
        </p:spPr>
        <p:txBody>
          <a:bodyPr anchor="t" anchorCtr="0">
            <a:noAutofit/>
          </a:bodyPr>
          <a:lstStyle>
            <a:lvl1pPr marL="0" indent="0" algn="ctr">
              <a:buNone/>
              <a:defRPr sz="2509" spc="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1" name="Slide Number Placeholder 4">
            <a:extLst>
              <a:ext uri="{FF2B5EF4-FFF2-40B4-BE49-F238E27FC236}">
                <a16:creationId xmlns:a16="http://schemas.microsoft.com/office/drawing/2014/main" id="{1D2CC720-C5B4-48FE-A1CD-BA2700675B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2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825B61A-3A85-4882-BBB1-5D9D49DE8B11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5128" y="2033026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33" dirty="0">
                <a:solidFill>
                  <a:schemeClr val="tx2"/>
                </a:solidFill>
              </a:defRPr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77C9AC3-9E3A-4EA8-B187-A1C1A3FCF4EC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75128" y="3586888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302676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33" dirty="0">
                <a:solidFill>
                  <a:schemeClr val="tx2"/>
                </a:solidFill>
              </a:defRPr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5D3C119-BE92-4F78-B40B-2CD0BA25798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75128" y="5140751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33" dirty="0">
                <a:solidFill>
                  <a:schemeClr val="tx2"/>
                </a:solidFill>
              </a:defRPr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85E9FFB8-448F-4BEB-9062-AE6453AC476B}"/>
              </a:ext>
            </a:extLst>
          </p:cNvPr>
          <p:cNvSpPr>
            <a:spLocks noGrp="1"/>
          </p:cNvSpPr>
          <p:nvPr>
            <p:ph type="body" sz="half" idx="48" hasCustomPrompt="1"/>
          </p:nvPr>
        </p:nvSpPr>
        <p:spPr>
          <a:xfrm>
            <a:off x="9742445" y="1682132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867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490D1BE3-656B-4816-8D7F-6B972EE99B30}"/>
              </a:ext>
            </a:extLst>
          </p:cNvPr>
          <p:cNvSpPr>
            <a:spLocks noGrp="1"/>
          </p:cNvSpPr>
          <p:nvPr>
            <p:ph type="body" sz="half" idx="50" hasCustomPrompt="1"/>
          </p:nvPr>
        </p:nvSpPr>
        <p:spPr>
          <a:xfrm>
            <a:off x="9742445" y="3237362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867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08A5BB13-4AE6-4F94-B95C-2999ADC2964E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9742445" y="4792591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867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D5A01B2D-2DD4-48BE-9168-CD41BD2A052C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9742445" y="2033186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33" dirty="0">
                <a:solidFill>
                  <a:schemeClr val="tx2"/>
                </a:solidFill>
              </a:defRPr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E50C3374-25F2-4497-910F-A7F20424C332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9742445" y="3587048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33" dirty="0">
                <a:solidFill>
                  <a:schemeClr val="tx2"/>
                </a:solidFill>
              </a:defRPr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7280B0E9-BE28-4C9B-8368-AB8CBD61305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9742445" y="5140911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None/>
              <a:defRPr lang="en-US" sz="933" spc="0" dirty="0">
                <a:solidFill>
                  <a:schemeClr val="tx2"/>
                </a:solidFill>
              </a:defRPr>
            </a:lvl2pPr>
          </a:lstStyle>
          <a:p>
            <a:pPr marL="302676" lvl="0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76" lvl="1" indent="-302676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DB88346-186B-44A2-ACB8-13C6075E17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9008" y="1282135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423CEAC7-9351-44C0-8650-685B42C7DB3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69008" y="283365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92DA7B38-9444-4EC2-8018-21FD1A285F3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569008" y="4385168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9E1862F-9EB8-4655-8F44-7F8EAF7C5A2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742446" y="1296068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09882002-4CDE-4869-868F-E43E999F39D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742446" y="2847584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72D80060-E102-442A-9C04-C7B7F0A30E6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742446" y="43991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5EB31E36-A45C-4CA4-BAD6-608235E681A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BA87D479-30B1-45F9-9188-C9837378F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6001795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1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4" name="Picture 33">
            <a:extLst>
              <a:ext uri="{FF2B5EF4-FFF2-40B4-BE49-F238E27FC236}">
                <a16:creationId xmlns:a16="http://schemas.microsoft.com/office/drawing/2014/main" id="{FB7DABE0-8F22-F041-8366-E2731CE05EE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1835" y="1591765"/>
            <a:ext cx="280579" cy="224463"/>
          </a:xfrm>
          <a:prstGeom prst="rect">
            <a:avLst/>
          </a:prstGeom>
        </p:spPr>
      </p:pic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C865750-8F0C-6B4A-A308-228D6B53EE0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01837" y="4666993"/>
            <a:ext cx="6314695" cy="22775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333" b="1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254B061-C071-4247-8356-D55F1F50C5D6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01837" y="4952059"/>
            <a:ext cx="6314695" cy="18229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067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1E9F3EB2-8419-DA47-B375-D5E047B95E78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C4105021-0C0A-411C-AAFB-43C46FF3DF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8E7470-A9D2-4756-B67E-9B25728B0E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anchor="t" anchorCtr="0">
            <a:normAutofit/>
          </a:bodyPr>
          <a:lstStyle>
            <a:lvl1pPr marL="0" indent="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08A76CFF-C17D-4391-AA7D-BE96902F888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64CA91EC-3163-7644-886D-5ED1A8B68D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2331585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2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5D7582C7-D8A5-B844-99D4-FF1EF0B2678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1835" y="1591765"/>
            <a:ext cx="280579" cy="224463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24AD1EDD-48E3-1149-9699-942910AF654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40F001CB-6071-495E-8B33-0D4D8B9A5C6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01837" y="4666993"/>
            <a:ext cx="6314695" cy="22775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333" b="1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FD410D66-33BB-4469-B397-AE29D77038D2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01837" y="4952059"/>
            <a:ext cx="6314695" cy="18229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067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30F2DE5F-07B7-44AB-9AE4-5A490A346A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BEB9C626-772E-423A-A83B-FDDBB19DAEB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0000"/>
              </a:lnSpc>
              <a:defRPr lang="en-US" sz="400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Click to add quotation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D580096A-CA76-40B6-AE91-9B571CCD5D3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0C301F8F-9657-4D42-A3E2-D5C297D4937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0955104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3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C8151F1-B4B3-4946-ABEC-1380FC0939C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1835" y="1591765"/>
            <a:ext cx="280579" cy="224463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4E73A939-ABFE-FF48-B40B-0547237F3E1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3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33BA5D9-8DD3-44FA-97F1-0BE7E11890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01837" y="4666993"/>
            <a:ext cx="6314695" cy="22775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333" b="1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34D1A77-E568-4CF9-B725-C0D0BF9F82C5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01837" y="4952059"/>
            <a:ext cx="6314695" cy="18229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067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41AF0EE6-B3C9-4B84-B580-E17BEB0703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066B250-A33F-47B7-BFD8-B70059A3BAA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0000"/>
              </a:lnSpc>
              <a:defRPr lang="en-US" sz="400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Click to add quotation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6B4E9C83-79F0-4C4D-8790-0879E16319C4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11787F27-6C12-1C4F-B427-BCADDA63180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715150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C8151F1-B4B3-4946-ABEC-1380FC0939C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1835" y="1591765"/>
            <a:ext cx="280579" cy="224463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33BA5D9-8DD3-44FA-97F1-0BE7E11890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01837" y="4666993"/>
            <a:ext cx="6314695" cy="22775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333" b="1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34D1A77-E568-4CF9-B725-C0D0BF9F82C5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01837" y="4952059"/>
            <a:ext cx="6314695" cy="18229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067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41AF0EE6-B3C9-4B84-B580-E17BEB0703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47AAE0F-8337-4F73-9DD9-D379B007EF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0000"/>
              </a:lnSpc>
              <a:defRPr lang="en-US" sz="400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Click to add quotation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82D5AC4-DFBC-4215-B31F-BE1599178FF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55ACF69D-BB42-FF47-8DEC-EC2E42897E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270428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Quote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>
            <a:extLst>
              <a:ext uri="{FF2B5EF4-FFF2-40B4-BE49-F238E27FC236}">
                <a16:creationId xmlns:a16="http://schemas.microsoft.com/office/drawing/2014/main" id="{BC8151F1-B4B3-4946-ABEC-1380FC0939C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401835" y="1591765"/>
            <a:ext cx="280579" cy="224463"/>
          </a:xfrm>
          <a:prstGeom prst="rect">
            <a:avLst/>
          </a:prstGeom>
        </p:spPr>
      </p:pic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F33BA5D9-8DD3-44FA-97F1-0BE7E11890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54742" y="4832497"/>
            <a:ext cx="6314695" cy="227755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333" b="1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,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C34D1A77-E568-4CF9-B725-C0D0BF9F82C5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4554742" y="5117563"/>
            <a:ext cx="6314695" cy="182294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067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23" name="Slide Number Placeholder 4">
            <a:extLst>
              <a:ext uri="{FF2B5EF4-FFF2-40B4-BE49-F238E27FC236}">
                <a16:creationId xmlns:a16="http://schemas.microsoft.com/office/drawing/2014/main" id="{41AF0EE6-B3C9-4B84-B580-E17BEB07030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747AAE0F-8337-4F73-9DD9-D379B007EFD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0000"/>
              </a:lnSpc>
              <a:defRPr lang="en-US" sz="400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Click to add quotation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82D5AC4-DFBC-4215-B31F-BE1599178FF3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Picture Placeholder 2">
            <a:extLst>
              <a:ext uri="{FF2B5EF4-FFF2-40B4-BE49-F238E27FC236}">
                <a16:creationId xmlns:a16="http://schemas.microsoft.com/office/drawing/2014/main" id="{E376C552-F9A8-7E4A-8D26-C2DA4C751B5A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3401835" y="4542367"/>
            <a:ext cx="1003300" cy="1003300"/>
          </a:xfrm>
          <a:prstGeom prst="ellipse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67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5C90B39F-EC74-9C4E-901C-C3AB7D8EBBA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689493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GR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A712B4B-CA11-4116-8559-6D5A2D1AD8D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1"/>
            <a:ext cx="5384800" cy="3343785"/>
          </a:xfrm>
        </p:spPr>
        <p:txBody>
          <a:bodyPr>
            <a:noAutofit/>
          </a:bodyPr>
          <a:lstStyle>
            <a:lvl1pPr marL="228594" indent="-228594">
              <a:lnSpc>
                <a:spcPct val="140000"/>
              </a:lnSpc>
              <a:buFont typeface="Arial" panose="020B0604020202020204" pitchFamily="34" charset="0"/>
              <a:buChar char="•"/>
              <a:defRPr sz="1333"/>
            </a:lvl1pPr>
            <a:lvl2pPr>
              <a:lnSpc>
                <a:spcPct val="140000"/>
              </a:lnSpc>
              <a:defRPr sz="1067"/>
            </a:lvl2pPr>
            <a:lvl3pPr>
              <a:lnSpc>
                <a:spcPct val="140000"/>
              </a:lnSpc>
              <a:defRPr sz="800"/>
            </a:lvl3pPr>
            <a:lvl4pPr>
              <a:lnSpc>
                <a:spcPct val="140000"/>
              </a:lnSpc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60107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Turn guides on to use this slide’s grid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3984B84-E026-4120-A200-04C1B3AFF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814B2EEA-5915-42C8-9003-8974AFE90EA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B859ACCB-8619-4E02-BC00-0846527E11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531555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880">
          <p15:clr>
            <a:srgbClr val="FBAE40"/>
          </p15:clr>
        </p15:guide>
        <p15:guide id="2" pos="2496">
          <p15:clr>
            <a:srgbClr val="FBAE40"/>
          </p15:clr>
        </p15:guide>
        <p15:guide id="3" pos="2376">
          <p15:clr>
            <a:srgbClr val="FBAE40"/>
          </p15:clr>
        </p15:guide>
        <p15:guide id="4" pos="1920">
          <p15:clr>
            <a:srgbClr val="FBAE40"/>
          </p15:clr>
        </p15:guide>
        <p15:guide id="5" pos="2040">
          <p15:clr>
            <a:srgbClr val="FBAE40"/>
          </p15:clr>
        </p15:guide>
        <p15:guide id="6" pos="1608">
          <p15:clr>
            <a:srgbClr val="FBAE40"/>
          </p15:clr>
        </p15:guide>
        <p15:guide id="7" pos="1464">
          <p15:clr>
            <a:srgbClr val="FBAE40"/>
          </p15:clr>
        </p15:guide>
        <p15:guide id="8" pos="1152">
          <p15:clr>
            <a:srgbClr val="FBAE40"/>
          </p15:clr>
        </p15:guide>
        <p15:guide id="9" pos="1032">
          <p15:clr>
            <a:srgbClr val="FBAE40"/>
          </p15:clr>
        </p15:guide>
        <p15:guide id="10" pos="720">
          <p15:clr>
            <a:srgbClr val="FBAE40"/>
          </p15:clr>
        </p15:guide>
        <p15:guide id="11" pos="600">
          <p15:clr>
            <a:srgbClr val="FBAE40"/>
          </p15:clr>
        </p15:guide>
        <p15:guide id="12" pos="3264">
          <p15:clr>
            <a:srgbClr val="FBAE40"/>
          </p15:clr>
        </p15:guide>
        <p15:guide id="13" pos="3384">
          <p15:clr>
            <a:srgbClr val="FBAE40"/>
          </p15:clr>
        </p15:guide>
        <p15:guide id="14" pos="3720">
          <p15:clr>
            <a:srgbClr val="FBAE40"/>
          </p15:clr>
        </p15:guide>
        <p15:guide id="15" pos="3840">
          <p15:clr>
            <a:srgbClr val="FBAE40"/>
          </p15:clr>
        </p15:guide>
        <p15:guide id="16" pos="4152">
          <p15:clr>
            <a:srgbClr val="FBAE40"/>
          </p15:clr>
        </p15:guide>
        <p15:guide id="17" pos="4296">
          <p15:clr>
            <a:srgbClr val="FBAE40"/>
          </p15:clr>
        </p15:guide>
        <p15:guide id="18" pos="4608">
          <p15:clr>
            <a:srgbClr val="FBAE40"/>
          </p15:clr>
        </p15:guide>
        <p15:guide id="19" pos="4728">
          <p15:clr>
            <a:srgbClr val="FBAE40"/>
          </p15:clr>
        </p15:guide>
        <p15:guide id="20" pos="5040">
          <p15:clr>
            <a:srgbClr val="FBAE40"/>
          </p15:clr>
        </p15:guide>
        <p15:guide id="21" pos="5184">
          <p15:clr>
            <a:srgbClr val="FBAE40"/>
          </p15:clr>
        </p15:guide>
      </p15:sldGuideLst>
    </p:ext>
  </p:extLst>
</p:sldLayout>
</file>

<file path=ppt/slideLayouts/slideLayout6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ogo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825D1DB-33F5-3C4E-9082-E33280F74383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61000" y="2794000"/>
            <a:ext cx="1270000" cy="127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00731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63C86CC-9F1B-4BC4-B31D-B1F8DE70F5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1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4C5D01-C630-4FFC-963D-B04C145573CD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203395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alk-In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White text on a black background&#10;&#10;Description automatically generated">
            <a:extLst>
              <a:ext uri="{FF2B5EF4-FFF2-40B4-BE49-F238E27FC236}">
                <a16:creationId xmlns:a16="http://schemas.microsoft.com/office/drawing/2014/main" id="{D5BB9873-DDD3-6D58-217C-11DD45734BF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294" y="3161401"/>
            <a:ext cx="4011516" cy="3164099"/>
          </a:xfrm>
          <a:prstGeom prst="rect">
            <a:avLst/>
          </a:prstGeom>
        </p:spPr>
      </p:pic>
      <p:pic>
        <p:nvPicPr>
          <p:cNvPr id="3" name="Picture 2" descr="A black and white logo&#10;&#10;Description automatically generated">
            <a:extLst>
              <a:ext uri="{FF2B5EF4-FFF2-40B4-BE49-F238E27FC236}">
                <a16:creationId xmlns:a16="http://schemas.microsoft.com/office/drawing/2014/main" id="{3E1B557C-8778-E082-952D-AA4A3B16D4E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4627" y="6179766"/>
            <a:ext cx="1331924" cy="37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78154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Title Onl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Background pattern&#10;&#10;Description automatically generated">
            <a:extLst>
              <a:ext uri="{FF2B5EF4-FFF2-40B4-BE49-F238E27FC236}">
                <a16:creationId xmlns:a16="http://schemas.microsoft.com/office/drawing/2014/main" id="{CCC515E2-3D3F-4244-8E12-C4983AEE8D4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bg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CD7246-18F0-9449-830E-610CFE4B430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5" y="6390603"/>
            <a:ext cx="382947" cy="93184"/>
          </a:xfrm>
          <a:prstGeom prst="rect">
            <a:avLst/>
          </a:prstGeom>
        </p:spPr>
      </p:pic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0901BFEB-4EC1-5546-8CB9-5458EA8BFB70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7030C35B-EFD4-F346-AB2B-A3DEF9B9CD7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0000"/>
              </a:lnSpc>
              <a:defRPr lang="en-US" sz="4000" dirty="0">
                <a:solidFill>
                  <a:schemeClr val="bg1"/>
                </a:solidFill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Big message slide. </a:t>
            </a:r>
          </a:p>
        </p:txBody>
      </p:sp>
    </p:spTree>
    <p:extLst>
      <p:ext uri="{BB962C8B-B14F-4D97-AF65-F5344CB8AC3E}">
        <p14:creationId xmlns:p14="http://schemas.microsoft.com/office/powerpoint/2010/main" val="34735455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Layou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White text on a black background&#10;&#10;Description automatically generated">
            <a:extLst>
              <a:ext uri="{FF2B5EF4-FFF2-40B4-BE49-F238E27FC236}">
                <a16:creationId xmlns:a16="http://schemas.microsoft.com/office/drawing/2014/main" id="{73281979-CD76-F913-3E1F-D68AB6AB66B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294" y="465829"/>
            <a:ext cx="3713908" cy="2929359"/>
          </a:xfrm>
          <a:prstGeom prst="rect">
            <a:avLst/>
          </a:prstGeom>
        </p:spPr>
      </p:pic>
      <p:pic>
        <p:nvPicPr>
          <p:cNvPr id="3" name="Picture 2" descr="A black and white logo&#10;&#10;Description automatically generated">
            <a:extLst>
              <a:ext uri="{FF2B5EF4-FFF2-40B4-BE49-F238E27FC236}">
                <a16:creationId xmlns:a16="http://schemas.microsoft.com/office/drawing/2014/main" id="{3E1B557C-8778-E082-952D-AA4A3B16D4E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4627" y="6179766"/>
            <a:ext cx="1331924" cy="37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39531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Layou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White text on a black background&#10;&#10;Description automatically generated">
            <a:extLst>
              <a:ext uri="{FF2B5EF4-FFF2-40B4-BE49-F238E27FC236}">
                <a16:creationId xmlns:a16="http://schemas.microsoft.com/office/drawing/2014/main" id="{CD2E8120-C26B-9DCA-3C71-4E79F9BA2BE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294" y="3161401"/>
            <a:ext cx="4011516" cy="3164099"/>
          </a:xfrm>
          <a:prstGeom prst="rect">
            <a:avLst/>
          </a:prstGeom>
        </p:spPr>
      </p:pic>
      <p:pic>
        <p:nvPicPr>
          <p:cNvPr id="2" name="Picture 1" descr="A black and white logo&#10;&#10;Description automatically generated">
            <a:extLst>
              <a:ext uri="{FF2B5EF4-FFF2-40B4-BE49-F238E27FC236}">
                <a16:creationId xmlns:a16="http://schemas.microsoft.com/office/drawing/2014/main" id="{ABBDB9B6-1837-5171-38CB-B494D31CA46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4627" y="6179766"/>
            <a:ext cx="1331924" cy="37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1371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Layou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2" y="4869791"/>
            <a:ext cx="7277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66" indent="0">
              <a:buNone/>
              <a:defRPr sz="1351"/>
            </a:lvl2pPr>
            <a:lvl3pPr marL="882127" indent="0">
              <a:buNone/>
              <a:defRPr sz="1157"/>
            </a:lvl3pPr>
            <a:lvl4pPr marL="1323194" indent="0">
              <a:buNone/>
              <a:defRPr sz="965"/>
            </a:lvl4pPr>
            <a:lvl5pPr marL="1764256" indent="0">
              <a:buNone/>
              <a:defRPr sz="965"/>
            </a:lvl5pPr>
            <a:lvl6pPr marL="2205322" indent="0">
              <a:buNone/>
              <a:defRPr sz="965"/>
            </a:lvl6pPr>
            <a:lvl7pPr marL="2646383" indent="0">
              <a:buNone/>
              <a:defRPr sz="965"/>
            </a:lvl7pPr>
            <a:lvl8pPr marL="3087448" indent="0">
              <a:buNone/>
              <a:defRPr sz="965"/>
            </a:lvl8pPr>
            <a:lvl9pPr marL="3528513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1502" y="5248893"/>
            <a:ext cx="7277100" cy="1846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66" indent="0">
              <a:buNone/>
              <a:defRPr sz="1351"/>
            </a:lvl2pPr>
            <a:lvl3pPr marL="882127" indent="0">
              <a:buNone/>
              <a:defRPr sz="1157"/>
            </a:lvl3pPr>
            <a:lvl4pPr marL="1323194" indent="0">
              <a:buNone/>
              <a:defRPr sz="965"/>
            </a:lvl4pPr>
            <a:lvl5pPr marL="1764256" indent="0">
              <a:buNone/>
              <a:defRPr sz="965"/>
            </a:lvl5pPr>
            <a:lvl6pPr marL="2205322" indent="0">
              <a:buNone/>
              <a:defRPr sz="965"/>
            </a:lvl6pPr>
            <a:lvl7pPr marL="2646383" indent="0">
              <a:buNone/>
              <a:defRPr sz="965"/>
            </a:lvl7pPr>
            <a:lvl8pPr marL="3087448" indent="0">
              <a:buNone/>
              <a:defRPr sz="965"/>
            </a:lvl8pPr>
            <a:lvl9pPr marL="3528513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2" y="1790703"/>
            <a:ext cx="7277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1" y="3431820"/>
            <a:ext cx="7277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66" indent="0">
              <a:buNone/>
              <a:defRPr sz="1351"/>
            </a:lvl2pPr>
            <a:lvl3pPr marL="882127" indent="0">
              <a:buNone/>
              <a:defRPr sz="1157"/>
            </a:lvl3pPr>
            <a:lvl4pPr marL="1323194" indent="0">
              <a:buNone/>
              <a:defRPr sz="965"/>
            </a:lvl4pPr>
            <a:lvl5pPr marL="1764256" indent="0">
              <a:buNone/>
              <a:defRPr sz="965"/>
            </a:lvl5pPr>
            <a:lvl6pPr marL="2205322" indent="0">
              <a:buNone/>
              <a:defRPr sz="965"/>
            </a:lvl6pPr>
            <a:lvl7pPr marL="2646383" indent="0">
              <a:buNone/>
              <a:defRPr sz="965"/>
            </a:lvl7pPr>
            <a:lvl8pPr marL="3087448" indent="0">
              <a:buNone/>
              <a:defRPr sz="965"/>
            </a:lvl8pPr>
            <a:lvl9pPr marL="3528513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2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pic>
        <p:nvPicPr>
          <p:cNvPr id="3" name="Picture 2" descr="A black and white logo&#10;&#10;Description automatically generated">
            <a:extLst>
              <a:ext uri="{FF2B5EF4-FFF2-40B4-BE49-F238E27FC236}">
                <a16:creationId xmlns:a16="http://schemas.microsoft.com/office/drawing/2014/main" id="{3E1B557C-8778-E082-952D-AA4A3B16D4E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4627" y="6179766"/>
            <a:ext cx="1331924" cy="37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965693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Layou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2" y="4869791"/>
            <a:ext cx="7277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66" indent="0">
              <a:buNone/>
              <a:defRPr sz="1351"/>
            </a:lvl2pPr>
            <a:lvl3pPr marL="882127" indent="0">
              <a:buNone/>
              <a:defRPr sz="1157"/>
            </a:lvl3pPr>
            <a:lvl4pPr marL="1323194" indent="0">
              <a:buNone/>
              <a:defRPr sz="965"/>
            </a:lvl4pPr>
            <a:lvl5pPr marL="1764256" indent="0">
              <a:buNone/>
              <a:defRPr sz="965"/>
            </a:lvl5pPr>
            <a:lvl6pPr marL="2205322" indent="0">
              <a:buNone/>
              <a:defRPr sz="965"/>
            </a:lvl6pPr>
            <a:lvl7pPr marL="2646383" indent="0">
              <a:buNone/>
              <a:defRPr sz="965"/>
            </a:lvl7pPr>
            <a:lvl8pPr marL="3087448" indent="0">
              <a:buNone/>
              <a:defRPr sz="965"/>
            </a:lvl8pPr>
            <a:lvl9pPr marL="3528513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1502" y="5248893"/>
            <a:ext cx="7277100" cy="1846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66" indent="0">
              <a:buNone/>
              <a:defRPr sz="1351"/>
            </a:lvl2pPr>
            <a:lvl3pPr marL="882127" indent="0">
              <a:buNone/>
              <a:defRPr sz="1157"/>
            </a:lvl3pPr>
            <a:lvl4pPr marL="1323194" indent="0">
              <a:buNone/>
              <a:defRPr sz="965"/>
            </a:lvl4pPr>
            <a:lvl5pPr marL="1764256" indent="0">
              <a:buNone/>
              <a:defRPr sz="965"/>
            </a:lvl5pPr>
            <a:lvl6pPr marL="2205322" indent="0">
              <a:buNone/>
              <a:defRPr sz="965"/>
            </a:lvl6pPr>
            <a:lvl7pPr marL="2646383" indent="0">
              <a:buNone/>
              <a:defRPr sz="965"/>
            </a:lvl7pPr>
            <a:lvl8pPr marL="3087448" indent="0">
              <a:buNone/>
              <a:defRPr sz="965"/>
            </a:lvl8pPr>
            <a:lvl9pPr marL="3528513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2" y="1790703"/>
            <a:ext cx="7277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1" y="3431820"/>
            <a:ext cx="7277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66" indent="0">
              <a:buNone/>
              <a:defRPr sz="1351"/>
            </a:lvl2pPr>
            <a:lvl3pPr marL="882127" indent="0">
              <a:buNone/>
              <a:defRPr sz="1157"/>
            </a:lvl3pPr>
            <a:lvl4pPr marL="1323194" indent="0">
              <a:buNone/>
              <a:defRPr sz="965"/>
            </a:lvl4pPr>
            <a:lvl5pPr marL="1764256" indent="0">
              <a:buNone/>
              <a:defRPr sz="965"/>
            </a:lvl5pPr>
            <a:lvl6pPr marL="2205322" indent="0">
              <a:buNone/>
              <a:defRPr sz="965"/>
            </a:lvl6pPr>
            <a:lvl7pPr marL="2646383" indent="0">
              <a:buNone/>
              <a:defRPr sz="965"/>
            </a:lvl7pPr>
            <a:lvl8pPr marL="3087448" indent="0">
              <a:buNone/>
              <a:defRPr sz="965"/>
            </a:lvl8pPr>
            <a:lvl9pPr marL="3528513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2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pic>
        <p:nvPicPr>
          <p:cNvPr id="3" name="Picture 2" descr="A black and white logo&#10;&#10;Description automatically generated">
            <a:extLst>
              <a:ext uri="{FF2B5EF4-FFF2-40B4-BE49-F238E27FC236}">
                <a16:creationId xmlns:a16="http://schemas.microsoft.com/office/drawing/2014/main" id="{3E1B557C-8778-E082-952D-AA4A3B16D4E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4627" y="6179766"/>
            <a:ext cx="1331924" cy="37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7607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Layou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2" y="4869791"/>
            <a:ext cx="7277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66" indent="0">
              <a:buNone/>
              <a:defRPr sz="1351"/>
            </a:lvl2pPr>
            <a:lvl3pPr marL="882127" indent="0">
              <a:buNone/>
              <a:defRPr sz="1157"/>
            </a:lvl3pPr>
            <a:lvl4pPr marL="1323194" indent="0">
              <a:buNone/>
              <a:defRPr sz="965"/>
            </a:lvl4pPr>
            <a:lvl5pPr marL="1764256" indent="0">
              <a:buNone/>
              <a:defRPr sz="965"/>
            </a:lvl5pPr>
            <a:lvl6pPr marL="2205322" indent="0">
              <a:buNone/>
              <a:defRPr sz="965"/>
            </a:lvl6pPr>
            <a:lvl7pPr marL="2646383" indent="0">
              <a:buNone/>
              <a:defRPr sz="965"/>
            </a:lvl7pPr>
            <a:lvl8pPr marL="3087448" indent="0">
              <a:buNone/>
              <a:defRPr sz="965"/>
            </a:lvl8pPr>
            <a:lvl9pPr marL="3528513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1502" y="5248893"/>
            <a:ext cx="7277100" cy="1846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66" indent="0">
              <a:buNone/>
              <a:defRPr sz="1351"/>
            </a:lvl2pPr>
            <a:lvl3pPr marL="882127" indent="0">
              <a:buNone/>
              <a:defRPr sz="1157"/>
            </a:lvl3pPr>
            <a:lvl4pPr marL="1323194" indent="0">
              <a:buNone/>
              <a:defRPr sz="965"/>
            </a:lvl4pPr>
            <a:lvl5pPr marL="1764256" indent="0">
              <a:buNone/>
              <a:defRPr sz="965"/>
            </a:lvl5pPr>
            <a:lvl6pPr marL="2205322" indent="0">
              <a:buNone/>
              <a:defRPr sz="965"/>
            </a:lvl6pPr>
            <a:lvl7pPr marL="2646383" indent="0">
              <a:buNone/>
              <a:defRPr sz="965"/>
            </a:lvl7pPr>
            <a:lvl8pPr marL="3087448" indent="0">
              <a:buNone/>
              <a:defRPr sz="965"/>
            </a:lvl8pPr>
            <a:lvl9pPr marL="3528513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2" y="1790703"/>
            <a:ext cx="7277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1" y="3431820"/>
            <a:ext cx="7277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66" indent="0">
              <a:buNone/>
              <a:defRPr sz="1351"/>
            </a:lvl2pPr>
            <a:lvl3pPr marL="882127" indent="0">
              <a:buNone/>
              <a:defRPr sz="1157"/>
            </a:lvl3pPr>
            <a:lvl4pPr marL="1323194" indent="0">
              <a:buNone/>
              <a:defRPr sz="965"/>
            </a:lvl4pPr>
            <a:lvl5pPr marL="1764256" indent="0">
              <a:buNone/>
              <a:defRPr sz="965"/>
            </a:lvl5pPr>
            <a:lvl6pPr marL="2205322" indent="0">
              <a:buNone/>
              <a:defRPr sz="965"/>
            </a:lvl6pPr>
            <a:lvl7pPr marL="2646383" indent="0">
              <a:buNone/>
              <a:defRPr sz="965"/>
            </a:lvl7pPr>
            <a:lvl8pPr marL="3087448" indent="0">
              <a:buNone/>
              <a:defRPr sz="965"/>
            </a:lvl8pPr>
            <a:lvl9pPr marL="3528513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2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pic>
        <p:nvPicPr>
          <p:cNvPr id="2" name="Picture 1" descr="A black and white logo&#10;&#10;Description automatically generated">
            <a:extLst>
              <a:ext uri="{FF2B5EF4-FFF2-40B4-BE49-F238E27FC236}">
                <a16:creationId xmlns:a16="http://schemas.microsoft.com/office/drawing/2014/main" id="{ABBDB9B6-1837-5171-38CB-B494D31CA4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4627" y="6179766"/>
            <a:ext cx="1331924" cy="37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868499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ive Topics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2" y="609602"/>
            <a:ext cx="53721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213C59-7880-41D1-9DE5-B53FA71B4F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48402" y="609602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0BD0D78-FA9C-47FE-A8C5-A942C1A9A1E0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080809" y="609602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4D1B0561-72B3-4A7C-9434-B0EDE523688D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080809" y="1037806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FB88D30E-5998-42C2-BFDA-6C6AA1F33F7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48402" y="1647195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6D18BF23-F279-48A8-8AFF-AC70F73F091E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7080809" y="1647195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8445664B-F9E1-4D1D-9F6E-DA27AF43C21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7080809" y="2075400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31F0F46D-89DF-46CA-934B-C124727D937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48402" y="2684790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8BB0DD2A-742F-4019-B2A6-6AC6CF3BEEA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080809" y="2684787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4D48E93A-11A3-45A0-961F-26062021432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080809" y="3112994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365D378F-8BFE-41E2-A048-4F1E113B408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48402" y="3722383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4681FE84-1510-4206-91AF-B290EF3C0E1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7080809" y="372238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58EB90C9-03A7-449D-A8F3-B379B319950E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7080809" y="415058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E3E332E3-41A2-4350-A7FE-20CB379706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2" y="475997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948A5A7B-49E0-4CF2-8080-E002145F2FF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09" y="4759974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B8F46644-76D3-4C51-9163-739A1F5F7650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09" y="5188181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7D1C11A-12D9-461B-A255-03DBC65A944A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EA8191E0-49D0-4036-B896-597B5FEF1388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1635080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Ten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2" y="609602"/>
            <a:ext cx="53721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2875B737-D8C9-4B5A-A987-E648592F8AB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71502" y="2437943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1BC899D-37C3-4568-A4DF-0B0EDE20DC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403909" y="243794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B5D11EE-1D55-4041-81BF-2D405343AEB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1403909" y="2866149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78F2AB5-8A22-4344-B743-464793BF69F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71502" y="3278624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2A1D5CE-6473-44B2-BC10-1AC73E1B795C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403909" y="327862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D8A733FF-648D-413A-A965-9380FF19EB3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403909" y="3706829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C4EAFF18-13A5-4454-9A4E-50C9683A086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71502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3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5CFB554-4FA5-44FE-AD9D-94ADB8A1596B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403909" y="4118819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E82D60C9-C7E6-4DE4-8E8B-9A9D85E509A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1403909" y="4547024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1C81A21-CB5C-4EBA-AA54-D73A670B36B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71502" y="4959741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4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3D704AA8-F2E6-4E6E-BA0F-C73614C721D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1403909" y="4959742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66AE59D2-11F7-416C-B366-F23200F2C468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403909" y="5387946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898C6801-7507-4803-A711-42CEC857E56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2" y="2437944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5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7589C976-7FFB-4218-BF7E-1F78F2A1F02C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09" y="243794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0F3DDABD-EE25-49C3-9A53-2657DAD77A8C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09" y="2866149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17167DB7-5308-42DC-AEE9-AAED2ED164D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248402" y="3278624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6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620B5D7B-672A-4FB9-9717-E785586DA30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7080809" y="327862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E23B210E-5C88-4516-A864-36247F88D733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7080809" y="3706829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37DB0FAF-76DD-43D1-B897-9417F5B3AB7B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48402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7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B0C7BE68-E1A9-48A3-8ADD-8FDB96C02A40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7080809" y="4118819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5195D37A-ED4A-4E1F-A476-81831613075B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080809" y="4547024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62FE476F-78D3-4BBD-ADB0-A014E40BC384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48402" y="4959741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8</a:t>
            </a:r>
          </a:p>
        </p:txBody>
      </p:sp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D42D2D51-155D-4C35-BC5F-B8F1C46DC335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7080809" y="4959742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EBF4B885-D002-47D6-8922-12B72E21CACE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7080809" y="5387946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0EEB412-0CE0-4F00-8756-0957743AE431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2DB28A58-94F9-401A-ADF6-47C90FEA9566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667964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564E15E-85C2-40F1-B654-E42DCFBA1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 marL="0" indent="0">
              <a:buNone/>
              <a:defRPr sz="1400"/>
            </a:lvl2pPr>
            <a:lvl3pPr marL="228589" indent="0">
              <a:buNone/>
              <a:defRPr sz="1200"/>
            </a:lvl3pPr>
            <a:lvl4pPr marL="406381" indent="0"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30370F4-DF08-4B4A-A3BB-EB8905622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2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3BE238-C084-4FBF-86DF-59C91AF8317F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1E1701B-4C10-476A-8FDF-6089699136E1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761103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E1C715D-9112-4A01-AD63-361439BFB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2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E43F6E-A8D0-4155-BD27-8561034BB2B8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A02B8EA-12A2-4673-BF3F-8D4FB8234D27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1611000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8EE2313-2646-4E0B-B6B4-BA07574D2F8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32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589" indent="0">
              <a:buNone/>
              <a:defRPr/>
            </a:lvl3pPr>
            <a:lvl4pPr marL="406381" indent="0">
              <a:buNone/>
              <a:defRPr/>
            </a:lvl4pPr>
            <a:lvl5pPr marL="57147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572B255-D144-453C-90FA-BB07F680CF0A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D9DF569-2B30-EE4C-8D21-F21B97793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2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C61E8BE-7C30-466D-96E8-145E0409391E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7403818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_Heavy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711199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6341155" y="1607864"/>
            <a:ext cx="5181600" cy="4110792"/>
          </a:xfrm>
          <a:prstGeom prst="rect">
            <a:avLst/>
          </a:prstGeom>
        </p:spPr>
        <p:txBody>
          <a:bodyPr lIns="0" tIns="45710" rIns="0" bIns="45710">
            <a:noAutofit/>
          </a:bodyPr>
          <a:lstStyle>
            <a:lvl1pPr marL="232828" indent="-156629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60000"/>
              <a:buFont typeface="Arial"/>
              <a:buChar char="•"/>
              <a:defRPr sz="2667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  <a:lvl2pPr marL="385224" indent="-15239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6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cs typeface="CiscoSans ExtraLight"/>
              </a:defRPr>
            </a:lvl2pPr>
            <a:lvl3pPr marL="537620" indent="-152396">
              <a:buClr>
                <a:schemeClr val="tx1"/>
              </a:buClr>
              <a:buSzPct val="6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cs typeface="CiscoSans ExtraLight"/>
              </a:defRPr>
            </a:lvl3pPr>
            <a:lvl4pPr marL="690016" indent="-152396">
              <a:buClr>
                <a:schemeClr val="tx1"/>
              </a:buClr>
              <a:buSzPct val="6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cs typeface="CiscoSans ExtraLight"/>
              </a:defRPr>
            </a:lvl4pPr>
            <a:lvl5pPr marL="842412" indent="-152396">
              <a:buClr>
                <a:schemeClr val="tx1"/>
              </a:buClr>
              <a:buSzPct val="6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cs typeface="CiscoSans ExtraLigh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3733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135965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49195570-1534-4F74-B303-B06313C227F6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66674A7-0DAD-C54D-BB6A-AB4B6F3D1CF2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48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589" indent="0">
              <a:buNone/>
              <a:defRPr/>
            </a:lvl3pPr>
            <a:lvl4pPr marL="406381" indent="0">
              <a:buNone/>
              <a:defRPr/>
            </a:lvl4pPr>
            <a:lvl5pPr marL="57147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4BFEFE0-97D7-B240-BC88-FC22052279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2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82028C6-D96F-A145-862B-ED80E5C5EF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600"/>
            </a:lvl1pPr>
            <a:lvl2pPr marL="0" indent="0">
              <a:buFontTx/>
              <a:buNone/>
              <a:defRPr sz="1400"/>
            </a:lvl2pPr>
            <a:lvl3pPr marL="228589" indent="0">
              <a:buFontTx/>
              <a:buNone/>
              <a:defRPr sz="1200"/>
            </a:lvl3pPr>
            <a:lvl4pPr marL="406381" indent="0">
              <a:buFontTx/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A8F312C-C046-4076-8AB0-7EBEDB950552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7267659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8C1C862-6F14-47C3-885D-12D6E1A99AA2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AD8007C-DE91-4E81-8041-976C5135CD04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6507372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6734A84-A20E-4265-848D-432FAF49C4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2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2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2236BEA-8B84-4433-AC6E-DE816054A44B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76FF25-9CEA-4D73-9CD8-BCF0613C55EA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5567993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4BE6003-571D-4817-A40A-6421214126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2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4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4156D67-C67F-41CF-BA17-0B2BFD535E25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92C7D0-4978-4D65-A39E-9CB076EFBCC3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2871407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2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2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10703F-CBA9-4296-B386-BA35019F8F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79EE8F-1900-4C5E-A4C1-BB6BE90235E1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9245307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lo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8ECCB6B-46C4-4E71-97ED-219163FCE9B9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D938136-20C6-401D-BA2C-F3CC96E9757F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9802655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o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20F9E4-16CA-4B30-ADCC-BD4809B439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0FB953B-93BA-45FD-AD0D-5A607DEF5ABD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3769106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o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20F9E4-16CA-4B30-ADCC-BD4809B439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0FB953B-93BA-45FD-AD0D-5A607DEF5ABD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6510337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20F9E4-16CA-4B30-ADCC-BD4809B439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0FB953B-93BA-45FD-AD0D-5A607DEF5ABD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5440245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20F9E4-16CA-4B30-ADCC-BD4809B439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0FB953B-93BA-45FD-AD0D-5A607DEF5ABD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8441150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6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20377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5-Colo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20F9E4-16CA-4B30-ADCC-BD4809B439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0FB953B-93BA-45FD-AD0D-5A607DEF5ABD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8881443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42420" y="6349600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92773B-7150-44D2-AFDB-DE60A8A0F625}"/>
              </a:ext>
            </a:extLst>
          </p:cNvPr>
          <p:cNvSpPr/>
          <p:nvPr/>
        </p:nvSpPr>
        <p:spPr>
          <a:xfrm>
            <a:off x="304800" y="6414275"/>
            <a:ext cx="2819400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BEBFBF78-0E90-472B-B2BB-48C8ECC3854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9587" y="2209800"/>
            <a:ext cx="2912831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11763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6" y="6431692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B8EB6A92-1A18-4242-B37B-061D783A1E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33355" y="6061500"/>
            <a:ext cx="1633196" cy="49932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79071DA-63B2-46A2-892F-B272FF3B2408}"/>
              </a:ext>
            </a:extLst>
          </p:cNvPr>
          <p:cNvSpPr/>
          <p:nvPr/>
        </p:nvSpPr>
        <p:spPr>
          <a:xfrm>
            <a:off x="525454" y="6410481"/>
            <a:ext cx="503249" cy="1503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</p:spTree>
    <p:extLst>
      <p:ext uri="{BB962C8B-B14F-4D97-AF65-F5344CB8AC3E}">
        <p14:creationId xmlns:p14="http://schemas.microsoft.com/office/powerpoint/2010/main" val="24412952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52" indent="-22856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07" indent="-220101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264" indent="-146027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532" indent="-228521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051" indent="-22428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1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48859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D1EB964-31F1-4CBE-82A3-C0D6A156FC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0600"/>
            <a:ext cx="5390428" cy="155926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pc="-240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icons</a:t>
            </a:r>
          </a:p>
        </p:txBody>
      </p:sp>
      <p:sp>
        <p:nvSpPr>
          <p:cNvPr id="43" name="Slide Number Placeholder 4">
            <a:extLst>
              <a:ext uri="{FF2B5EF4-FFF2-40B4-BE49-F238E27FC236}">
                <a16:creationId xmlns:a16="http://schemas.microsoft.com/office/drawing/2014/main" id="{EF211203-217C-43EA-B455-2829537E92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DD9E95C-54D7-4CDC-9398-06EA3EF4C2B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63904" y="34290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308B72D-42DD-4AFC-86F7-A60C430A65F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48112" y="34290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92FBA143-4C75-4705-B518-3C3BEB4DB59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25288" y="34290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BFFB3BB-96C3-43AE-AE37-B552C0F815F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1" y="3783515"/>
            <a:ext cx="3383963" cy="59075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-80" dirty="0">
                <a:latin typeface="CiscoSansTT Medium" panose="020B0503020201020303" pitchFamily="34" charset="0"/>
                <a:cs typeface="CiscoSansTT Medium" panose="020B0503020201020303" pitchFamily="34" charset="0"/>
              </a:defRPr>
            </a:lvl1pPr>
          </a:lstStyle>
          <a:p>
            <a:pPr marL="302660" lvl="0" indent="-302660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557260CF-2100-49E9-84E8-B0D7AFADA565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3" y="3782747"/>
            <a:ext cx="3383963" cy="5968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-80" dirty="0">
                <a:latin typeface="CiscoSansTT Medium" panose="020B0503020201020303" pitchFamily="34" charset="0"/>
                <a:cs typeface="CiscoSansTT Medium" panose="020B0503020201020303" pitchFamily="34" charset="0"/>
              </a:defRPr>
            </a:lvl1pPr>
          </a:lstStyle>
          <a:p>
            <a:pPr marL="302660" lvl="0" indent="-302660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0E159BC0-6118-41FB-BD15-D9B76E35ED35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9" y="3778300"/>
            <a:ext cx="3383963" cy="5968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-80" dirty="0">
                <a:latin typeface="CiscoSansTT Medium" panose="020B0503020201020303" pitchFamily="34" charset="0"/>
                <a:cs typeface="CiscoSansTT Medium" panose="020B0503020201020303" pitchFamily="34" charset="0"/>
              </a:defRPr>
            </a:lvl1pPr>
          </a:lstStyle>
          <a:p>
            <a:pPr marL="302660" lvl="0" indent="-302660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2CDBFEA-91A7-4FE4-AAE2-321927A46CE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1" y="4605094"/>
            <a:ext cx="3383963" cy="1617249"/>
          </a:xfrm>
        </p:spPr>
        <p:txBody>
          <a:bodyPr>
            <a:noAutofit/>
          </a:bodyPr>
          <a:lstStyle>
            <a:lvl1pPr marL="228584" indent="-228584">
              <a:buFont typeface="Arial" panose="020B0604020202020204" pitchFamily="34" charset="0"/>
              <a:buChar char="•"/>
              <a:defRPr sz="1333"/>
            </a:lvl1pPr>
            <a:lvl2pPr marL="378856" indent="-152388">
              <a:defRPr sz="1067"/>
            </a:lvl2pPr>
            <a:lvl3pPr marL="687865" indent="-232817">
              <a:defRPr sz="800"/>
            </a:lvl3pPr>
            <a:lvl4pPr marL="916448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1CBFE74-247B-4E42-8A8C-4D5F9D2997F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48113" y="4605094"/>
            <a:ext cx="3383963" cy="1617249"/>
          </a:xfrm>
        </p:spPr>
        <p:txBody>
          <a:bodyPr>
            <a:noAutofit/>
          </a:bodyPr>
          <a:lstStyle>
            <a:lvl1pPr marL="228584" indent="-228584">
              <a:buFont typeface="Arial" panose="020B0604020202020204" pitchFamily="34" charset="0"/>
              <a:buChar char="•"/>
              <a:defRPr sz="1333"/>
            </a:lvl1pPr>
            <a:lvl2pPr marL="378856" indent="-152388">
              <a:defRPr sz="1067"/>
            </a:lvl2pPr>
            <a:lvl3pPr marL="687865" indent="-232817">
              <a:defRPr sz="800"/>
            </a:lvl3pPr>
            <a:lvl4pPr marL="916448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CD5C99F-F57F-4957-BA17-CF590173E3F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25285" y="4605094"/>
            <a:ext cx="3383963" cy="1617249"/>
          </a:xfrm>
        </p:spPr>
        <p:txBody>
          <a:bodyPr>
            <a:noAutofit/>
          </a:bodyPr>
          <a:lstStyle>
            <a:lvl1pPr marL="228584" indent="-228584">
              <a:buFont typeface="Arial" panose="020B0604020202020204" pitchFamily="34" charset="0"/>
              <a:buChar char="•"/>
              <a:defRPr sz="1333"/>
            </a:lvl1pPr>
            <a:lvl2pPr marL="378856" indent="-152388">
              <a:defRPr sz="1067"/>
            </a:lvl2pPr>
            <a:lvl3pPr marL="687865" indent="-232817">
              <a:defRPr sz="800"/>
            </a:lvl3pPr>
            <a:lvl4pPr marL="916448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415BF8F-879F-4E1A-A7D8-9D683393FD0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3534F201-EBA0-46A0-B1E7-7AF9F7C498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5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1976990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13E34AB2-EB40-45F2-BAE7-A8136E51FF6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3" y="3714585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84" lvl="0" indent="-22858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84" lvl="1" indent="-22858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84" lvl="2" indent="-228584">
              <a:lnSpc>
                <a:spcPct val="100000"/>
              </a:lnSpc>
            </a:pPr>
            <a:r>
              <a:rPr lang="en-US"/>
              <a:t>Third level</a:t>
            </a:r>
          </a:p>
          <a:p>
            <a:pPr marL="228584" lvl="3" indent="-228584">
              <a:lnSpc>
                <a:spcPct val="100000"/>
              </a:lnSpc>
            </a:pPr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3" y="2616185"/>
            <a:ext cx="3357020" cy="80327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EA591F5-58AE-D343-A6EB-87F69740E76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2620630"/>
            <a:ext cx="3357020" cy="80327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B8558003-6140-3442-986E-2C60FA775A53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2616185"/>
            <a:ext cx="3357020" cy="80327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FBBB06B7-9478-4C6F-9560-109718AC49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0600"/>
            <a:ext cx="5390428" cy="14965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50389FDF-392D-4049-AC2A-1E9DF18496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3" name="Content Placeholder 6">
            <a:extLst>
              <a:ext uri="{FF2B5EF4-FFF2-40B4-BE49-F238E27FC236}">
                <a16:creationId xmlns:a16="http://schemas.microsoft.com/office/drawing/2014/main" id="{5CF71C16-241D-4C12-986F-49C011B6FB62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114" y="3714585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84" lvl="0" indent="-22858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84" lvl="1" indent="-22858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84" lvl="2" indent="-228584">
              <a:lnSpc>
                <a:spcPct val="100000"/>
              </a:lnSpc>
            </a:pPr>
            <a:r>
              <a:rPr lang="en-US"/>
              <a:t>Third level</a:t>
            </a:r>
          </a:p>
          <a:p>
            <a:pPr marL="228584" lvl="3" indent="-228584">
              <a:lnSpc>
                <a:spcPct val="100000"/>
              </a:lnSpc>
            </a:pPr>
            <a:r>
              <a:rPr lang="en-US"/>
              <a:t>Fourth level</a:t>
            </a:r>
          </a:p>
        </p:txBody>
      </p:sp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DF591020-88DC-4E7B-BD72-36E6EB59E14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126441" y="3714585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84" lvl="0" indent="-22858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84" lvl="1" indent="-22858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84" lvl="2" indent="-228584">
              <a:lnSpc>
                <a:spcPct val="100000"/>
              </a:lnSpc>
            </a:pPr>
            <a:r>
              <a:rPr lang="en-US"/>
              <a:t>Third level</a:t>
            </a:r>
          </a:p>
          <a:p>
            <a:pPr marL="228584" lvl="3" indent="-228584">
              <a:lnSpc>
                <a:spcPct val="100000"/>
              </a:lnSpc>
            </a:pPr>
            <a:r>
              <a:rPr lang="en-US"/>
              <a:t>Four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383FF70-E831-4747-A153-F9977C8D40C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1ACA0FBF-BD85-4A2B-857C-5FEA45B4C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6477282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86F225C-F7F7-4528-849E-361C51FFB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904" y="990602"/>
            <a:ext cx="11077296" cy="126135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696DE5-6EFF-4C09-9943-5FCA93FF6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352" y="2431881"/>
            <a:ext cx="11077296" cy="3744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38FCC569-4B46-4920-ACAD-F80E06ACD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98D7571-5BE1-4182-8211-BAD95EBE9A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2B15268-7993-4213-A094-A98AEF8E227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4433183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alk-In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173906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A4BF09A-72A3-A3AA-3CBD-228F6711DB5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3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81025" y="4869789"/>
            <a:ext cx="7254875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81025" y="5220317"/>
            <a:ext cx="7254875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025" y="1905000"/>
            <a:ext cx="7254875" cy="1409699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81026" y="3431817"/>
            <a:ext cx="7254874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A3B5A03-FFA4-F84F-801A-F8BB90548EB0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rPr>
              <a:t>© 2025 Cisco and/or its affiliates. All rights reserved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DA6D37FF-8FD6-6A96-FAFE-D957FA75C37F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3157" y="6402737"/>
            <a:ext cx="503671" cy="22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22823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ive Topics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213C59-7880-41D1-9DE5-B53FA71B4F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48400" y="571500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0BD0D78-FA9C-47FE-A8C5-A942C1A9A1E0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080810" y="571500"/>
            <a:ext cx="4525974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4D1B0561-72B3-4A7C-9434-B0EDE523688D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080810" y="1037804"/>
            <a:ext cx="4526280" cy="215444"/>
          </a:xfrm>
        </p:spPr>
        <p:txBody>
          <a:bodyPr wrap="square">
            <a:spAutoFit/>
          </a:bodyPr>
          <a:lstStyle>
            <a:lvl1pPr>
              <a:defRPr sz="14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FB88D30E-5998-42C2-BFDA-6C6AA1F33F7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48400" y="164719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6D18BF23-F279-48A8-8AFF-AC70F73F091E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7080810" y="1647193"/>
            <a:ext cx="452628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8445664B-F9E1-4D1D-9F6E-DA27AF43C21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7080810" y="2075397"/>
            <a:ext cx="4526280" cy="215444"/>
          </a:xfrm>
        </p:spPr>
        <p:txBody>
          <a:bodyPr wrap="square">
            <a:spAutoFit/>
          </a:bodyPr>
          <a:lstStyle>
            <a:lvl1pPr>
              <a:defRPr lang="en-US" sz="14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31F0F46D-89DF-46CA-934B-C124727D937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48400" y="2684788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8BB0DD2A-742F-4019-B2A6-6AC6CF3BEEA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080810" y="2684787"/>
            <a:ext cx="452628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4D48E93A-11A3-45A0-961F-26062021432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080810" y="3112991"/>
            <a:ext cx="4526280" cy="215444"/>
          </a:xfrm>
        </p:spPr>
        <p:txBody>
          <a:bodyPr wrap="square">
            <a:spAutoFit/>
          </a:bodyPr>
          <a:lstStyle>
            <a:lvl1pPr>
              <a:defRPr lang="en-US" sz="14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365D378F-8BFE-41E2-A048-4F1E113B408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48400" y="3722381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4681FE84-1510-4206-91AF-B290EF3C0E1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7080810" y="3722381"/>
            <a:ext cx="452628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58EB90C9-03A7-449D-A8F3-B379B319950E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7080810" y="4150585"/>
            <a:ext cx="4526280" cy="215444"/>
          </a:xfrm>
        </p:spPr>
        <p:txBody>
          <a:bodyPr wrap="square">
            <a:spAutoFit/>
          </a:bodyPr>
          <a:lstStyle>
            <a:lvl1pPr>
              <a:defRPr lang="en-US" sz="14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E3E332E3-41A2-4350-A7FE-20CB379706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0" y="475997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948A5A7B-49E0-4CF2-8080-E002145F2FF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10" y="4759974"/>
            <a:ext cx="452628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B8F46644-76D3-4C51-9163-739A1F5F7650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10" y="5188178"/>
            <a:ext cx="4526280" cy="215444"/>
          </a:xfrm>
        </p:spPr>
        <p:txBody>
          <a:bodyPr wrap="square">
            <a:spAutoFit/>
          </a:bodyPr>
          <a:lstStyle>
            <a:lvl1pPr>
              <a:defRPr lang="en-US" sz="14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1AF73E0-3985-7E89-6B88-B7BFEE34784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910" y="571500"/>
            <a:ext cx="4425240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CF0D04C6-25CF-9624-C0A9-B438D473B232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2025 Cisco and/or its affiliates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40036368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A0B33E58-3F16-490E-B633-CE2BD2BDF6A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74826412"/>
              </p:ext>
            </p:extLst>
          </p:nvPr>
        </p:nvGraphicFramePr>
        <p:xfrm>
          <a:off x="2120" y="2120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532" imgH="530" progId="TCLayout.ActiveDocument.1">
                  <p:embed/>
                </p:oleObj>
              </mc:Choice>
              <mc:Fallback>
                <p:oleObj name="think-cell Slide" r:id="rId3" imgW="532" imgH="530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A0B33E58-3F16-490E-B633-CE2BD2BDF6A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20" y="2120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573F939C-28AF-4452-9A95-5329909F71D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419787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Ten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910" y="571500"/>
            <a:ext cx="5365040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2875B737-D8C9-4B5A-A987-E648592F8AB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84910" y="2437942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1BC899D-37C3-4568-A4DF-0B0EDE20DC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423670" y="2437942"/>
            <a:ext cx="452628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B5D11EE-1D55-4041-81BF-2D405343AEB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1423670" y="2866146"/>
            <a:ext cx="4526280" cy="215444"/>
          </a:xfrm>
        </p:spPr>
        <p:txBody>
          <a:bodyPr wrap="square">
            <a:spAutoFit/>
          </a:bodyPr>
          <a:lstStyle>
            <a:lvl1pPr>
              <a:defRPr lang="en-US" sz="14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78F2AB5-8A22-4344-B743-464793BF69F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84910" y="327862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2A1D5CE-6473-44B2-BC10-1AC73E1B795C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423670" y="3278622"/>
            <a:ext cx="452628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D8A733FF-648D-413A-A965-9380FF19EB3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423670" y="3706826"/>
            <a:ext cx="4526280" cy="215444"/>
          </a:xfrm>
        </p:spPr>
        <p:txBody>
          <a:bodyPr wrap="square">
            <a:spAutoFit/>
          </a:bodyPr>
          <a:lstStyle>
            <a:lvl1pPr>
              <a:defRPr lang="en-US" sz="14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C4EAFF18-13A5-4454-9A4E-50C9683A086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84910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3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5CFB554-4FA5-44FE-AD9D-94ADB8A1596B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423670" y="4118817"/>
            <a:ext cx="452628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E82D60C9-C7E6-4DE4-8E8B-9A9D85E509A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1423670" y="4547021"/>
            <a:ext cx="4526280" cy="215444"/>
          </a:xfrm>
        </p:spPr>
        <p:txBody>
          <a:bodyPr wrap="square">
            <a:spAutoFit/>
          </a:bodyPr>
          <a:lstStyle>
            <a:lvl1pPr>
              <a:defRPr lang="en-US" sz="14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1C81A21-CB5C-4EBA-AA54-D73A670B36B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84910" y="4959740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4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3D704AA8-F2E6-4E6E-BA0F-C73614C721D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1423670" y="4959740"/>
            <a:ext cx="452628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66AE59D2-11F7-416C-B366-F23200F2C468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423670" y="5387944"/>
            <a:ext cx="4526280" cy="215444"/>
          </a:xfrm>
        </p:spPr>
        <p:txBody>
          <a:bodyPr wrap="square">
            <a:spAutoFit/>
          </a:bodyPr>
          <a:lstStyle>
            <a:lvl1pPr>
              <a:defRPr lang="en-US" sz="14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898C6801-7507-4803-A711-42CEC857E56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0" y="243794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5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7589C976-7FFB-4218-BF7E-1F78F2A1F02C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10" y="2437942"/>
            <a:ext cx="452628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0F3DDABD-EE25-49C3-9A53-2657DAD77A8C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10" y="2866146"/>
            <a:ext cx="4526280" cy="215444"/>
          </a:xfrm>
        </p:spPr>
        <p:txBody>
          <a:bodyPr wrap="square">
            <a:spAutoFit/>
          </a:bodyPr>
          <a:lstStyle>
            <a:lvl1pPr>
              <a:defRPr lang="en-US" sz="14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17167DB7-5308-42DC-AEE9-AAED2ED164D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248400" y="327862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6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620B5D7B-672A-4FB9-9717-E785586DA30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7080810" y="3278622"/>
            <a:ext cx="452628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E23B210E-5C88-4516-A864-36247F88D733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7080810" y="3706826"/>
            <a:ext cx="4526280" cy="215444"/>
          </a:xfrm>
        </p:spPr>
        <p:txBody>
          <a:bodyPr wrap="square">
            <a:spAutoFit/>
          </a:bodyPr>
          <a:lstStyle>
            <a:lvl1pPr>
              <a:defRPr lang="en-US" sz="14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37DB0FAF-76DD-43D1-B897-9417F5B3AB7B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48400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7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B0C7BE68-E1A9-48A3-8ADD-8FDB96C02A40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7080810" y="4118817"/>
            <a:ext cx="452628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5195D37A-ED4A-4E1F-A476-81831613075B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080810" y="4547021"/>
            <a:ext cx="4526280" cy="215444"/>
          </a:xfrm>
        </p:spPr>
        <p:txBody>
          <a:bodyPr wrap="square">
            <a:spAutoFit/>
          </a:bodyPr>
          <a:lstStyle>
            <a:lvl1pPr>
              <a:defRPr lang="en-US" sz="14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62FE476F-78D3-4BBD-ADB0-A014E40BC384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48400" y="4959740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8</a:t>
            </a:r>
          </a:p>
        </p:txBody>
      </p:sp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D42D2D51-155D-4C35-BC5F-B8F1C46DC335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7080810" y="4959740"/>
            <a:ext cx="452628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EBF4B885-D002-47D6-8922-12B72E21CACE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7080810" y="5387944"/>
            <a:ext cx="4526280" cy="215444"/>
          </a:xfrm>
        </p:spPr>
        <p:txBody>
          <a:bodyPr wrap="square">
            <a:spAutoFit/>
          </a:bodyPr>
          <a:lstStyle>
            <a:lvl1pPr>
              <a:defRPr lang="en-US" sz="14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2E5CEDE-A9F4-3AE3-7136-8D4824CAED51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2025 Cisco and/or its affiliates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8026420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564E15E-85C2-40F1-B654-E42DCFBA1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4911" y="1905000"/>
            <a:ext cx="11029240" cy="4381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800"/>
            </a:lvl1pPr>
            <a:lvl2pPr marL="0" indent="0">
              <a:buNone/>
              <a:defRPr sz="1600"/>
            </a:lvl2pPr>
            <a:lvl3pPr marL="228600" indent="0">
              <a:buNone/>
              <a:defRPr sz="1400"/>
            </a:lvl3pPr>
            <a:lvl4pPr marL="406400" indent="0">
              <a:buNone/>
              <a:defRPr sz="12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30370F4-DF08-4B4A-A3BB-EB8905622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910" y="571500"/>
            <a:ext cx="1103312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E41F269-4AE5-59C6-B12F-E281DC3EB638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2025 Cisco and/or its affiliates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9946175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171827E-8719-D631-823E-1A75A048DA0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910" y="571500"/>
            <a:ext cx="1103312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AE429D04-6F2F-33C5-D347-28647962BA9F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2025 Cisco and/or its affiliates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3116020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8EE2313-2646-4E0B-B6B4-BA07574D2F8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84910" y="1222129"/>
            <a:ext cx="11036808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F6B3806-7EC4-066C-F3DD-AA0AE05C21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910" y="571500"/>
            <a:ext cx="1103312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13A4EE0-DFC6-70A1-2416-875FED7A2E01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2025 Cisco and/or its affiliates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4430054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82028C6-D96F-A145-862B-ED80E5C5EF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4910" y="1905000"/>
            <a:ext cx="11036808" cy="4381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800"/>
            </a:lvl1pPr>
            <a:lvl2pPr marL="0" indent="0">
              <a:buFontTx/>
              <a:buNone/>
              <a:defRPr sz="1600"/>
            </a:lvl2pPr>
            <a:lvl3pPr marL="228600" indent="0">
              <a:buFontTx/>
              <a:buNone/>
              <a:defRPr sz="1400"/>
            </a:lvl3pPr>
            <a:lvl4pPr marL="406400" indent="0">
              <a:buFontTx/>
              <a:buNone/>
              <a:defRPr sz="12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11984DEC-E669-021F-1BE4-8F6BAB992F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910" y="571500"/>
            <a:ext cx="1103312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5">
            <a:extLst>
              <a:ext uri="{FF2B5EF4-FFF2-40B4-BE49-F238E27FC236}">
                <a16:creationId xmlns:a16="http://schemas.microsoft.com/office/drawing/2014/main" id="{D27ED5E2-B8F1-7F17-5729-B79AF8B33B18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84910" y="1222129"/>
            <a:ext cx="11036808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3183A751-2075-343B-807A-5D8744E367FD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2025 Cisco and/or its affiliates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8361660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26D13EE-9849-D53E-BA46-E07BF3AC4475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2025 Cisco and/or its affiliates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8800871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054F9D6-4889-4D51-9ADF-D453DFF1E8E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905000"/>
            <a:ext cx="12192000" cy="43815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algn="ctr"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1D85F0D-1D20-B292-4B05-C05D621482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910" y="571500"/>
            <a:ext cx="11033125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7EB25EA-909E-C878-33C8-19635AAEAB67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2025 Cisco and/or its affiliates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37553219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ABDE8DC0-A901-DD00-F02E-9E21AF296EA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66734A84-A20E-4265-848D-432FAF49C4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025" y="1905001"/>
            <a:ext cx="6315075" cy="3048002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06F2933-DA8C-3579-7632-4BCC1A7F9B2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3157" y="6402737"/>
            <a:ext cx="503671" cy="22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168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B1BF3F6-4880-8066-4BB9-91AD6DDFF2BA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D6FD7923-FA5E-F6EA-654E-3CC0232FDBF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025" y="1905001"/>
            <a:ext cx="6315075" cy="3048002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783388E-6B25-7010-948F-FE3D4EEF84B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3157" y="6402737"/>
            <a:ext cx="503671" cy="22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65706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A417A32-A2EE-69BF-13A0-90FAFA4C33E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7680A0F-0357-9930-6511-7A6D6893F3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025" y="1905001"/>
            <a:ext cx="6315075" cy="3048002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29873D6B-7F3A-3A5E-219E-60324EBA395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3157" y="6402737"/>
            <a:ext cx="503671" cy="22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044010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Full Bleed Photo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/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 vert="horz" lIns="91420" tIns="45710" rIns="91420" bIns="45710"/>
          <a:lstStyle>
            <a:lvl1pPr marL="0" indent="0" algn="ctr">
              <a:buNone/>
              <a:defRPr sz="2933" baseline="0">
                <a:solidFill>
                  <a:schemeClr val="tx2"/>
                </a:solidFill>
                <a:latin typeface="+mj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6" name="Text Placeholder 2"/>
          <p:cNvSpPr>
            <a:spLocks noGrp="1"/>
          </p:cNvSpPr>
          <p:nvPr>
            <p:ph type="body" sz="quarter" idx="11"/>
          </p:nvPr>
        </p:nvSpPr>
        <p:spPr bwMode="auto">
          <a:xfrm>
            <a:off x="666752" y="5231223"/>
            <a:ext cx="10852149" cy="668068"/>
          </a:xfrm>
          <a:prstGeom prst="rect">
            <a:avLst/>
          </a:prstGeom>
          <a:noFill/>
        </p:spPr>
        <p:txBody>
          <a:bodyPr wrap="square" lIns="182880" tIns="91440" rIns="182880" bIns="91440" numCol="1" anchor="ctr" anchorCtr="0" compatLnSpc="1">
            <a:prstTxWarp prst="textNoShape">
              <a:avLst/>
            </a:prstTxWarp>
            <a:spAutoFit/>
          </a:bodyPr>
          <a:lstStyle>
            <a:lvl1pPr marL="0" indent="0" algn="ctr">
              <a:lnSpc>
                <a:spcPts val="3867"/>
              </a:lnSpc>
              <a:spcBef>
                <a:spcPts val="0"/>
              </a:spcBef>
              <a:buNone/>
              <a:defRPr sz="3200" i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2090108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659EACC-EF0B-DBB8-8025-D2E258BD4D5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7680A0F-0357-9930-6511-7A6D6893F3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025" y="1905001"/>
            <a:ext cx="6315075" cy="3048002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4D797FF-8A58-6A0D-8181-CC099E6681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3157" y="6402737"/>
            <a:ext cx="503671" cy="22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48202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-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659EACC-EF0B-DBB8-8025-D2E258BD4D5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7680A0F-0357-9930-6511-7A6D6893F3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025" y="1905001"/>
            <a:ext cx="6315075" cy="3048002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4D797FF-8A58-6A0D-8181-CC099E6681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3157" y="6402737"/>
            <a:ext cx="503671" cy="22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40675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-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659EACC-EF0B-DBB8-8025-D2E258BD4D5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7680A0F-0357-9930-6511-7A6D6893F3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025" y="1905001"/>
            <a:ext cx="6315075" cy="3048002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4D797FF-8A58-6A0D-8181-CC099E6681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3157" y="6402737"/>
            <a:ext cx="503671" cy="22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49933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D6DF483-DD51-444D-AF16-AF31E72FDD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82458" y="1905000"/>
            <a:ext cx="5359400" cy="4381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800"/>
            </a:lvl1pPr>
            <a:lvl2pPr marL="227013" indent="-227013">
              <a:defRPr sz="1600"/>
            </a:lvl2pPr>
            <a:lvl3pPr marL="457200" indent="-230188">
              <a:defRPr sz="1400"/>
            </a:lvl3pPr>
            <a:lvl4pPr marL="687388" indent="-225425">
              <a:buFont typeface="Arial" panose="020B0604020202020204" pitchFamily="34" charset="0"/>
              <a:buChar char="•"/>
              <a:defRPr sz="12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E00351A9-D67D-89AA-198A-1D6CD5A8BB79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2025 Cisco and/or its affiliates. All rights reserved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31B1B037-DC48-EC40-90CD-F1201973AFB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911" y="571500"/>
            <a:ext cx="5365040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44483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6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5F55B17-88C3-D348-889E-49139B7173C6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C55F65A-E884-4545-813B-8B12A150F0E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1026" y="1905001"/>
            <a:ext cx="4724400" cy="4377266"/>
          </a:xfrm>
        </p:spPr>
        <p:txBody>
          <a:bodyPr/>
          <a:lstStyle>
            <a:lvl2pPr marL="228600" indent="-228600">
              <a:defRPr/>
            </a:lvl2pPr>
            <a:lvl3pPr marL="457200" indent="-228600"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4BB3C471-0E7F-F493-1B0A-B2EFE30E2A1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911" y="571500"/>
            <a:ext cx="4710989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172332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97389CA-AA00-4146-B54D-B32C999B76FE}"/>
              </a:ext>
            </a:extLst>
          </p:cNvPr>
          <p:cNvSpPr/>
          <p:nvPr/>
        </p:nvSpPr>
        <p:spPr>
          <a:xfrm>
            <a:off x="4991100" y="0"/>
            <a:ext cx="72009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3852A25-25D6-4B6B-902F-93AEC433B73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1024" y="2539999"/>
            <a:ext cx="3768725" cy="3746501"/>
          </a:xfrm>
        </p:spPr>
        <p:txBody>
          <a:bodyPr/>
          <a:lstStyle>
            <a:lvl2pPr marL="228600" indent="-228600">
              <a:defRPr/>
            </a:lvl2pPr>
            <a:lvl3pPr marL="457200" indent="-228600"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4CD93D0C-5ABB-6029-2F48-4A7FC04C7E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911" y="571500"/>
            <a:ext cx="3764838" cy="110799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748469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6EE0FED-0F8F-1D4B-BDC6-134B0FE8D3AF}"/>
              </a:ext>
            </a:extLst>
          </p:cNvPr>
          <p:cNvSpPr/>
          <p:nvPr/>
        </p:nvSpPr>
        <p:spPr>
          <a:xfrm>
            <a:off x="3428999" y="0"/>
            <a:ext cx="8763001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00FA166-5D3F-4D89-9646-F16A985660E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81025" y="2539998"/>
            <a:ext cx="2552701" cy="3746501"/>
          </a:xfrm>
        </p:spPr>
        <p:txBody>
          <a:bodyPr/>
          <a:lstStyle>
            <a:lvl2pPr marL="228600" indent="-228600">
              <a:defRPr/>
            </a:lvl2pPr>
            <a:lvl3pPr marL="457200" indent="-228600"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BCA3CC2-7A8F-3794-2A61-7F55F669A4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4911" y="571500"/>
            <a:ext cx="2539289" cy="166199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515215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Backgrou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07F1A39-DFFF-7016-A7A2-BE9040D7246E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2025 Cisco and/or its affiliates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029568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Backgrou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DCCEEF3C-78B3-9DB0-F5C7-889F441EA13A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2025 Cisco and/or its affiliates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2899299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Backgrou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9930D0E-D432-3648-DE4B-297F70E0A327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2025 Cisco and/or its affiliates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5107441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28729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Backgrou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9930D0E-D432-3648-DE4B-297F70E0A327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2025 Cisco and/or its affiliates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8218772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-Backgrou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9930D0E-D432-3648-DE4B-297F70E0A327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2025 Cisco and/or its affiliates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9514378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-Backgrou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9930D0E-D432-3648-DE4B-297F70E0A327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2025 Cisco and/or its affiliates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42783407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-Backgroun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9930D0E-D432-3648-DE4B-297F70E0A327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2025 Cisco and/or its affiliates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40067152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9930D0E-D432-3648-DE4B-297F70E0A327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2025 Cisco and/or its affiliates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40893367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9930D0E-D432-3648-DE4B-297F70E0A327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2025 Cisco and/or its affiliates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3891539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69930D0E-D432-3648-DE4B-297F70E0A327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2025 Cisco and/or its affiliates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10931814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365985" y="6374027"/>
            <a:ext cx="349765" cy="219419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92773B-7150-44D2-AFDB-DE60A8A0F625}"/>
              </a:ext>
            </a:extLst>
          </p:cNvPr>
          <p:cNvSpPr/>
          <p:nvPr/>
        </p:nvSpPr>
        <p:spPr>
          <a:xfrm>
            <a:off x="304800" y="6414273"/>
            <a:ext cx="2819400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2" name="Picture 1" descr="Logo, company name&#10;&#10;Description automatically generated">
            <a:extLst>
              <a:ext uri="{FF2B5EF4-FFF2-40B4-BE49-F238E27FC236}">
                <a16:creationId xmlns:a16="http://schemas.microsoft.com/office/drawing/2014/main" id="{F83A6BDE-203D-9D69-A068-480C8CD897E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39585" y="2209800"/>
            <a:ext cx="2912830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41490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5" y="6389267"/>
            <a:ext cx="522485" cy="235371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A6D29B22-B4B3-3C77-C976-4F97630644E2}"/>
              </a:ext>
            </a:extLst>
          </p:cNvPr>
          <p:cNvSpPr/>
          <p:nvPr/>
        </p:nvSpPr>
        <p:spPr>
          <a:xfrm>
            <a:off x="533400" y="6389267"/>
            <a:ext cx="990600" cy="235371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B3CD6738-F3F4-7F99-7DD9-2114549A526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27003" y="6061498"/>
            <a:ext cx="1633196" cy="499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20307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68" indent="-228578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39" indent="-220112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09" indent="-146035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592" indent="-228532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123" indent="-224298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9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03959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ight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37D987C-CDA7-4757-9F6D-0A04BA63E53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2969"/>
          <a:stretch/>
        </p:blipFill>
        <p:spPr>
          <a:xfrm>
            <a:off x="0" y="2"/>
            <a:ext cx="12192000" cy="687142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CF23CCC-58B7-C840-9242-AA8E18B830B3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0080260" y="6214838"/>
            <a:ext cx="1554872" cy="422924"/>
          </a:xfrm>
          <a:prstGeom prst="rect">
            <a:avLst/>
          </a:prstGeom>
        </p:spPr>
      </p:pic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41143" y="4713807"/>
            <a:ext cx="6314695" cy="511087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Speaker’s Nam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41143" y="5264012"/>
            <a:ext cx="6314695" cy="950824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Job Title here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1143" y="993221"/>
            <a:ext cx="6312765" cy="196977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6667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over headline sentence cas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 hasCustomPrompt="1"/>
          </p:nvPr>
        </p:nvSpPr>
        <p:spPr>
          <a:xfrm>
            <a:off x="541143" y="3017205"/>
            <a:ext cx="6328221" cy="1696600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2667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 err="1"/>
              <a:t>Subheadline</a:t>
            </a:r>
            <a:r>
              <a:rPr lang="en-US"/>
              <a:t> in sentence case</a:t>
            </a:r>
          </a:p>
        </p:txBody>
      </p:sp>
      <p:sp>
        <p:nvSpPr>
          <p:cNvPr id="11" name="Footer Placeholder 3">
            <a:extLst>
              <a:ext uri="{FF2B5EF4-FFF2-40B4-BE49-F238E27FC236}">
                <a16:creationId xmlns:a16="http://schemas.microsoft.com/office/drawing/2014/main" id="{FA08DDBA-7B96-42E2-86EA-0C94483881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6C811A-A9F2-354B-BB7E-B122569E995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 altLang="zh-TW"/>
              <a:t>Month</a:t>
            </a:r>
            <a:r>
              <a:rPr lang="zh-TW" altLang="en-US"/>
              <a:t> </a:t>
            </a:r>
            <a:r>
              <a:rPr lang="en-US" altLang="zh-TW"/>
              <a:t>XX,</a:t>
            </a:r>
            <a:r>
              <a:rPr lang="zh-TW" altLang="en-US"/>
              <a:t> </a:t>
            </a:r>
            <a:r>
              <a:rPr lang="en-US" altLang="zh-TW"/>
              <a:t>Year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70108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A305123-92F2-4B89-A355-7539327F08C3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1500" y="2787408"/>
            <a:ext cx="3465576" cy="3420333"/>
          </a:xfrm>
        </p:spPr>
        <p:txBody>
          <a:bodyPr/>
          <a:lstStyle>
            <a:lvl3pPr>
              <a:defRPr/>
            </a:lvl3pPr>
            <a:lvl4pPr marL="514350" indent="-17145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1907558"/>
            <a:ext cx="3465576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2" name="Content Placeholder 4">
            <a:extLst>
              <a:ext uri="{FF2B5EF4-FFF2-40B4-BE49-F238E27FC236}">
                <a16:creationId xmlns:a16="http://schemas.microsoft.com/office/drawing/2014/main" id="{F96C995E-58E0-4A91-AA56-8759CFD3EA73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499" y="2787408"/>
            <a:ext cx="3467099" cy="3420333"/>
          </a:xfrm>
        </p:spPr>
        <p:txBody>
          <a:bodyPr/>
          <a:lstStyle>
            <a:lvl3pPr>
              <a:defRPr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071BF92C-4C07-4794-8CC8-D51F3173376C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0" y="1907558"/>
            <a:ext cx="3467099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4" name="Content Placeholder 4">
            <a:extLst>
              <a:ext uri="{FF2B5EF4-FFF2-40B4-BE49-F238E27FC236}">
                <a16:creationId xmlns:a16="http://schemas.microsoft.com/office/drawing/2014/main" id="{47F7CD6B-9884-4317-A0E7-31AE02F93993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0" y="2787408"/>
            <a:ext cx="3467100" cy="3420333"/>
          </a:xfrm>
        </p:spPr>
        <p:txBody>
          <a:bodyPr/>
          <a:lstStyle>
            <a:lvl3pPr marL="346075" indent="-171450">
              <a:buFont typeface="Arial" panose="020B0604020202020204" pitchFamily="34" charset="0"/>
              <a:buChar char="•"/>
              <a:defRPr/>
            </a:lvl3pPr>
            <a:lvl4pPr marL="512763" indent="-169863"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EECB8C3-35E8-4930-A0AE-3BA62609BFD9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8153400" y="1904999"/>
            <a:ext cx="3467100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1D46A44-801A-40B4-8117-1D09F7B03348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9A2394E-0E95-4850-A756-0015178A4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50DAF14-F79F-48F1-BCFF-1EC74CF6ED79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21646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with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A712B4B-CA11-4116-8559-6D5A2D1AD8D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1"/>
            <a:ext cx="5384800" cy="334378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/>
            </a:lvl1pPr>
            <a:lvl2pPr>
              <a:defRPr lang="en-US" sz="1067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94" lvl="0" indent="-228594"/>
            <a:r>
              <a:rPr lang="en-US"/>
              <a:t>Click to edit Master text styles</a:t>
            </a:r>
          </a:p>
          <a:p>
            <a:pPr marL="228594" lvl="1" indent="-228594"/>
            <a:r>
              <a:rPr lang="en-US"/>
              <a:t>Second level</a:t>
            </a:r>
          </a:p>
          <a:p>
            <a:pPr marL="228594" lvl="2" indent="-228594"/>
            <a:r>
              <a:rPr lang="en-US"/>
              <a:t>Third level</a:t>
            </a:r>
          </a:p>
          <a:p>
            <a:pPr marL="228594" lvl="3" indent="-228594"/>
            <a:r>
              <a:rPr lang="en-US"/>
              <a:t>Four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599"/>
            <a:ext cx="5390428" cy="1552303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D667F840-8562-40AC-BE3D-8404AB46E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3984B84-E026-4120-A200-04C1B3AFF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3ADC711-D282-4C9D-AD92-4B5C00C5CDD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36416050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0FB953B-93BA-45FD-AD0D-5A607DEF5ABD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95012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8" y="1435771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A832AD-9020-43CC-9118-CF9573E3613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4" y="6390605"/>
            <a:ext cx="382947" cy="93183"/>
          </a:xfrm>
          <a:prstGeom prst="rect">
            <a:avLst/>
          </a:prstGeom>
        </p:spPr>
      </p:pic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9C3388C-D351-41C3-8A5A-719088525C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bg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8FF48E17-5F97-4F10-BA4E-743A412EE4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78C9D1-477C-4088-B4A6-993E397641F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3655211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696DE5-6EFF-4C09-9943-5FCA93FF6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011A5B07-96E9-42C8-81C4-56D26550D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4FE852-4660-4623-83C0-2F7C9B6EDB27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4 Cisco and/or its affiliates. All rights reserved. Cisco Confidentia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CCC6C03-EF21-44ED-8593-CDA31C61E8DD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931135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9CE094B7-A2CC-4860-A57D-F142C2E63FC6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4041159"/>
            <a:ext cx="3465576" cy="2169141"/>
          </a:xfrm>
        </p:spPr>
        <p:txBody>
          <a:bodyPr/>
          <a:lstStyle>
            <a:lvl3pPr marL="346075" indent="-17145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E2DCECB4-BB48-48B5-A871-A080DE20BDFF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499" y="4041159"/>
            <a:ext cx="3467099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Content Placeholder 4">
            <a:extLst>
              <a:ext uri="{FF2B5EF4-FFF2-40B4-BE49-F238E27FC236}">
                <a16:creationId xmlns:a16="http://schemas.microsoft.com/office/drawing/2014/main" id="{868F585C-1E6D-44C6-9295-9866846056CD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0" y="4038600"/>
            <a:ext cx="3467100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A1EBBB-1490-4A58-9FEB-3DAB9E66019A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577124" y="3429000"/>
            <a:ext cx="3465576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6C65CC39-4D00-45CB-AE15-8C3D3E976756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0" y="3429000"/>
            <a:ext cx="3467099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9291D51-BC1A-4ED4-8278-30B67F7C4AA7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8153400" y="3426441"/>
            <a:ext cx="3467100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42E7DBE-A450-4BC3-A3EC-3A1EE7839F6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4 Cisco and/or its affiliates. All rights reserved. 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94344F4-D05A-E24F-A679-CB39B058D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1084CAD-AB1E-47FC-A2EF-2D347CCE071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196712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6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4869789"/>
            <a:ext cx="7277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1500" y="5248892"/>
            <a:ext cx="72771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790701"/>
            <a:ext cx="7277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0" y="3431817"/>
            <a:ext cx="7277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0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C213C3D1-EB09-4146-8395-36A5B8D30F2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00053" y="6133088"/>
            <a:ext cx="1366496" cy="41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779923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lf &amp; Half Title Slide Dark Layout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4869789"/>
            <a:ext cx="5372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1500" y="5248892"/>
            <a:ext cx="53721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790701"/>
            <a:ext cx="5372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0" y="3431817"/>
            <a:ext cx="5372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0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73A75F9-B823-4C33-BC6A-70650FACD3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48400" y="0"/>
            <a:ext cx="5943600" cy="6858000"/>
          </a:xfrm>
          <a:noFill/>
        </p:spPr>
        <p:txBody>
          <a:bodyPr anchor="ctr" anchorCtr="0"/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77128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ive Topics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372100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213C59-7880-41D1-9DE5-B53FA71B4F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48400" y="609600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0BD0D78-FA9C-47FE-A8C5-A942C1A9A1E0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080810" y="609600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4D1B0561-72B3-4A7C-9434-B0EDE523688D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080810" y="1037804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FB88D30E-5998-42C2-BFDA-6C6AA1F33F7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48400" y="164719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6D18BF23-F279-48A8-8AFF-AC70F73F091E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7080810" y="1647193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8445664B-F9E1-4D1D-9F6E-DA27AF43C21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7080810" y="2075397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31F0F46D-89DF-46CA-934B-C124727D937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48400" y="2684788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8BB0DD2A-742F-4019-B2A6-6AC6CF3BEEA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080810" y="2684787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4D48E93A-11A3-45A0-961F-26062021432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080810" y="3112991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365D378F-8BFE-41E2-A048-4F1E113B408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48400" y="3722381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4681FE84-1510-4206-91AF-B290EF3C0E1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7080810" y="3722381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58EB90C9-03A7-449D-A8F3-B379B319950E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7080810" y="4150585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E3E332E3-41A2-4350-A7FE-20CB379706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0" y="475997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948A5A7B-49E0-4CF2-8080-E002145F2FF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10" y="4759974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B8F46644-76D3-4C51-9163-739A1F5F7650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10" y="5188178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7D1C11A-12D9-461B-A255-03DBC65A944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EA8191E0-49D0-4036-B896-597B5FEF138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24030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6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Ten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372100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2875B737-D8C9-4B5A-A987-E648592F8AB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71500" y="2437942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1BC899D-37C3-4568-A4DF-0B0EDE20DC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403910" y="243794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B5D11EE-1D55-4041-81BF-2D405343AEB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1403910" y="286614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78F2AB5-8A22-4344-B743-464793BF69F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71500" y="327862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2A1D5CE-6473-44B2-BC10-1AC73E1B795C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403910" y="327862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D8A733FF-648D-413A-A965-9380FF19EB3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403910" y="370682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C4EAFF18-13A5-4454-9A4E-50C9683A086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71500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3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5CFB554-4FA5-44FE-AD9D-94ADB8A1596B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403910" y="4118817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E82D60C9-C7E6-4DE4-8E8B-9A9D85E509A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1403910" y="4547021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1C81A21-CB5C-4EBA-AA54-D73A670B36B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71500" y="4959740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4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3D704AA8-F2E6-4E6E-BA0F-C73614C721D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1403910" y="4959740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66AE59D2-11F7-416C-B366-F23200F2C468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403910" y="5387944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898C6801-7507-4803-A711-42CEC857E56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0" y="243794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5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7589C976-7FFB-4218-BF7E-1F78F2A1F02C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10" y="243794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0F3DDABD-EE25-49C3-9A53-2657DAD77A8C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10" y="286614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17167DB7-5308-42DC-AEE9-AAED2ED164D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248400" y="327862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6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620B5D7B-672A-4FB9-9717-E785586DA30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7080810" y="327862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E23B210E-5C88-4516-A864-36247F88D733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7080810" y="370682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37DB0FAF-76DD-43D1-B897-9417F5B3AB7B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48400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7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B0C7BE68-E1A9-48A3-8ADD-8FDB96C02A40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7080810" y="4118817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5195D37A-ED4A-4E1F-A476-81831613075B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080810" y="4547021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62FE476F-78D3-4BBD-ADB0-A014E40BC384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48400" y="4959740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8</a:t>
            </a:r>
          </a:p>
        </p:txBody>
      </p:sp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D42D2D51-155D-4C35-BC5F-B8F1C46DC335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7080810" y="4959740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EBF4B885-D002-47D6-8922-12B72E21CACE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7080810" y="5387944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0EEB412-0CE0-4F00-8756-0957743AE431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2DB28A58-94F9-401A-ADF6-47C90FEA956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124475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641625"/>
            <a:ext cx="11080025" cy="1044544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>
            <a:lvl1pPr>
              <a:defRPr lang="en-US" spc="-133" baseline="0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60FCB4-EE3E-42E3-BBE8-23ACC4C8255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58800" y="1686169"/>
            <a:ext cx="11074400" cy="791633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Subhead here</a:t>
            </a:r>
          </a:p>
        </p:txBody>
      </p:sp>
    </p:spTree>
    <p:extLst>
      <p:ext uri="{BB962C8B-B14F-4D97-AF65-F5344CB8AC3E}">
        <p14:creationId xmlns:p14="http://schemas.microsoft.com/office/powerpoint/2010/main" val="26982721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up to 5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7" y="993223"/>
            <a:ext cx="4518361" cy="205379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ontents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F3B1879A-B619-984E-82C7-4434B9F2A25C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5782531" y="1013366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1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4BD297AF-7D2D-D94D-B0E8-94538FF52057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6578192" y="2480483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EB822921-0C8E-3C44-A1CD-F57BC9505616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5782531" y="2088631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2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DA9D4E5-FBBF-994F-AA3B-A8FD8ADBD704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6578192" y="3556662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B03C4A2-7938-6849-8D46-277EC2DB2F8E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6578192" y="3135605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5E9B8D30-521D-864E-AAD2-9AB01D6BBF2E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5782531" y="3155431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3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CF377F4-3F0E-754A-84E9-8885433BCA73}"/>
              </a:ext>
            </a:extLst>
          </p:cNvPr>
          <p:cNvSpPr>
            <a:spLocks noGrp="1"/>
          </p:cNvSpPr>
          <p:nvPr>
            <p:ph type="body" sz="half" idx="33" hasCustomPrompt="1"/>
          </p:nvPr>
        </p:nvSpPr>
        <p:spPr>
          <a:xfrm>
            <a:off x="6578192" y="4623463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8B6D2346-F32B-6245-ABF4-0D656814BDAC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6578192" y="4202405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90907DA3-7813-1343-BE3E-5E4707F98652}"/>
              </a:ext>
            </a:extLst>
          </p:cNvPr>
          <p:cNvSpPr>
            <a:spLocks noGrp="1"/>
          </p:cNvSpPr>
          <p:nvPr>
            <p:ph type="body" sz="half" idx="35" hasCustomPrompt="1"/>
          </p:nvPr>
        </p:nvSpPr>
        <p:spPr>
          <a:xfrm>
            <a:off x="5782531" y="4222231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4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4357F977-9E83-FB43-A933-EBF86645182F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6578192" y="5664862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44" name="Text Placeholder 3">
            <a:extLst>
              <a:ext uri="{FF2B5EF4-FFF2-40B4-BE49-F238E27FC236}">
                <a16:creationId xmlns:a16="http://schemas.microsoft.com/office/drawing/2014/main" id="{43AE9062-3EA5-8441-A358-162479B3E4C4}"/>
              </a:ext>
            </a:extLst>
          </p:cNvPr>
          <p:cNvSpPr>
            <a:spLocks noGrp="1"/>
          </p:cNvSpPr>
          <p:nvPr>
            <p:ph type="body" sz="half" idx="37" hasCustomPrompt="1"/>
          </p:nvPr>
        </p:nvSpPr>
        <p:spPr>
          <a:xfrm>
            <a:off x="6578192" y="5243804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B32ED203-88E4-614B-AB16-C784FB6AAEC2}"/>
              </a:ext>
            </a:extLst>
          </p:cNvPr>
          <p:cNvSpPr>
            <a:spLocks noGrp="1"/>
          </p:cNvSpPr>
          <p:nvPr>
            <p:ph type="body" sz="half" idx="38" hasCustomPrompt="1"/>
          </p:nvPr>
        </p:nvSpPr>
        <p:spPr>
          <a:xfrm>
            <a:off x="5782531" y="5263631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5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FB49C323-7C7D-804E-82D9-2045EA5F8DCA}"/>
              </a:ext>
            </a:extLst>
          </p:cNvPr>
          <p:cNvSpPr>
            <a:spLocks noGrp="1"/>
          </p:cNvSpPr>
          <p:nvPr>
            <p:ph type="body" sz="half" idx="39" hasCustomPrompt="1"/>
          </p:nvPr>
        </p:nvSpPr>
        <p:spPr>
          <a:xfrm>
            <a:off x="6578192" y="978559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36E9A218-B974-1D4F-81D6-6E343885F274}"/>
              </a:ext>
            </a:extLst>
          </p:cNvPr>
          <p:cNvSpPr>
            <a:spLocks noGrp="1"/>
          </p:cNvSpPr>
          <p:nvPr>
            <p:ph type="body" sz="half" idx="40" hasCustomPrompt="1"/>
          </p:nvPr>
        </p:nvSpPr>
        <p:spPr>
          <a:xfrm>
            <a:off x="6578192" y="2057083"/>
            <a:ext cx="5059581" cy="421056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4E0C9FA-1CEF-D442-805C-B1304D12773B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6578192" y="1401959"/>
            <a:ext cx="5059581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EA9F760-54C7-4D39-BFBE-CB5FEB9E61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71820893-9915-4BFA-B034-1C8F63FF81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100000"/>
              </a:lnSpc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FFD397-3600-4EC8-8694-6DE9A09E921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3102793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696DE5-6EFF-4C09-9943-5FCA93FF6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011A5B07-96E9-42C8-81C4-56D26550D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4985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4FE852-4660-4623-83C0-2F7C9B6EDB27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CCC6C03-EF21-44ED-8593-CDA31C61E8DD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4221192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564E15E-85C2-40F1-B654-E42DCFBA1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 marL="0" indent="0">
              <a:buNone/>
              <a:defRPr sz="1400"/>
            </a:lvl2pPr>
            <a:lvl3pPr marL="228600" indent="0">
              <a:buNone/>
              <a:defRPr sz="1200"/>
            </a:lvl3pPr>
            <a:lvl4pPr marL="406400" indent="0"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30370F4-DF08-4B4A-A3BB-EB8905622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4985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3BE238-C084-4FBF-86DF-59C91AF8317F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1E1701B-4C10-476A-8FDF-6089699136E1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06777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E1C715D-9112-4A01-AD63-361439BFB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4985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E43F6E-A8D0-4155-BD27-8561034BB2B8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A02B8EA-12A2-4673-BF3F-8D4FB8234D2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94049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8EE2313-2646-4E0B-B6B4-BA07574D2F8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572B255-D144-453C-90FA-BB07F680CF0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D9DF569-2B30-EE4C-8D21-F21B97793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4985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C61E8BE-7C30-466D-96E8-145E0409391E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60042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7C7D94ED-0F39-4B30-8B40-B8D535783A5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CE85B47-180E-0542-8A98-FABBBFB2A6D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265EAF99-811E-0A42-AD86-6F1F07B547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4985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BC72363-F3A6-5E44-AD40-7647C83973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 marL="174625" indent="-174625">
              <a:defRPr sz="1400"/>
            </a:lvl2pPr>
            <a:lvl3pPr marL="346075" indent="-171450"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A216F31-D19E-4174-ACB7-CAFBD6AE68A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87673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49195570-1534-4F74-B303-B06313C227F6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66674A7-0DAD-C54D-BB6A-AB4B6F3D1CF2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48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4BFEFE0-97D7-B240-BC88-FC22052279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4985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82028C6-D96F-A145-862B-ED80E5C5EF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600"/>
            </a:lvl1pPr>
            <a:lvl2pPr marL="0" indent="0">
              <a:buFontTx/>
              <a:buNone/>
              <a:defRPr sz="1400"/>
            </a:lvl2pPr>
            <a:lvl3pPr marL="228600" indent="0">
              <a:buFontTx/>
              <a:buNone/>
              <a:defRPr sz="1200"/>
            </a:lvl3pPr>
            <a:lvl4pPr marL="406400" indent="0">
              <a:buFontTx/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A8F312C-C046-4076-8AB0-7EBEDB95055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76384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8C469D-456E-4ECF-83FA-AF1F3BDB26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500" y="1905000"/>
            <a:ext cx="5372100" cy="4305301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8E86-A92A-495E-A49E-35F25D765A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1905000"/>
            <a:ext cx="5372100" cy="4305302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512763" indent="-169863"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  <a:lvl5pPr marL="746125" indent="-174625">
              <a:defRPr lang="en-US" sz="600" b="0" i="0" kern="1200" spc="0" baseline="0" dirty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274A685-F33F-448C-B6FE-AB508BA75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4985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DAB2D8-1539-4822-9614-2E04B2120F5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9306D53-D47B-4F16-A012-78C12883E1D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17611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, Title &amp;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DC1BA0-9AAE-4457-AB7A-2225418D1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2663" y="1905000"/>
            <a:ext cx="5372100" cy="30777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87F35FC-680E-4287-99BA-ED6DF9E6085D}"/>
              </a:ext>
            </a:extLst>
          </p:cNvPr>
          <p:cNvSpPr>
            <a:spLocks noGrp="1"/>
          </p:cNvSpPr>
          <p:nvPr>
            <p:ph type="body" idx="57"/>
          </p:nvPr>
        </p:nvSpPr>
        <p:spPr>
          <a:xfrm>
            <a:off x="6249563" y="1905000"/>
            <a:ext cx="5372100" cy="307777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E451DCD-2B8C-4BF9-8D85-AA8F5ABE2826}"/>
              </a:ext>
            </a:extLst>
          </p:cNvPr>
          <p:cNvSpPr>
            <a:spLocks noGrp="1"/>
          </p:cNvSpPr>
          <p:nvPr>
            <p:ph sz="half" idx="58"/>
          </p:nvPr>
        </p:nvSpPr>
        <p:spPr>
          <a:xfrm>
            <a:off x="571500" y="2369053"/>
            <a:ext cx="5372100" cy="3841249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F39D5E2-4E9E-4B26-9E69-7D77328E4C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2369052"/>
            <a:ext cx="5372100" cy="3841249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 marL="746125" indent="-174625">
              <a:defRPr lang="en-US" sz="600" b="0" i="0" kern="1200" spc="0" baseline="0" dirty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C2285B0-0824-4973-8F1D-C24F2784A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4985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C254480-49EA-44F8-91E6-0FCF9F498DC6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D5DBBD6-CA78-4551-B263-2F8BFC4E781A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8138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58696A-2388-495D-981D-050920BB5C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5334000"/>
            <a:ext cx="5372099" cy="876300"/>
          </a:xfrm>
        </p:spPr>
        <p:txBody>
          <a:bodyPr>
            <a:noAutofit/>
          </a:bodyPr>
          <a:lstStyle>
            <a:lvl1pPr marL="0" indent="0">
              <a:buNone/>
              <a:tabLst/>
              <a:defRPr sz="16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C009990-5F38-4F94-ABE2-44DA301BD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0" y="5334000"/>
            <a:ext cx="5372099" cy="876300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D01E734-4CA7-4CBD-A769-BCC20375564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1500" y="1905000"/>
            <a:ext cx="5372100" cy="3271156"/>
          </a:xfrm>
          <a:solidFill>
            <a:schemeClr val="bg2"/>
          </a:solidFill>
        </p:spPr>
        <p:txBody>
          <a:bodyPr anchor="ctr" anchorCtr="0">
            <a:no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2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E24BD1C9-BB6F-4B1A-B0AC-70FBFBAD0DD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48400" y="1905000"/>
            <a:ext cx="5372100" cy="3271156"/>
          </a:xfrm>
          <a:solidFill>
            <a:schemeClr val="bg2"/>
          </a:solidFill>
        </p:spPr>
        <p:txBody>
          <a:bodyPr anchor="ctr" anchorCtr="0">
            <a:no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2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C3A3765-3130-474C-96F5-7E50AE68B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4985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CEFB623-3BE4-41A5-AD7A-7D81E50E12F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840F6A6-3445-46E0-90CD-B778CB75CB3D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02706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8C1C862-6F14-47C3-885D-12D6E1A99AA2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AD8007C-DE91-4E81-8041-976C5135CD04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656709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up to 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7" y="993224"/>
            <a:ext cx="5390425" cy="131883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ontents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F3B1879A-B619-984E-82C7-4434B9F2A25C}"/>
              </a:ext>
            </a:extLst>
          </p:cNvPr>
          <p:cNvSpPr>
            <a:spLocks noGrp="1"/>
          </p:cNvSpPr>
          <p:nvPr>
            <p:ph type="body" sz="half" idx="26" hasCustomPrompt="1"/>
          </p:nvPr>
        </p:nvSpPr>
        <p:spPr>
          <a:xfrm>
            <a:off x="558802" y="2478139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1</a:t>
            </a:r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4BD297AF-7D2D-D94D-B0E8-94538FF52057}"/>
              </a:ext>
            </a:extLst>
          </p:cNvPr>
          <p:cNvSpPr>
            <a:spLocks noGrp="1"/>
          </p:cNvSpPr>
          <p:nvPr>
            <p:ph type="body" sz="half" idx="27" hasCustomPrompt="1"/>
          </p:nvPr>
        </p:nvSpPr>
        <p:spPr>
          <a:xfrm>
            <a:off x="1354461" y="3810314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EB822921-0C8E-3C44-A1CD-F57BC9505616}"/>
              </a:ext>
            </a:extLst>
          </p:cNvPr>
          <p:cNvSpPr>
            <a:spLocks noGrp="1"/>
          </p:cNvSpPr>
          <p:nvPr>
            <p:ph type="body" sz="half" idx="29" hasCustomPrompt="1"/>
          </p:nvPr>
        </p:nvSpPr>
        <p:spPr>
          <a:xfrm>
            <a:off x="558802" y="3397683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2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2DA9D4E5-FBBF-994F-AA3B-A8FD8ADBD704}"/>
              </a:ext>
            </a:extLst>
          </p:cNvPr>
          <p:cNvSpPr>
            <a:spLocks noGrp="1"/>
          </p:cNvSpPr>
          <p:nvPr>
            <p:ph type="body" sz="half" idx="30" hasCustomPrompt="1"/>
          </p:nvPr>
        </p:nvSpPr>
        <p:spPr>
          <a:xfrm>
            <a:off x="1354461" y="4734070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8" name="Text Placeholder 3">
            <a:extLst>
              <a:ext uri="{FF2B5EF4-FFF2-40B4-BE49-F238E27FC236}">
                <a16:creationId xmlns:a16="http://schemas.microsoft.com/office/drawing/2014/main" id="{FB03C4A2-7938-6849-8D46-277EC2DB2F8E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1354461" y="4312233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5E9B8D30-521D-864E-AAD2-9AB01D6BBF2E}"/>
              </a:ext>
            </a:extLst>
          </p:cNvPr>
          <p:cNvSpPr>
            <a:spLocks noGrp="1"/>
          </p:cNvSpPr>
          <p:nvPr>
            <p:ph type="body" sz="half" idx="32" hasCustomPrompt="1"/>
          </p:nvPr>
        </p:nvSpPr>
        <p:spPr>
          <a:xfrm>
            <a:off x="558802" y="4317227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3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5CF377F4-3F0E-754A-84E9-8885433BCA73}"/>
              </a:ext>
            </a:extLst>
          </p:cNvPr>
          <p:cNvSpPr>
            <a:spLocks noGrp="1"/>
          </p:cNvSpPr>
          <p:nvPr>
            <p:ph type="body" sz="half" idx="33" hasCustomPrompt="1"/>
          </p:nvPr>
        </p:nvSpPr>
        <p:spPr>
          <a:xfrm>
            <a:off x="1342112" y="5657827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41" name="Text Placeholder 3">
            <a:extLst>
              <a:ext uri="{FF2B5EF4-FFF2-40B4-BE49-F238E27FC236}">
                <a16:creationId xmlns:a16="http://schemas.microsoft.com/office/drawing/2014/main" id="{8B6D2346-F32B-6245-ABF4-0D656814BDAC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1342112" y="5236770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90907DA3-7813-1343-BE3E-5E4707F98652}"/>
              </a:ext>
            </a:extLst>
          </p:cNvPr>
          <p:cNvSpPr>
            <a:spLocks noGrp="1"/>
          </p:cNvSpPr>
          <p:nvPr>
            <p:ph type="body" sz="half" idx="35" hasCustomPrompt="1"/>
          </p:nvPr>
        </p:nvSpPr>
        <p:spPr>
          <a:xfrm>
            <a:off x="546452" y="5236771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4</a:t>
            </a:r>
          </a:p>
        </p:txBody>
      </p:sp>
      <p:sp>
        <p:nvSpPr>
          <p:cNvPr id="46" name="Text Placeholder 3">
            <a:extLst>
              <a:ext uri="{FF2B5EF4-FFF2-40B4-BE49-F238E27FC236}">
                <a16:creationId xmlns:a16="http://schemas.microsoft.com/office/drawing/2014/main" id="{FB49C323-7C7D-804E-82D9-2045EA5F8DCA}"/>
              </a:ext>
            </a:extLst>
          </p:cNvPr>
          <p:cNvSpPr>
            <a:spLocks noGrp="1"/>
          </p:cNvSpPr>
          <p:nvPr>
            <p:ph type="body" sz="half" idx="39" hasCustomPrompt="1"/>
          </p:nvPr>
        </p:nvSpPr>
        <p:spPr>
          <a:xfrm>
            <a:off x="1354461" y="2463158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7" name="Text Placeholder 3">
            <a:extLst>
              <a:ext uri="{FF2B5EF4-FFF2-40B4-BE49-F238E27FC236}">
                <a16:creationId xmlns:a16="http://schemas.microsoft.com/office/drawing/2014/main" id="{36E9A218-B974-1D4F-81D6-6E343885F274}"/>
              </a:ext>
            </a:extLst>
          </p:cNvPr>
          <p:cNvSpPr>
            <a:spLocks noGrp="1"/>
          </p:cNvSpPr>
          <p:nvPr>
            <p:ph type="body" sz="half" idx="40" hasCustomPrompt="1"/>
          </p:nvPr>
        </p:nvSpPr>
        <p:spPr>
          <a:xfrm>
            <a:off x="1354461" y="3387696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84E0C9FA-1CEF-D442-805C-B1304D12773B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1354461" y="2886558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EA9F760-54C7-4D39-BFBE-CB5FEB9E61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71820893-9915-4BFA-B034-1C8F63FF81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100000"/>
              </a:lnSpc>
              <a:defRPr sz="800" spc="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FFD397-3600-4EC8-8694-6DE9A09E921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53C20764-63DC-41E8-9C7F-E25D307EE557}"/>
              </a:ext>
            </a:extLst>
          </p:cNvPr>
          <p:cNvSpPr>
            <a:spLocks noGrp="1"/>
          </p:cNvSpPr>
          <p:nvPr>
            <p:ph type="body" sz="half" idx="43" hasCustomPrompt="1"/>
          </p:nvPr>
        </p:nvSpPr>
        <p:spPr>
          <a:xfrm>
            <a:off x="6264208" y="2463158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5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54FF577-772A-41CF-B806-B27FEBD63D74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7059868" y="3795331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FB55BF2F-380E-4EFB-B046-8182E6C5D20A}"/>
              </a:ext>
            </a:extLst>
          </p:cNvPr>
          <p:cNvSpPr>
            <a:spLocks noGrp="1"/>
          </p:cNvSpPr>
          <p:nvPr>
            <p:ph type="body" sz="half" idx="45" hasCustomPrompt="1"/>
          </p:nvPr>
        </p:nvSpPr>
        <p:spPr>
          <a:xfrm>
            <a:off x="6264208" y="3382702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6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43F57A3-46B0-4550-84B1-CC695920B0EE}"/>
              </a:ext>
            </a:extLst>
          </p:cNvPr>
          <p:cNvSpPr>
            <a:spLocks noGrp="1"/>
          </p:cNvSpPr>
          <p:nvPr>
            <p:ph type="body" sz="half" idx="46" hasCustomPrompt="1"/>
          </p:nvPr>
        </p:nvSpPr>
        <p:spPr>
          <a:xfrm>
            <a:off x="7059868" y="4719087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53789CA6-53C8-4BAE-954E-06003EB6D646}"/>
              </a:ext>
            </a:extLst>
          </p:cNvPr>
          <p:cNvSpPr>
            <a:spLocks noGrp="1"/>
          </p:cNvSpPr>
          <p:nvPr>
            <p:ph type="body" sz="half" idx="47" hasCustomPrompt="1"/>
          </p:nvPr>
        </p:nvSpPr>
        <p:spPr>
          <a:xfrm>
            <a:off x="7059868" y="4297250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6496AA22-DA56-4B97-8E59-16462CD7A335}"/>
              </a:ext>
            </a:extLst>
          </p:cNvPr>
          <p:cNvSpPr>
            <a:spLocks noGrp="1"/>
          </p:cNvSpPr>
          <p:nvPr>
            <p:ph type="body" sz="half" idx="48" hasCustomPrompt="1"/>
          </p:nvPr>
        </p:nvSpPr>
        <p:spPr>
          <a:xfrm>
            <a:off x="6264208" y="4302246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6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E4C89E3A-AB27-4036-93FF-BD8A83504130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7047519" y="5642843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0F66D1C-C372-4707-AA8E-384994CA8FB5}"/>
              </a:ext>
            </a:extLst>
          </p:cNvPr>
          <p:cNvSpPr>
            <a:spLocks noGrp="1"/>
          </p:cNvSpPr>
          <p:nvPr>
            <p:ph type="body" sz="half" idx="50" hasCustomPrompt="1"/>
          </p:nvPr>
        </p:nvSpPr>
        <p:spPr>
          <a:xfrm>
            <a:off x="7047519" y="5221788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F21B11E7-AF06-4AAF-A83E-878C585EC666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6251859" y="5221790"/>
            <a:ext cx="795663" cy="314044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08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C44A6C6A-3712-4F22-AB73-02EF14791FEB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7059868" y="2448176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98A57429-28BA-4B50-8D4B-BE52589BD153}"/>
              </a:ext>
            </a:extLst>
          </p:cNvPr>
          <p:cNvSpPr>
            <a:spLocks noGrp="1"/>
          </p:cNvSpPr>
          <p:nvPr>
            <p:ph type="body" sz="half" idx="53" hasCustomPrompt="1"/>
          </p:nvPr>
        </p:nvSpPr>
        <p:spPr>
          <a:xfrm>
            <a:off x="7059868" y="3372713"/>
            <a:ext cx="4601488" cy="42105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400" spc="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 sz="2316" spc="-49">
                <a:latin typeface="CiscoSansTT" panose="020B0503020201020303" pitchFamily="34" charset="0"/>
              </a:rPr>
              <a:t>Chapter title here </a:t>
            </a:r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8FE7BF6C-D02D-4BAF-82B1-B39EC24946DD}"/>
              </a:ext>
            </a:extLst>
          </p:cNvPr>
          <p:cNvSpPr>
            <a:spLocks noGrp="1"/>
          </p:cNvSpPr>
          <p:nvPr>
            <p:ph type="body" sz="half" idx="54" hasCustomPrompt="1"/>
          </p:nvPr>
        </p:nvSpPr>
        <p:spPr>
          <a:xfrm>
            <a:off x="7059868" y="2871575"/>
            <a:ext cx="4601488" cy="164148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200" spc="0" baseline="0">
                <a:solidFill>
                  <a:schemeClr val="tx1"/>
                </a:solidFill>
                <a:latin typeface="CiscoSansTT Light" panose="020B0503020201020303" pitchFamily="34" charset="0"/>
              </a:defRPr>
            </a:lvl1pPr>
          </a:lstStyle>
          <a:p>
            <a:r>
              <a:rPr lang="en-US"/>
              <a:t>Section description here</a:t>
            </a:r>
          </a:p>
        </p:txBody>
      </p:sp>
    </p:spTree>
    <p:extLst>
      <p:ext uri="{BB962C8B-B14F-4D97-AF65-F5344CB8AC3E}">
        <p14:creationId xmlns:p14="http://schemas.microsoft.com/office/powerpoint/2010/main" val="4546899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DDEF7496-FB76-482F-B4DC-5B78B30B1B0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054F9D6-4889-4D51-9ADF-D453DFF1E8E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905000"/>
            <a:ext cx="12192000" cy="43053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algn="ctr"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3476B1-5604-4136-9D0F-58F8AF89B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4985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CDEE37D-020A-4A22-922F-31441A6C8745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706797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054F9D6-4889-4D51-9ADF-D453DFF1E8E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blipFill dpi="0" rotWithShape="1">
            <a:blip r:embed="rId2">
              <a:alphaModFix amt="2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DEF7496-FB76-482F-B4DC-5B78B30B1B0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96465F4-B55E-463E-9A4A-F93B1EE9FD6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6807" y="6364637"/>
            <a:ext cx="503671" cy="221124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81D1E80-33EB-4E5D-9415-4B0EE02EBDF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26668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Section Header"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6734A84-A20E-4265-848D-432FAF49C4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2236BEA-8B84-4433-AC6E-DE816054A44B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76FF25-9CEA-4D73-9CD8-BCF0613C55EA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531038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Section Header"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4BE6003-571D-4817-A40A-6421214126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4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4156D67-C67F-41CF-BA17-0B2BFD535E2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92C7D0-4978-4D65-A39E-9CB076EFBCC3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442829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Section Header">
    <p:bg>
      <p:bgPr>
        <a:blipFill dpi="0" rotWithShape="1">
          <a:blip r:embed="rId2" cstate="hq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10703F-CBA9-4296-B386-BA35019F8F44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79EE8F-1900-4C5E-A4C1-BB6BE90235E1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60457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D6DF483-DD51-444D-AF16-AF31E72FDD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514350" indent="-171450">
              <a:buFont typeface="Arial" panose="020B0604020202020204" pitchFamily="34" charset="0"/>
              <a:buChar char="•"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0BAC715-F543-452A-80B1-3A07B10B2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7300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F48862-22C1-482F-B821-3D8CC682DAB1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524910-4FFE-49EA-99DE-65BFB724546B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749978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7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1E1BB935-C530-47D2-883E-00828E3A8FC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200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D970870-8847-48D6-ACCA-B0F7D662F2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 marL="514350" indent="-171450">
              <a:buFont typeface="Arial" panose="020B0604020202020204" pitchFamily="34" charset="0"/>
              <a:buChar char="•"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8CEBD18-98E9-4568-A90A-5715A834E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7300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38F8A1A-3A97-4C8E-9550-2C62BC10A83F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8532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7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FEF2E81-694A-4A5A-BEDE-DF13285D820B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5E2598-51C8-4F83-B09D-69C86C142A3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1905000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737D39F-19A0-4D2A-8E85-527465AFD610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188208" y="1905000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4FE5E7B-ECDC-404D-9B30-E7B580CCEED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714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1CDB75F-12E1-4403-B291-31A3B1C83B0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1882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BA687946-9318-4CD5-B900-AA488A7BDA5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200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ECBF8DC3-DA3E-470B-AE86-6B154E24E3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7300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312C61A-B9D3-456C-953D-82B30FE7C4A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03595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552">
          <p15:clr>
            <a:srgbClr val="A4A3A4"/>
          </p15:clr>
        </p15:guide>
        <p15:guide id="3" pos="4128">
          <p15:clr>
            <a:srgbClr val="A4A3A4"/>
          </p15:clr>
        </p15:guide>
        <p15:guide id="4" orient="horz" pos="1656">
          <p15:clr>
            <a:srgbClr val="A4A3A4"/>
          </p15:clr>
        </p15:guide>
        <p15:guide id="5" orient="horz" pos="1752">
          <p15:clr>
            <a:srgbClr val="A4A3A4"/>
          </p15:clr>
        </p15:guide>
      </p15:sldGuideLst>
    </p:ext>
  </p:extLst>
</p:sldLayout>
</file>

<file path=ppt/slideLayouts/slideLayout7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689F426-4C63-454D-B133-BC94D9D160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B15451E-AF4B-4B3A-B376-2003DB48C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8698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217611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9F1EE91-F457-4893-88BA-AF3B71081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8698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490D2D3-F0B6-4527-A912-AE8F2F7E703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714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D27C7EF2-E1C7-403F-81BA-2822B0BADEE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1882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322DDD1-796F-4817-A0A2-B54629B89214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1905000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5075854-0A14-4136-BC79-1BC72756705A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188208" y="1905000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204812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552">
          <p15:clr>
            <a:srgbClr val="A4A3A4"/>
          </p15:clr>
        </p15:guide>
        <p15:guide id="2" pos="4152">
          <p15:clr>
            <a:srgbClr val="A4A3A4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unlimited 2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7" y="993224"/>
            <a:ext cx="5390425" cy="131883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ontents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3EA9F760-54C7-4D39-BFBE-CB5FEB9E612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71820893-9915-4BFA-B034-1C8F63FF81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lnSpc>
                <a:spcPct val="100000"/>
              </a:lnSpc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1FFD397-3600-4EC8-8694-6DE9A09E921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64E693A-514B-4840-BF84-65FC4630DA48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558800" y="2494135"/>
            <a:ext cx="11074400" cy="3539164"/>
          </a:xfrm>
        </p:spPr>
        <p:txBody>
          <a:bodyPr numCol="2" spcCol="457200">
            <a:noAutofit/>
          </a:bodyPr>
          <a:lstStyle>
            <a:lvl1pPr marL="383098" indent="-383098">
              <a:lnSpc>
                <a:spcPct val="120000"/>
              </a:lnSpc>
              <a:buSzPct val="100000"/>
              <a:buFont typeface="+mj-lt"/>
              <a:buAutoNum type="arabicPeriod"/>
              <a:defRPr>
                <a:latin typeface="+mj-lt"/>
              </a:defRPr>
            </a:lvl1pPr>
            <a:lvl2pPr>
              <a:lnSpc>
                <a:spcPct val="120000"/>
              </a:lnSpc>
              <a:defRPr>
                <a:latin typeface="+mj-lt"/>
              </a:defRPr>
            </a:lvl2pPr>
            <a:lvl3pPr>
              <a:lnSpc>
                <a:spcPct val="120000"/>
              </a:lnSpc>
              <a:defRPr>
                <a:latin typeface="+mj-lt"/>
              </a:defRPr>
            </a:lvl3pPr>
            <a:lvl4pPr>
              <a:lnSpc>
                <a:spcPct val="120000"/>
              </a:lnSpc>
              <a:defRPr>
                <a:latin typeface="+mj-lt"/>
              </a:defRPr>
            </a:lvl4pPr>
            <a:lvl5pPr>
              <a:lnSpc>
                <a:spcPct val="120000"/>
              </a:lnSpc>
              <a:defRPr>
                <a:latin typeface="+mj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531071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AEEE0BE-B874-4CB1-92B1-404602B5CA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B74128E-BA5E-4242-8B4E-D1F742670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613D29C-0961-4A3D-8A56-1E1B5BC7445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1F61BA1-F848-4E08-8C07-5D6D5E6C0A8C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68289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7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C82BCFB0-2C06-4262-9388-B4438F4E968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68778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E96ABEA8-C693-429B-8E00-CBD848A92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1F330DC-3ED8-470C-84C4-C7D10A9020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8BD350E-1BA7-4789-8917-9D2180DC456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9479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7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2BE86DFA-31C3-4F24-A7FF-57697A0FEFD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68778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BA23DE7-CFFA-40A9-9A64-A60D8665455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553199" y="1910149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60001BE-2917-4768-B6B6-BEC070C85F3E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71232" y="1910149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F033B061-30E2-4203-B7D3-0E4FF6C4CC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4F90B59D-E2BD-42BC-B3BC-06F77504882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5531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8269256-DD80-4564-A3AF-D017D4A7ED5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1699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BB20381-4C93-463A-927C-0BB3E602CAA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46990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7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F60A532-8EEA-467C-8E7E-39CF1DB485A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6D3B650-5EC2-4F87-A7DF-85C7547613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4FB1BE2-EC71-4AA4-B103-A670DCD7AA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55836A8-05ED-470D-9C33-44AD1D4866F1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40253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7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F60A532-8EEA-467C-8E7E-39CF1DB485A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9A0B76E-2F1E-4BD6-AA72-3682A69C9C34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553199" y="1910149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5818B49-B6BC-412E-A21D-631A69222221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71232" y="1910149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442FDF7C-40C4-4C20-819D-D8B06F0E8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7B14163-B0FE-4287-968A-93DE8034681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5531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4927BC81-4C08-47F4-BA08-8F857CA477A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1699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E009170-4223-4B7A-A077-F74B3DE3688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9830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7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A305123-92F2-4B89-A355-7539327F08C3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1500" y="2787408"/>
            <a:ext cx="3465576" cy="3420333"/>
          </a:xfrm>
        </p:spPr>
        <p:txBody>
          <a:bodyPr/>
          <a:lstStyle>
            <a:lvl3pPr>
              <a:defRPr/>
            </a:lvl3pPr>
            <a:lvl4pPr marL="514350" indent="-17145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1907558"/>
            <a:ext cx="3465576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2" name="Content Placeholder 4">
            <a:extLst>
              <a:ext uri="{FF2B5EF4-FFF2-40B4-BE49-F238E27FC236}">
                <a16:creationId xmlns:a16="http://schemas.microsoft.com/office/drawing/2014/main" id="{F96C995E-58E0-4A91-AA56-8759CFD3EA73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499" y="2787408"/>
            <a:ext cx="3467099" cy="3420333"/>
          </a:xfrm>
        </p:spPr>
        <p:txBody>
          <a:bodyPr/>
          <a:lstStyle>
            <a:lvl3pPr>
              <a:defRPr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071BF92C-4C07-4794-8CC8-D51F3173376C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0" y="1907558"/>
            <a:ext cx="3467099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4" name="Content Placeholder 4">
            <a:extLst>
              <a:ext uri="{FF2B5EF4-FFF2-40B4-BE49-F238E27FC236}">
                <a16:creationId xmlns:a16="http://schemas.microsoft.com/office/drawing/2014/main" id="{47F7CD6B-9884-4317-A0E7-31AE02F93993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0" y="2787408"/>
            <a:ext cx="3467100" cy="3420333"/>
          </a:xfrm>
        </p:spPr>
        <p:txBody>
          <a:bodyPr/>
          <a:lstStyle>
            <a:lvl3pPr marL="346075" indent="-171450">
              <a:buFont typeface="Arial" panose="020B0604020202020204" pitchFamily="34" charset="0"/>
              <a:buChar char="•"/>
              <a:defRPr/>
            </a:lvl3pPr>
            <a:lvl4pPr marL="512763" indent="-169863"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EECB8C3-35E8-4930-A0AE-3BA62609BFD9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8153400" y="1904999"/>
            <a:ext cx="3467100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1D46A44-801A-40B4-8117-1D09F7B03348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9A2394E-0E95-4850-A756-0015178A4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4985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50DAF14-F79F-48F1-BCFF-1EC74CF6ED79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9631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9CE094B7-A2CC-4860-A57D-F142C2E63FC6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4041159"/>
            <a:ext cx="3465576" cy="2169141"/>
          </a:xfrm>
        </p:spPr>
        <p:txBody>
          <a:bodyPr/>
          <a:lstStyle>
            <a:lvl3pPr marL="346075" indent="-17145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E2DCECB4-BB48-48B5-A871-A080DE20BDFF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499" y="4041159"/>
            <a:ext cx="3467099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Content Placeholder 4">
            <a:extLst>
              <a:ext uri="{FF2B5EF4-FFF2-40B4-BE49-F238E27FC236}">
                <a16:creationId xmlns:a16="http://schemas.microsoft.com/office/drawing/2014/main" id="{868F585C-1E6D-44C6-9295-9866846056CD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0" y="4038600"/>
            <a:ext cx="3467100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A1EBBB-1490-4A58-9FEB-3DAB9E66019A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577124" y="3429000"/>
            <a:ext cx="3465576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6C65CC39-4D00-45CB-AE15-8C3D3E976756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0" y="3429000"/>
            <a:ext cx="3467099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9291D51-BC1A-4ED4-8278-30B67F7C4AA7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8153400" y="3426441"/>
            <a:ext cx="3467100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42E7DBE-A450-4BC3-A3EC-3A1EE7839F6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94344F4-D05A-E24F-A679-CB39B058D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4985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1084CAD-AB1E-47FC-A2EF-2D347CCE071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821254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8D3B3576-E092-44AC-9525-9DA3161E6EE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C21223BB-13C2-46FE-9733-BCC3C77A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4985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2102BF9D-05AF-4C40-AEC2-376EE9F4E666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577124" y="4041159"/>
            <a:ext cx="2514600" cy="2169141"/>
          </a:xfrm>
        </p:spPr>
        <p:txBody>
          <a:bodyPr/>
          <a:lstStyle>
            <a:lvl3pPr>
              <a:defRPr/>
            </a:lvl3pPr>
            <a:lvl4pPr marL="342900" indent="0">
              <a:buNone/>
              <a:defRPr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F548FAB6-7AFF-4D5A-A1E9-06C746623E4C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429001" y="4041159"/>
            <a:ext cx="2510730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FB91503-30B7-4FD7-846E-47F4CF9F474A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6244532" y="4041159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E14F77AB-427A-46FA-9A58-62890F9733C1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9088316" y="4041159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72B32549-6990-4E43-A843-9EEA9CC29CF0}"/>
              </a:ext>
            </a:extLst>
          </p:cNvPr>
          <p:cNvSpPr>
            <a:spLocks noGrp="1"/>
          </p:cNvSpPr>
          <p:nvPr>
            <p:ph type="body" sz="half" idx="77" hasCustomPrompt="1"/>
          </p:nvPr>
        </p:nvSpPr>
        <p:spPr>
          <a:xfrm>
            <a:off x="577124" y="3429000"/>
            <a:ext cx="25146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A54DA02-E155-45D5-B886-1EDF7135C93F}"/>
              </a:ext>
            </a:extLst>
          </p:cNvPr>
          <p:cNvSpPr>
            <a:spLocks noGrp="1"/>
          </p:cNvSpPr>
          <p:nvPr>
            <p:ph type="body" sz="half" idx="78" hasCustomPrompt="1"/>
          </p:nvPr>
        </p:nvSpPr>
        <p:spPr>
          <a:xfrm>
            <a:off x="3429001" y="3429000"/>
            <a:ext cx="2514599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EC4E001-5A82-4221-8FE3-9B25D98B0EA9}"/>
              </a:ext>
            </a:extLst>
          </p:cNvPr>
          <p:cNvSpPr>
            <a:spLocks noGrp="1"/>
          </p:cNvSpPr>
          <p:nvPr>
            <p:ph type="body" sz="half" idx="79" hasCustomPrompt="1"/>
          </p:nvPr>
        </p:nvSpPr>
        <p:spPr>
          <a:xfrm>
            <a:off x="6244532" y="3426441"/>
            <a:ext cx="2511833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E779C7D-755B-428C-BB0F-6496238D6D83}"/>
              </a:ext>
            </a:extLst>
          </p:cNvPr>
          <p:cNvSpPr>
            <a:spLocks noGrp="1"/>
          </p:cNvSpPr>
          <p:nvPr>
            <p:ph type="body" sz="half" idx="80" hasCustomPrompt="1"/>
          </p:nvPr>
        </p:nvSpPr>
        <p:spPr>
          <a:xfrm>
            <a:off x="9088316" y="3426441"/>
            <a:ext cx="2511833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A758410-2F69-431F-99F7-B6259194CBFF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72987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29000" y="0"/>
            <a:ext cx="8762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5309CA-3E25-47B8-99B6-670FE796BB9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971800"/>
            <a:ext cx="2552700" cy="3238500"/>
          </a:xfrm>
        </p:spPr>
        <p:txBody>
          <a:bodyPr/>
          <a:lstStyle>
            <a:lvl3pPr marL="346075" indent="-17145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8B3BBBD-95D5-473C-B5AA-4C86DA04A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2552700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36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39769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872">
          <p15:clr>
            <a:srgbClr val="A4A3A4"/>
          </p15:clr>
        </p15:guide>
        <p15:guide id="3" orient="horz" pos="1680">
          <p15:clr>
            <a:srgbClr val="A4A3A4"/>
          </p15:clr>
        </p15:guide>
      </p15:sldGuideLst>
    </p:ext>
  </p:extLst>
</p:sldLayout>
</file>

<file path=ppt/slideLayouts/slideLayout7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76700" y="609600"/>
            <a:ext cx="75438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4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336A642-95C4-40BE-AE95-D81502EF3AE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E0708104-F9EC-4157-95F0-FA326192EA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609600"/>
            <a:ext cx="2857500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36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</a:t>
            </a:r>
            <a:br>
              <a:rPr lang="en-US"/>
            </a:br>
            <a:r>
              <a:rPr lang="en-US"/>
              <a:t>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B1B1C66-A921-41B1-B007-79881FEFA60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971800"/>
            <a:ext cx="2857500" cy="3238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C2511D1-1C83-4E3F-B853-447E699CCCF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555293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86F225C-F7F7-4528-849E-361C51FFB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904" y="990602"/>
            <a:ext cx="11077296" cy="126135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696DE5-6EFF-4C09-9943-5FCA93FF6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352" y="2431881"/>
            <a:ext cx="11077296" cy="3744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38FCC569-4B46-4920-ACAD-F80E06ACD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98D7571-5BE1-4182-8211-BAD95EBE9A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2B15268-7993-4213-A094-A98AEF8E227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2484684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29000" y="0"/>
            <a:ext cx="8762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4891977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71499" y="5486401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8" y="3631820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8" y="3037396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F1A913C-478C-4159-AD61-19314F8B1D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2552699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36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607972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94026FE-B789-4F5D-805E-02B0631E7EC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8" y="4891977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0788797-0721-4FDF-B9A8-D8FD6A85E245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71498" y="5486401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0231F72B-DB93-439F-8D5C-3A98DBB9C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609600"/>
            <a:ext cx="5372099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36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042C4D8C-C05E-40DC-A5F1-D8E216530543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8" y="3631820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79DD178-20FD-4061-A4CF-ADAD80B00223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8" y="3037396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55C8534-6B0E-41CD-9706-61F591BFF126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390900" y="4891977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0DECDBD2-EF07-4EFE-81B0-67DD271A8E4A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390900" y="5486401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A005CF03-ABB1-4046-89FC-A41C9CAD1DE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3390899" y="3631820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49AEAAD6-2FA1-420B-BCE8-48233BD945BF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3390899" y="3037396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38378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7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81500" y="609600"/>
            <a:ext cx="34671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</a:t>
            </a:r>
            <a:br>
              <a:rPr lang="en-US"/>
            </a:br>
            <a:r>
              <a:rPr lang="en-US"/>
              <a:t>photo here or click or tap </a:t>
            </a:r>
            <a:br>
              <a:rPr lang="en-US"/>
            </a:br>
            <a:r>
              <a:rPr lang="en-US"/>
              <a:t>icon 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80B26961-BE72-42FE-83E3-E9413C61E43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153400" y="609600"/>
            <a:ext cx="34671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</a:t>
            </a:r>
            <a:br>
              <a:rPr lang="en-US"/>
            </a:br>
            <a:r>
              <a:rPr lang="en-US"/>
              <a:t>photo here or click or tap </a:t>
            </a:r>
            <a:br>
              <a:rPr lang="en-US"/>
            </a:br>
            <a:r>
              <a:rPr lang="en-US"/>
              <a:t>icon 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7117EB1-347D-42E5-8273-C02EF79929C2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8" y="3276600"/>
            <a:ext cx="3505201" cy="29337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E1DC698-4F08-40A9-8E7D-20E5FF561A26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8" y="2057400"/>
            <a:ext cx="3505201" cy="1066800"/>
          </a:xfrm>
        </p:spPr>
        <p:txBody>
          <a:bodyPr wrap="square" anchor="b" anchorCtr="0">
            <a:noAutofit/>
          </a:bodyPr>
          <a:lstStyle>
            <a:lvl1pPr>
              <a:defRPr lang="en-US" sz="2000" dirty="0" smtClean="0"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E0567A-A5F3-4C61-8B3C-08121E05DDC7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D3E41E21-7547-4B83-8F53-91A26F07F5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3505201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36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6FBF98B-2A50-454A-BE00-7C981795572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439865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6EE0FED-0F8F-1D4B-BDC6-134B0FE8D3AF}"/>
              </a:ext>
            </a:extLst>
          </p:cNvPr>
          <p:cNvSpPr/>
          <p:nvPr/>
        </p:nvSpPr>
        <p:spPr>
          <a:xfrm>
            <a:off x="3428999" y="0"/>
            <a:ext cx="8763001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00FA166-5D3F-4D89-9646-F16A985660E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25527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E9CD8F1-BCCB-4886-9A5C-6DBC2AED36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25527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36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8F119A-0C2E-4A56-861D-52501224E76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99034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488">
          <p15:clr>
            <a:srgbClr val="A4A3A4"/>
          </p15:clr>
        </p15:guide>
        <p15:guide id="3" orient="horz" pos="1584">
          <p15:clr>
            <a:srgbClr val="A4A3A4"/>
          </p15:clr>
        </p15:guide>
      </p15:sldGuideLst>
    </p:ext>
  </p:extLst>
</p:sldLayout>
</file>

<file path=ppt/slideLayouts/slideLayout7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97389CA-AA00-4146-B54D-B32C999B76FE}"/>
              </a:ext>
            </a:extLst>
          </p:cNvPr>
          <p:cNvSpPr/>
          <p:nvPr/>
        </p:nvSpPr>
        <p:spPr>
          <a:xfrm>
            <a:off x="4991100" y="0"/>
            <a:ext cx="72009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3852A25-25D6-4B6B-902F-93AEC433B73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38100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CC6C67FE-13C1-4F4C-8B7C-A596738753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38100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36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74ED29-7748-494F-852C-C675DE7124A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0461114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5F55B17-88C3-D348-889E-49139B7173C6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C55F65A-E884-4545-813B-8B12A150F0E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47244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C7E4F0C-628A-4B9F-8B0B-ACF8C8FB35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47244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36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B4C80E-343D-4240-BC0E-A777164C587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445744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wo Data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7848600" y="1905380"/>
            <a:ext cx="3771900" cy="1242697"/>
          </a:xfrm>
        </p:spPr>
        <p:txBody>
          <a:bodyPr/>
          <a:lstStyle>
            <a:lvl1pPr>
              <a:spcAft>
                <a:spcPts val="300"/>
              </a:spcAft>
              <a:defRPr sz="2400">
                <a:latin typeface="+mj-lt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7848600" y="1172402"/>
            <a:ext cx="3771900" cy="553998"/>
          </a:xfrm>
        </p:spPr>
        <p:txBody>
          <a:bodyPr wrap="square" anchor="t" anchorCtr="0">
            <a:spAutoFit/>
          </a:bodyPr>
          <a:lstStyle>
            <a:lvl1pPr>
              <a:defRPr sz="3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XX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E4E13D-43FB-4287-8055-FE35994AA77F}"/>
              </a:ext>
            </a:extLst>
          </p:cNvPr>
          <p:cNvCxnSpPr>
            <a:cxnSpLocks/>
          </p:cNvCxnSpPr>
          <p:nvPr/>
        </p:nvCxnSpPr>
        <p:spPr>
          <a:xfrm>
            <a:off x="7847932" y="1066800"/>
            <a:ext cx="3780167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F04E06-6C46-46FE-9956-F0E8ED6633DF}"/>
              </a:ext>
            </a:extLst>
          </p:cNvPr>
          <p:cNvCxnSpPr>
            <a:cxnSpLocks/>
          </p:cNvCxnSpPr>
          <p:nvPr/>
        </p:nvCxnSpPr>
        <p:spPr>
          <a:xfrm>
            <a:off x="7847932" y="3429000"/>
            <a:ext cx="3780167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C652CDCF-A770-46B4-8121-F76B79BBD16B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BC8C455-2242-44E3-A715-51CE102AB98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53721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C222245D-C3A3-4396-926D-88ECBE5C8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53721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36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0676A19-4AB7-4E11-A8A8-87E09D920368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848600" y="4276402"/>
            <a:ext cx="3771900" cy="1242697"/>
          </a:xfrm>
        </p:spPr>
        <p:txBody>
          <a:bodyPr/>
          <a:lstStyle>
            <a:lvl1pPr>
              <a:spcAft>
                <a:spcPts val="300"/>
              </a:spcAft>
              <a:defRPr sz="2400">
                <a:latin typeface="+mj-lt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05020DF-F1F5-4BD5-B207-F94988F4F455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848600" y="3543424"/>
            <a:ext cx="37719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A0EEA72-5966-4ADA-9370-9330195584D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1901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Four Data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067269" y="3539749"/>
            <a:ext cx="2551216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9067184" y="4298127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9067800" y="1778380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067800" y="1020002"/>
            <a:ext cx="25527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E4E13D-43FB-4287-8055-FE35994AA77F}"/>
              </a:ext>
            </a:extLst>
          </p:cNvPr>
          <p:cNvCxnSpPr>
            <a:cxnSpLocks/>
          </p:cNvCxnSpPr>
          <p:nvPr/>
        </p:nvCxnSpPr>
        <p:spPr>
          <a:xfrm>
            <a:off x="9069804" y="9144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F04E06-6C46-46FE-9956-F0E8ED6633DF}"/>
              </a:ext>
            </a:extLst>
          </p:cNvPr>
          <p:cNvCxnSpPr>
            <a:cxnSpLocks/>
          </p:cNvCxnSpPr>
          <p:nvPr/>
        </p:nvCxnSpPr>
        <p:spPr>
          <a:xfrm>
            <a:off x="9069804" y="342899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13425D7-1452-4F87-AE64-7C2F048C2469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248485" y="3539749"/>
            <a:ext cx="2551216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806E283-8E77-44C1-84BC-00B971D42EBD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248400" y="4298127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BDD5CD07-CCF1-451E-8B13-2BE3821C220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249016" y="1778385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sz="1600">
                <a:latin typeface="+mj-lt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DD3D7F-C0BF-415A-9378-D8759CED06B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9016" y="1020002"/>
            <a:ext cx="25527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B67A14D-E25C-4D75-8D2E-0D450CE9656D}"/>
              </a:ext>
            </a:extLst>
          </p:cNvPr>
          <p:cNvCxnSpPr>
            <a:cxnSpLocks/>
          </p:cNvCxnSpPr>
          <p:nvPr/>
        </p:nvCxnSpPr>
        <p:spPr>
          <a:xfrm>
            <a:off x="6251020" y="91440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9FFCD6B-6781-45B9-A0FF-441B99A220B5}"/>
              </a:ext>
            </a:extLst>
          </p:cNvPr>
          <p:cNvCxnSpPr>
            <a:cxnSpLocks/>
          </p:cNvCxnSpPr>
          <p:nvPr/>
        </p:nvCxnSpPr>
        <p:spPr>
          <a:xfrm>
            <a:off x="6251020" y="34290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58239EE2-4739-4DF9-A78C-6994DD9D6E29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8EBC35A6-C3F6-4CAA-B6FE-77A0C0F6904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53721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367F26D2-980E-498C-9B01-AEF3F1821C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53721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36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1DE9A97B-CB1E-4FA3-9806-5D1E1D446DEE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45095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C865750-8F0C-6B4A-A308-228D6B53EE0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254B061-C071-4247-8356-D55F1F50C5D6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8E7470-A9D2-4756-B67E-9B25728B0E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E2BE28-CF01-49D3-AF0B-092C5B9F5DD1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7E1B09A-7737-4F73-8857-1144D4CA24F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8643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6A164E9-1234-4BC2-B8E7-F3047AC35998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9BFEE4A-F2C6-4F21-8071-313D1B3C613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361C734-A636-4E0E-A708-B9C530351863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DDA5770-9471-B746-BDC8-3306A09120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2453D8B-1785-4D30-B87D-91AEE8A23A9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25778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7" y="990602"/>
            <a:ext cx="11080025" cy="127000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4082234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9CBA9FE-67A6-43C6-8EE8-C7E8559F1DB7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1486C46-F4F9-421A-A39F-3E52A938244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BE82382-DE4E-4A48-A33B-C56A93877509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FAB8C5-AE86-9F4C-A87D-A5551D4E663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40A3314-D7F9-4E72-B2F7-E008E985900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427889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2B69982-B253-4DE6-9C5E-FB93C3A27F4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22572" y="4880809"/>
            <a:ext cx="6145427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lang="en-US" sz="1400" b="0" i="0" kern="0" spc="0" baseline="0" dirty="0">
                <a:solidFill>
                  <a:schemeClr val="tx1"/>
                </a:solidFill>
                <a:latin typeface="CiscoSansTT Medium" panose="020B0903020201020303" pitchFamily="34" charset="0"/>
                <a:ea typeface="+mn-ea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Insert name her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46ED238B-31FF-436C-9838-14BADBEE1071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3429000" y="4648200"/>
            <a:ext cx="952500" cy="952500"/>
          </a:xfrm>
          <a:prstGeom prst="ellipse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67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13AA95C-29B9-4045-B598-AA928D1B9666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4522572" y="5225969"/>
            <a:ext cx="6145427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lang="en-US" sz="12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Job title, company, loc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C98AB57-B534-43CE-8598-7264AC2F5F2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FB38577-29E6-6546-851F-B5859A13FFB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C6E4486-5C09-4179-B8AA-BE5DFD4AA98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493777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8ECCB6B-46C4-4E71-97ED-219163FCE9B9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D938136-20C6-401D-BA2C-F3CC96E9757F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12122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20F9E4-16CA-4B30-ADCC-BD4809B43944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0FB953B-93BA-45FD-AD0D-5A607DEF5ABD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92286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D4C5D01-C630-4FFC-963D-B04C145573C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4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348D590-B05C-4613-AFD1-D65C0ED502C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71263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5" y="6431691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92773B-7150-44D2-AFDB-DE60A8A0F625}"/>
              </a:ext>
            </a:extLst>
          </p:cNvPr>
          <p:cNvSpPr/>
          <p:nvPr/>
        </p:nvSpPr>
        <p:spPr>
          <a:xfrm>
            <a:off x="304800" y="6414273"/>
            <a:ext cx="2819400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BEBFBF78-0E90-472B-B2BB-48C8ECC385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39585" y="2209800"/>
            <a:ext cx="2912830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60375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5" y="6431691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B8EB6A92-1A18-4242-B37B-061D783A1E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33353" y="6061498"/>
            <a:ext cx="1633196" cy="49932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79071DA-63B2-46A2-892F-B272FF3B2408}"/>
              </a:ext>
            </a:extLst>
          </p:cNvPr>
          <p:cNvSpPr/>
          <p:nvPr/>
        </p:nvSpPr>
        <p:spPr>
          <a:xfrm>
            <a:off x="525451" y="6410479"/>
            <a:ext cx="503249" cy="1503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968017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B26D13EE-9849-D53E-BA46-E07BF3AC4475}"/>
              </a:ext>
            </a:extLst>
          </p:cNvPr>
          <p:cNvSpPr txBox="1"/>
          <p:nvPr/>
        </p:nvSpPr>
        <p:spPr>
          <a:xfrm>
            <a:off x="3429000" y="647515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© 2025 Cisco and/or its affiliates. All rights reserved</a:t>
            </a:r>
          </a:p>
        </p:txBody>
      </p:sp>
    </p:spTree>
    <p:extLst>
      <p:ext uri="{BB962C8B-B14F-4D97-AF65-F5344CB8AC3E}">
        <p14:creationId xmlns:p14="http://schemas.microsoft.com/office/powerpoint/2010/main" val="20330194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-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659EACC-EF0B-DBB8-8025-D2E258BD4D51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0000">
              <a:alpha val="2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Title 1">
            <a:extLst>
              <a:ext uri="{FF2B5EF4-FFF2-40B4-BE49-F238E27FC236}">
                <a16:creationId xmlns:a16="http://schemas.microsoft.com/office/drawing/2014/main" id="{47680A0F-0357-9930-6511-7A6D6893F3D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81025" y="1905001"/>
            <a:ext cx="6315075" cy="3048002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44D797FF-8A58-6A0D-8181-CC099E66810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23157" y="6402737"/>
            <a:ext cx="503671" cy="22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299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32270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7" y="641625"/>
            <a:ext cx="11080025" cy="1044544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>
            <a:lvl1pPr>
              <a:defRPr lang="en-US" spc="-133" baseline="0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60FCB4-EE3E-42E3-BBE8-23ACC4C8255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58800" y="1686170"/>
            <a:ext cx="11074400" cy="791633"/>
          </a:xfrm>
        </p:spPr>
        <p:txBody>
          <a:bodyPr/>
          <a:lstStyle>
            <a:lvl1pPr marL="0" indent="0">
              <a:buNone/>
              <a:defRPr sz="2400"/>
            </a:lvl1pPr>
          </a:lstStyle>
          <a:p>
            <a:pPr lvl="0"/>
            <a:r>
              <a:rPr lang="en-US"/>
              <a:t>Subhead here</a:t>
            </a:r>
          </a:p>
        </p:txBody>
      </p:sp>
    </p:spTree>
    <p:extLst>
      <p:ext uri="{BB962C8B-B14F-4D97-AF65-F5344CB8AC3E}">
        <p14:creationId xmlns:p14="http://schemas.microsoft.com/office/powerpoint/2010/main" val="8512790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8EE2313-2646-4E0B-B6B4-BA07574D2F8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D9DF569-2B30-EE4C-8D21-F21B97793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63128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3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096722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71501" y="4869790"/>
            <a:ext cx="7277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571501" y="5248892"/>
            <a:ext cx="7277100" cy="1846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790702"/>
            <a:ext cx="7277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1" y="3431818"/>
            <a:ext cx="7277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943391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Five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1"/>
            <a:ext cx="5372100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213C59-7880-41D1-9DE5-B53FA71B4F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48401" y="609601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0BD0D78-FA9C-47FE-A8C5-A942C1A9A1E0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080809" y="609601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4D1B0561-72B3-4A7C-9434-B0EDE523688D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080809" y="1037805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FB88D30E-5998-42C2-BFDA-6C6AA1F33F7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48401" y="1647195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6D18BF23-F279-48A8-8AFF-AC70F73F091E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7080809" y="1647194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8445664B-F9E1-4D1D-9F6E-DA27AF43C21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7080809" y="207539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31F0F46D-89DF-46CA-934B-C124727D937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48401" y="2684789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8BB0DD2A-742F-4019-B2A6-6AC6CF3BEEA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080809" y="2684787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4D48E93A-11A3-45A0-961F-26062021432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080809" y="3112993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365D378F-8BFE-41E2-A048-4F1E113B408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48401" y="3722382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4681FE84-1510-4206-91AF-B290EF3C0E1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7080809" y="3722382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58EB90C9-03A7-449D-A8F3-B379B319950E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7080809" y="4150586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E3E332E3-41A2-4350-A7FE-20CB379706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1" y="475997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948A5A7B-49E0-4CF2-8080-E002145F2FF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09" y="4759974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B8F46644-76D3-4C51-9163-739A1F5F7650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09" y="5188180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41B23B47-5918-4DB0-A1D6-44730C983C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B2905A12-2A4B-1248-9D86-4E6A4FC6EF3F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852396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lf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4AE6AC6C-422E-43F2-83DB-CC011DBDD87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C55F65A-E884-4545-813B-8B12A150F0E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6882384" y="609600"/>
            <a:ext cx="4724400" cy="245918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C7E4F0C-628A-4B9F-8B0B-ACF8C8FB35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47244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36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5A1F1940-D34E-8D47-8FB2-B5D3203E5C00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672028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8EE2313-2646-4E0B-B6B4-BA07574D2F8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30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594" indent="0">
              <a:buNone/>
              <a:defRPr/>
            </a:lvl3pPr>
            <a:lvl4pPr marL="406390" indent="0">
              <a:buNone/>
              <a:defRPr/>
            </a:lvl4pPr>
            <a:lvl5pPr marL="5714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EB3F24F0-C173-4234-BFC6-3647FC12150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D9DF569-2B30-EE4C-8D21-F21B97793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4985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9DE758E-1347-EE43-AB4D-5126385034A8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511956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D6DF483-DD51-444D-AF16-AF31E72FDD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1" y="1790701"/>
            <a:ext cx="5067300" cy="4419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7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0BAC715-F543-452A-80B1-3A07B10B2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1"/>
            <a:ext cx="5067300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B5F20A8F-C6EE-45B8-8D29-F4CBE62B85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40809CE-7F49-2D4C-B6B8-1ACEE239DEAE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6058814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7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E8B3C47-863B-4574-B144-B549D7CCFA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3852A25-25D6-4B6B-902F-93AEC433B73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1"/>
            <a:ext cx="38100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CC6C67FE-13C1-4F4C-8B7C-A596738753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609600"/>
            <a:ext cx="38100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36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A055FC-6B1E-FD46-A444-3C5EF70D630B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991019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Subhead &amp;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AC091585-1747-4BE7-B069-B5CB0A31F2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CE85B47-180E-0542-8A98-FABBBFB2A6D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30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594" indent="0">
              <a:buNone/>
              <a:defRPr/>
            </a:lvl3pPr>
            <a:lvl4pPr marL="406390" indent="0">
              <a:buNone/>
              <a:defRPr/>
            </a:lvl4pPr>
            <a:lvl5pPr marL="5714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265EAF99-811E-0A42-AD86-6F1F07B547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4985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BC72363-F3A6-5E44-AD40-7647C83973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790701"/>
            <a:ext cx="11045952" cy="4419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7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9EF7EDA-DDDA-F043-8E47-D8EAF78D675C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152261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lf &amp; Half Title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71501" y="4869790"/>
            <a:ext cx="5372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571501" y="5248892"/>
            <a:ext cx="5372100" cy="1846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790702"/>
            <a:ext cx="5372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48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1" y="3431818"/>
            <a:ext cx="5372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C5784175-C811-4384-815B-F3763C6C330D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38504" y="571501"/>
            <a:ext cx="1366496" cy="417784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73A75F9-B823-4C33-BC6A-70650FACD3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48400" y="0"/>
            <a:ext cx="5943600" cy="6858000"/>
          </a:xfrm>
          <a:solidFill>
            <a:schemeClr val="bg2"/>
          </a:solidFill>
        </p:spPr>
        <p:txBody>
          <a:bodyPr anchor="ctr" anchorCtr="0"/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78860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7" y="641625"/>
            <a:ext cx="11080025" cy="1044544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>
            <a:lvl1pPr>
              <a:defRPr lang="en-US" spc="-133" baseline="0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60FCB4-EE3E-42E3-BBE8-23ACC4C8255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58800" y="1686169"/>
            <a:ext cx="11074400" cy="627163"/>
          </a:xfr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70470B5-7D83-479D-9564-22B6B8F5C0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352" y="2431881"/>
            <a:ext cx="11077296" cy="3744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371224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Ten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1"/>
            <a:ext cx="5372100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2875B737-D8C9-4B5A-A987-E648592F8AB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71501" y="2437943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1BC899D-37C3-4568-A4DF-0B0EDE20DC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403909" y="243794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B5D11EE-1D55-4041-81BF-2D405343AEB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1403909" y="286614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78F2AB5-8A22-4344-B743-464793BF69F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71501" y="3278623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2A1D5CE-6473-44B2-BC10-1AC73E1B795C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403909" y="327862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D8A733FF-648D-413A-A965-9380FF19EB3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403909" y="370682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C4EAFF18-13A5-4454-9A4E-50C9683A086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71501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3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5CFB554-4FA5-44FE-AD9D-94ADB8A1596B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403909" y="4118818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E82D60C9-C7E6-4DE4-8E8B-9A9D85E509A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1403909" y="4547022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1C81A21-CB5C-4EBA-AA54-D73A670B36B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71501" y="4959741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4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3D704AA8-F2E6-4E6E-BA0F-C73614C721D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1403909" y="4959741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66AE59D2-11F7-416C-B366-F23200F2C468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403909" y="5387945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898C6801-7507-4803-A711-42CEC857E56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1" y="2437943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5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7589C976-7FFB-4218-BF7E-1F78F2A1F02C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09" y="243794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0F3DDABD-EE25-49C3-9A53-2657DAD77A8C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09" y="286614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17167DB7-5308-42DC-AEE9-AAED2ED164D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248401" y="3278623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6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620B5D7B-672A-4FB9-9717-E785586DA30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7080809" y="327862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E23B210E-5C88-4516-A864-36247F88D733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7080809" y="370682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37DB0FAF-76DD-43D1-B897-9417F5B3AB7B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48401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7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B0C7BE68-E1A9-48A3-8ADD-8FDB96C02A40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7080809" y="4118818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5195D37A-ED4A-4E1F-A476-81831613075B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080809" y="4547022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62FE476F-78D3-4BBD-ADB0-A014E40BC384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48401" y="4959741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8</a:t>
            </a:r>
          </a:p>
        </p:txBody>
      </p:sp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D42D2D51-155D-4C35-BC5F-B8F1C46DC335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7080809" y="4959741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EBF4B885-D002-47D6-8922-12B72E21CACE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7080809" y="5387945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Slide Number Placeholder 4">
            <a:extLst>
              <a:ext uri="{FF2B5EF4-FFF2-40B4-BE49-F238E27FC236}">
                <a16:creationId xmlns:a16="http://schemas.microsoft.com/office/drawing/2014/main" id="{9926C402-B30F-48CF-AE5C-DD17277645E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9F1B15E4-BBF8-E24D-985E-7DA45F42467A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302224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&amp;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696DE5-6EFF-4C09-9943-5FCA93FF6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790701"/>
            <a:ext cx="11045952" cy="4419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7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011A5B07-96E9-42C8-81C4-56D26550D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4985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13F3EF27-6A14-4D7C-8508-4A99550012A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17F1AB4-F334-C442-8B9D-D45124E547F0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1524348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564E15E-85C2-40F1-B654-E42DCFBA1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790701"/>
            <a:ext cx="11045952" cy="4419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400"/>
            </a:lvl1pPr>
            <a:lvl2pPr marL="0" indent="0">
              <a:buNone/>
              <a:defRPr sz="1200"/>
            </a:lvl2pPr>
            <a:lvl3pPr marL="228594" indent="0">
              <a:buNone/>
              <a:defRPr sz="1100"/>
            </a:lvl3pPr>
            <a:lvl4pPr marL="406390" indent="0">
              <a:buNone/>
              <a:defRPr sz="7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3D48BA6F-F538-4244-9C7F-AF4F865429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30370F4-DF08-4B4A-A3BB-EB8905622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4985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E555DEE-1395-174B-AE8E-B643EC88E217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4541307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B4490E3A-EE7B-48AF-BD6B-46266697BF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E1C715D-9112-4A01-AD63-361439BFB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4985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7C42270-232B-A847-8A43-EA8001EDF76D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7553445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, Subhead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6332A7A8-0C69-4C49-9300-B6F94D23892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66674A7-0DAD-C54D-BB6A-AB4B6F3D1CF2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48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594" indent="0">
              <a:buNone/>
              <a:defRPr/>
            </a:lvl3pPr>
            <a:lvl4pPr marL="406390" indent="0">
              <a:buNone/>
              <a:defRPr/>
            </a:lvl4pPr>
            <a:lvl5pPr marL="5714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4BFEFE0-97D7-B240-BC88-FC22052279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4985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82028C6-D96F-A145-862B-ED80E5C5EF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790701"/>
            <a:ext cx="11045952" cy="4419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400"/>
            </a:lvl1pPr>
            <a:lvl2pPr marL="0" indent="0">
              <a:buFontTx/>
              <a:buNone/>
              <a:defRPr sz="1200"/>
            </a:lvl2pPr>
            <a:lvl3pPr marL="228594" indent="0">
              <a:buFontTx/>
              <a:buNone/>
              <a:defRPr sz="1100"/>
            </a:lvl3pPr>
            <a:lvl4pPr marL="406390" indent="0">
              <a:buFontTx/>
              <a:buNone/>
              <a:defRPr sz="7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14BE079-0C8A-F04C-AD6B-3A01FAC1ADF9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907793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8C469D-456E-4ECF-83FA-AF1F3BDB26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501" y="1790701"/>
            <a:ext cx="5372100" cy="441960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7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8E86-A92A-495E-A49E-35F25D765A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1790700"/>
            <a:ext cx="5372100" cy="4419603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700"/>
            </a:lvl4pPr>
            <a:lvl5pPr marL="746107" indent="-174621">
              <a:defRPr lang="en-US" sz="600" b="0" i="0" kern="1200" spc="0" baseline="0" dirty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07B213B2-4EFE-44E5-8AB3-D9958325FC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274A685-F33F-448C-B6FE-AB508BA75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4985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65EAB6B-1787-424E-B8F9-5FFC80C5DDCD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0195286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, Title &amp;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DC1BA0-9AAE-4457-AB7A-2225418D1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2663" y="1790701"/>
            <a:ext cx="5372100" cy="30777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87F35FC-680E-4287-99BA-ED6DF9E6085D}"/>
              </a:ext>
            </a:extLst>
          </p:cNvPr>
          <p:cNvSpPr>
            <a:spLocks noGrp="1"/>
          </p:cNvSpPr>
          <p:nvPr>
            <p:ph type="body" idx="57"/>
          </p:nvPr>
        </p:nvSpPr>
        <p:spPr>
          <a:xfrm>
            <a:off x="6249563" y="1790701"/>
            <a:ext cx="5372100" cy="307777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E451DCD-2B8C-4BF9-8D85-AA8F5ABE2826}"/>
              </a:ext>
            </a:extLst>
          </p:cNvPr>
          <p:cNvSpPr>
            <a:spLocks noGrp="1"/>
          </p:cNvSpPr>
          <p:nvPr>
            <p:ph sz="half" idx="58"/>
          </p:nvPr>
        </p:nvSpPr>
        <p:spPr>
          <a:xfrm>
            <a:off x="571501" y="2247903"/>
            <a:ext cx="5372100" cy="39624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7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F39D5E2-4E9E-4B26-9E69-7D77328E4C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2247901"/>
            <a:ext cx="5372100" cy="3962400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700"/>
            </a:lvl4pPr>
            <a:lvl5pPr marL="746107" indent="-174621">
              <a:defRPr lang="en-US" sz="600" b="0" i="0" kern="1200" spc="0" baseline="0" dirty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6B7899C7-9188-4B2E-839A-A28FBD4D55C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C2285B0-0824-4973-8F1D-C24F2784A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4985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B0E151D-041E-E743-9B37-FA63984879DE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202441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58696A-2388-495D-981D-050920BB5C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1501" y="5334001"/>
            <a:ext cx="5372099" cy="876300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C009990-5F38-4F94-ABE2-44DA301BD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1" y="5334001"/>
            <a:ext cx="5372099" cy="876300"/>
          </a:xfrm>
        </p:spPr>
        <p:txBody>
          <a:bodyPr>
            <a:noAutofit/>
          </a:bodyPr>
          <a:lstStyle>
            <a:lvl1pPr marL="0" indent="0">
              <a:buNone/>
              <a:defRPr sz="14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D01E734-4CA7-4CBD-A769-BCC20375564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1501" y="1790700"/>
            <a:ext cx="5372100" cy="3385456"/>
          </a:xfrm>
          <a:solidFill>
            <a:schemeClr val="bg2"/>
          </a:solidFill>
        </p:spPr>
        <p:txBody>
          <a:bodyPr anchor="ctr" anchorCtr="0">
            <a:no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2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E24BD1C9-BB6F-4B1A-B0AC-70FBFBAD0DD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48401" y="1790700"/>
            <a:ext cx="5372100" cy="3385456"/>
          </a:xfrm>
          <a:solidFill>
            <a:schemeClr val="bg2"/>
          </a:solidFill>
        </p:spPr>
        <p:txBody>
          <a:bodyPr anchor="ctr" anchorCtr="0">
            <a:no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2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9D26F7AB-C797-48E9-9124-37843B1351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C3A3765-3130-474C-96F5-7E50AE68B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4985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5229ED3-831C-8C43-941B-C33938D332C9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507938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4">
            <a:extLst>
              <a:ext uri="{FF2B5EF4-FFF2-40B4-BE49-F238E27FC236}">
                <a16:creationId xmlns:a16="http://schemas.microsoft.com/office/drawing/2014/main" id="{C557799B-54AB-4A76-9053-00D54EC8F1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EF00920-8DB8-2748-AD5A-EE59B00473C6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396469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Bleed 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054F9D6-4889-4D51-9ADF-D453DFF1E8E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790702"/>
            <a:ext cx="12192000" cy="4419599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algn="ctr"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3476B1-5604-4136-9D0F-58F8AF89B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4985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011D7B8C-7603-4BF2-AEAA-0FD301A134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D7AB931-3B6F-924E-9F10-B02C1D8F80E3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7390764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44B570-6F41-4B23-A759-1FE123F71D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8C469D-456E-4ECF-83FA-AF1F3BDB26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9962" y="2870199"/>
            <a:ext cx="5036747" cy="3306764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8E86-A92A-495E-A49E-35F25D765A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4" y="2870199"/>
            <a:ext cx="5036747" cy="3306764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07E327-023E-47A7-9F81-203A5EF3E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C82030-C78E-4E63-AF50-53433F6349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631F93F1-F5D5-44EF-B435-0444DF40D6A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1368F3E-850C-DD48-B462-6EE195D064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33130604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1E1BB935-C530-47D2-883E-00828E3A8FC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201" y="609602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D970870-8847-48D6-ACCA-B0F7D662F2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1" y="1790701"/>
            <a:ext cx="5067300" cy="4419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7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8CEBD18-98E9-4568-A90A-5715A834E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1"/>
            <a:ext cx="5067300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26C5CB87-2344-468C-93DD-7615F480119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A443D67-62F7-3040-94D8-097D20DC6F44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504935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7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FEF2E81-694A-4A5A-BEDE-DF13285D820B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5E2598-51C8-4F83-B09D-69C86C142A3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501" y="1790701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737D39F-19A0-4D2A-8E85-527465AFD610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188208" y="1790701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4FE5E7B-ECDC-404D-9B30-E7B580CCEED3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571499" y="2667001"/>
            <a:ext cx="2448576" cy="35433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1CDB75F-12E1-4403-B291-31A3B1C83B04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3188208" y="2667001"/>
            <a:ext cx="2450592" cy="3543300"/>
          </a:xfrm>
        </p:spPr>
        <p:txBody>
          <a:bodyPr/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600"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BA687946-9318-4CD5-B900-AA488A7BDA5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201" y="609602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ECBF8DC3-DA3E-470B-AE86-6B154E24E3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1"/>
            <a:ext cx="5067300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7" name="Slide Number Placeholder 4">
            <a:extLst>
              <a:ext uri="{FF2B5EF4-FFF2-40B4-BE49-F238E27FC236}">
                <a16:creationId xmlns:a16="http://schemas.microsoft.com/office/drawing/2014/main" id="{D7F2E339-68BB-40B2-BD3E-BEF89AECA4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2A46EF5-84DB-9343-92AC-D0C1D8CF0445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091319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552">
          <p15:clr>
            <a:srgbClr val="A4A3A4"/>
          </p15:clr>
        </p15:guide>
        <p15:guide id="3" pos="4128">
          <p15:clr>
            <a:srgbClr val="A4A3A4"/>
          </p15:clr>
        </p15:guide>
        <p15:guide id="4" orient="horz" pos="1584">
          <p15:clr>
            <a:srgbClr val="A4A3A4"/>
          </p15:clr>
        </p15:guide>
        <p15:guide id="5" orient="horz" pos="1680">
          <p15:clr>
            <a:srgbClr val="A4A3A4"/>
          </p15:clr>
        </p15:guide>
      </p15:sldGuideLst>
    </p:ext>
  </p:extLst>
</p:sldLayout>
</file>

<file path=ppt/slideLayouts/slideLayout7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2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689F426-4C63-454D-B133-BC94D9D160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1" y="1790701"/>
            <a:ext cx="5067300" cy="4419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B15451E-AF4B-4B3A-B376-2003DB48C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5068699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F0CF4B5-8B93-A047-8367-6B6D9E393FA6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659746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eft 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2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4E61574-6170-418C-BEDF-8D1CE1D0695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501" y="1790701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80FC9FD5-44CF-4A1A-8431-D92F7740BC12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188208" y="1790701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A41077B9-AFD3-4965-8639-22DEAB59CC69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571499" y="2667001"/>
            <a:ext cx="2448576" cy="3543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36FB99AA-6985-4DAD-8EEA-914B21FD4F12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3188208" y="2667001"/>
            <a:ext cx="2450592" cy="3543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9F1EE91-F457-4893-88BA-AF3B71081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5068699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F6F65C1-6FBC-A14A-9DCD-E9400907BF9C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882447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552">
          <p15:clr>
            <a:srgbClr val="A4A3A4"/>
          </p15:clr>
        </p15:guide>
        <p15:guide id="2" pos="4152">
          <p15:clr>
            <a:srgbClr val="A4A3A4"/>
          </p15:clr>
        </p15:guide>
      </p15:sldGuideLst>
    </p:ext>
  </p:extLst>
</p:sldLayout>
</file>

<file path=ppt/slideLayouts/slideLayout7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AEEE0BE-B874-4CB1-92B1-404602B5CA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1" y="1790701"/>
            <a:ext cx="5067300" cy="4419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B74128E-BA5E-4242-8B4E-D1F742670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1"/>
            <a:ext cx="5068699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F7417622-23E6-4BE5-84C8-E1A29BAB3CA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095D226-C95A-FA47-AA21-B88FB1541388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239947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7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ight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C82BCFB0-2C06-4262-9388-B4438F4E968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68779" y="609602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7CE7532D-7513-48EC-B389-61E514E43AF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4A91454E-2EA6-44B8-A162-04BA18BBEDF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1" y="1790701"/>
            <a:ext cx="5067300" cy="4419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7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E96ABEA8-C693-429B-8E00-CBD848A92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1"/>
            <a:ext cx="5068699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6E3B86B-32CA-CA4F-9225-C62DB35FD013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410198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7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ight 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2BE86DFA-31C3-4F24-A7FF-57697A0FEFD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68779" y="609602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554C3E3F-6F47-404B-8F5C-6621904ABD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BA23DE7-CFFA-40A9-9A64-A60D8665455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554523" y="1790701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60001BE-2917-4768-B6B6-BEC070C85F3E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71232" y="1790701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4" name="Text Placeholder 5">
            <a:extLst>
              <a:ext uri="{FF2B5EF4-FFF2-40B4-BE49-F238E27FC236}">
                <a16:creationId xmlns:a16="http://schemas.microsoft.com/office/drawing/2014/main" id="{20725CC8-668B-42C0-ACB5-A4577AC924B6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6554523" y="2667001"/>
            <a:ext cx="2448576" cy="3543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CE996329-A2C3-44E1-8558-498449CDDA22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171232" y="2667001"/>
            <a:ext cx="2450592" cy="3543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F033B061-30E2-4203-B7D3-0E4FF6C4CC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1"/>
            <a:ext cx="5068699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7A864B3C-9A95-994D-B9AF-5A2CD33A2DE7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9235464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7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ight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F60A532-8EEA-467C-8E7E-39CF1DB485A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8" name="Slide Number Placeholder 4">
            <a:extLst>
              <a:ext uri="{FF2B5EF4-FFF2-40B4-BE49-F238E27FC236}">
                <a16:creationId xmlns:a16="http://schemas.microsoft.com/office/drawing/2014/main" id="{7DE0CBD0-55B2-4C7B-9EC1-F68B63256B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E35F03C2-9929-464B-A02D-DE256E706D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1" y="1790701"/>
            <a:ext cx="5067300" cy="4419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6D3B650-5EC2-4F87-A7DF-85C7547613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1"/>
            <a:ext cx="5068699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AE99485A-DA30-D747-B3C1-A1DD3CD0F733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0725516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7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Right 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F60A532-8EEA-467C-8E7E-39CF1DB485A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3F8DA1B8-34C2-4CE7-B79A-2E6B10239E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F21796CB-DAD1-4AE0-9C02-26CED897E8EB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554523" y="1790701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lnSpc>
                <a:spcPct val="100000"/>
              </a:lnSpc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FFE0A91-4D67-4469-A7A2-1162EB145D38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71232" y="1790701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071E6EBE-9A1A-4C7B-A790-B9A0A1169725}"/>
              </a:ext>
            </a:extLst>
          </p:cNvPr>
          <p:cNvSpPr>
            <a:spLocks noGrp="1"/>
          </p:cNvSpPr>
          <p:nvPr>
            <p:ph type="body" sz="quarter" idx="61"/>
          </p:nvPr>
        </p:nvSpPr>
        <p:spPr>
          <a:xfrm>
            <a:off x="6554523" y="2667001"/>
            <a:ext cx="2448576" cy="3543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5">
            <a:extLst>
              <a:ext uri="{FF2B5EF4-FFF2-40B4-BE49-F238E27FC236}">
                <a16:creationId xmlns:a16="http://schemas.microsoft.com/office/drawing/2014/main" id="{4AFD4863-2474-4609-855F-E56B3AFB7B98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9171232" y="2667001"/>
            <a:ext cx="2450592" cy="35433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Title Placeholder 1">
            <a:extLst>
              <a:ext uri="{FF2B5EF4-FFF2-40B4-BE49-F238E27FC236}">
                <a16:creationId xmlns:a16="http://schemas.microsoft.com/office/drawing/2014/main" id="{1F4C626F-9DC5-4A35-B26B-5ACA13A9BF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1"/>
            <a:ext cx="5068699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421C6BE-2747-014E-BEAB-607B1E9CE2C7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7886585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7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A305123-92F2-4B89-A355-7539327F08C3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1500" y="2667001"/>
            <a:ext cx="3465576" cy="35407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1798377"/>
            <a:ext cx="3465576" cy="69500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2" name="Content Placeholder 4">
            <a:extLst>
              <a:ext uri="{FF2B5EF4-FFF2-40B4-BE49-F238E27FC236}">
                <a16:creationId xmlns:a16="http://schemas.microsoft.com/office/drawing/2014/main" id="{F96C995E-58E0-4A91-AA56-8759CFD3EA73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500" y="2667001"/>
            <a:ext cx="3467099" cy="35407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071BF92C-4C07-4794-8CC8-D51F3173376C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1" y="1798377"/>
            <a:ext cx="3467099" cy="69500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4" name="Content Placeholder 4">
            <a:extLst>
              <a:ext uri="{FF2B5EF4-FFF2-40B4-BE49-F238E27FC236}">
                <a16:creationId xmlns:a16="http://schemas.microsoft.com/office/drawing/2014/main" id="{47F7CD6B-9884-4317-A0E7-31AE02F93993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1" y="2667001"/>
            <a:ext cx="3467100" cy="354074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EECB8C3-35E8-4930-A0AE-3BA62609BFD9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8153401" y="1795818"/>
            <a:ext cx="3467100" cy="69500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86839537-C905-4EE7-8DA4-15B9E53D8C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9A2394E-0E95-4850-A756-0015178A4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4985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3D7A6FA6-0D88-0C4D-8AC6-008DBE4A75A7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8722116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BC7AE7-158D-4519-8464-722F5EF35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2" y="990600"/>
            <a:ext cx="10796588" cy="105568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DC1BA0-9AAE-4457-AB7A-2225418D1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8801" y="2605088"/>
            <a:ext cx="4491699" cy="82391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133" b="0">
                <a:solidFill>
                  <a:schemeClr val="tx1"/>
                </a:solidFill>
                <a:latin typeface="+mj-lt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0E848AC0-25F2-405D-B9A8-6A6D59BA03A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555983" y="3610286"/>
            <a:ext cx="4487517" cy="253283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933"/>
            </a:lvl3pPr>
            <a:lvl4pPr>
              <a:lnSpc>
                <a:spcPct val="100000"/>
              </a:lnSpc>
              <a:defRPr sz="533"/>
            </a:lvl4pPr>
            <a:lvl5pPr>
              <a:lnSpc>
                <a:spcPct val="100000"/>
              </a:lnSpc>
              <a:defRPr sz="2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AF116F-80E4-401F-8142-28C0EE2B6E8E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248402" y="2605088"/>
            <a:ext cx="4513820" cy="823912"/>
          </a:xfrm>
        </p:spPr>
        <p:txBody>
          <a:bodyPr anchor="b">
            <a:noAutofit/>
          </a:bodyPr>
          <a:lstStyle>
            <a:lvl1pPr marL="0" indent="0">
              <a:lnSpc>
                <a:spcPct val="100000"/>
              </a:lnSpc>
              <a:buNone/>
              <a:defRPr sz="2133" b="0">
                <a:solidFill>
                  <a:schemeClr val="tx1"/>
                </a:solidFill>
                <a:latin typeface="+mj-lt"/>
              </a:defRPr>
            </a:lvl1pPr>
            <a:lvl2pPr marL="457178" indent="0">
              <a:buNone/>
              <a:defRPr sz="2000" b="1"/>
            </a:lvl2pPr>
            <a:lvl3pPr marL="914354" indent="0">
              <a:buNone/>
              <a:defRPr sz="1800" b="1"/>
            </a:lvl3pPr>
            <a:lvl4pPr marL="1371532" indent="0">
              <a:buNone/>
              <a:defRPr sz="1600" b="1"/>
            </a:lvl4pPr>
            <a:lvl5pPr marL="1828709" indent="0">
              <a:buNone/>
              <a:defRPr sz="1600" b="1"/>
            </a:lvl5pPr>
            <a:lvl6pPr marL="2285886" indent="0">
              <a:buNone/>
              <a:defRPr sz="1600" b="1"/>
            </a:lvl6pPr>
            <a:lvl7pPr marL="2743062" indent="0">
              <a:buNone/>
              <a:defRPr sz="1600" b="1"/>
            </a:lvl7pPr>
            <a:lvl8pPr marL="3200240" indent="0">
              <a:buNone/>
              <a:defRPr sz="1600" b="1"/>
            </a:lvl8pPr>
            <a:lvl9pPr marL="3657418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6E3511E8-A554-4DB3-8DE9-40E338349FC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248404" y="3610286"/>
            <a:ext cx="4509617" cy="2532831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933"/>
            </a:lvl3pPr>
            <a:lvl4pPr>
              <a:lnSpc>
                <a:spcPct val="100000"/>
              </a:lnSpc>
              <a:defRPr sz="533"/>
            </a:lvl4pPr>
            <a:lvl5pPr>
              <a:lnSpc>
                <a:spcPct val="100000"/>
              </a:lnSpc>
              <a:defRPr sz="267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324A219-BAAE-44FA-9F17-70A08A4E4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0F9371A-4233-460B-91A9-B91A8429B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631F93F1-F5D5-44EF-B435-0444DF40D6A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30183BC8-1811-6143-831D-CAEB825658F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5978518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9CE094B7-A2CC-4860-A57D-F142C2E63FC6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4041160"/>
            <a:ext cx="3465576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E2DCECB4-BB48-48B5-A871-A080DE20BDFF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500" y="4041160"/>
            <a:ext cx="3467099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Content Placeholder 4">
            <a:extLst>
              <a:ext uri="{FF2B5EF4-FFF2-40B4-BE49-F238E27FC236}">
                <a16:creationId xmlns:a16="http://schemas.microsoft.com/office/drawing/2014/main" id="{868F585C-1E6D-44C6-9295-9866846056CD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1" y="4038600"/>
            <a:ext cx="3467100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A1EBBB-1490-4A58-9FEB-3DAB9E66019A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577124" y="3429000"/>
            <a:ext cx="3465576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6C65CC39-4D00-45CB-AE15-8C3D3E976756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1" y="3429000"/>
            <a:ext cx="3467099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9291D51-BC1A-4ED4-8278-30B67F7C4AA7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8153401" y="3426441"/>
            <a:ext cx="3467100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885233BB-7F20-46CA-A47B-2714749903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94344F4-D05A-E24F-A679-CB39B058D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4985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C664B8B-4C2E-D34A-855D-00AECC51604A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5222963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-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1C7468CB-A68B-434E-9590-D44284A0DC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C21223BB-13C2-46FE-9733-BCC3C77A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4985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2102BF9D-05AF-4C40-AEC2-376EE9F4E666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4041160"/>
            <a:ext cx="2514600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F548FAB6-7AFF-4D5A-A1E9-06C746623E4C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3429001" y="4041160"/>
            <a:ext cx="2510731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FB91503-30B7-4FD7-846E-47F4CF9F474A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6244533" y="4041160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E14F77AB-427A-46FA-9A58-62890F9733C1}"/>
              </a:ext>
            </a:extLst>
          </p:cNvPr>
          <p:cNvSpPr>
            <a:spLocks noGrp="1"/>
          </p:cNvSpPr>
          <p:nvPr>
            <p:ph sz="quarter" idx="74"/>
          </p:nvPr>
        </p:nvSpPr>
        <p:spPr>
          <a:xfrm>
            <a:off x="9088317" y="4041160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72B32549-6990-4E43-A843-9EEA9CC29CF0}"/>
              </a:ext>
            </a:extLst>
          </p:cNvPr>
          <p:cNvSpPr>
            <a:spLocks noGrp="1"/>
          </p:cNvSpPr>
          <p:nvPr>
            <p:ph type="body" sz="half" idx="77" hasCustomPrompt="1"/>
          </p:nvPr>
        </p:nvSpPr>
        <p:spPr>
          <a:xfrm>
            <a:off x="577124" y="3429000"/>
            <a:ext cx="25146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A54DA02-E155-45D5-B886-1EDF7135C93F}"/>
              </a:ext>
            </a:extLst>
          </p:cNvPr>
          <p:cNvSpPr>
            <a:spLocks noGrp="1"/>
          </p:cNvSpPr>
          <p:nvPr>
            <p:ph type="body" sz="half" idx="78" hasCustomPrompt="1"/>
          </p:nvPr>
        </p:nvSpPr>
        <p:spPr>
          <a:xfrm>
            <a:off x="3429002" y="3429000"/>
            <a:ext cx="2514599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EC4E001-5A82-4221-8FE3-9B25D98B0EA9}"/>
              </a:ext>
            </a:extLst>
          </p:cNvPr>
          <p:cNvSpPr>
            <a:spLocks noGrp="1"/>
          </p:cNvSpPr>
          <p:nvPr>
            <p:ph type="body" sz="half" idx="79" hasCustomPrompt="1"/>
          </p:nvPr>
        </p:nvSpPr>
        <p:spPr>
          <a:xfrm>
            <a:off x="6244533" y="3426442"/>
            <a:ext cx="2511833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E779C7D-755B-428C-BB0F-6496238D6D83}"/>
              </a:ext>
            </a:extLst>
          </p:cNvPr>
          <p:cNvSpPr>
            <a:spLocks noGrp="1"/>
          </p:cNvSpPr>
          <p:nvPr>
            <p:ph type="body" sz="half" idx="80" hasCustomPrompt="1"/>
          </p:nvPr>
        </p:nvSpPr>
        <p:spPr>
          <a:xfrm>
            <a:off x="9088317" y="3426442"/>
            <a:ext cx="2511833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E879BEC1-BEC3-8E48-ADE3-4D95EA820897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5924868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-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29002" y="0"/>
            <a:ext cx="8762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5309CA-3E25-47B8-99B6-670FE796BB9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1" y="2971801"/>
            <a:ext cx="2552700" cy="3238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8B3BBBD-95D5-473C-B5AA-4C86DA04A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0"/>
            <a:ext cx="2552700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36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FD27E2F-489D-6149-AF93-2886422427A2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667799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872">
          <p15:clr>
            <a:srgbClr val="A4A3A4"/>
          </p15:clr>
        </p15:guide>
        <p15:guide id="3" orient="horz" pos="1680">
          <p15:clr>
            <a:srgbClr val="A4A3A4"/>
          </p15:clr>
        </p15:guide>
      </p15:sldGuideLst>
    </p:ext>
  </p:extLst>
</p:sldLayout>
</file>

<file path=ppt/slideLayouts/slideLayout7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-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76700" y="609600"/>
            <a:ext cx="75438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4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D9E6ED89-1E04-4F6D-B1F3-42C73A69026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E0708104-F9EC-4157-95F0-FA326192EA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609600"/>
            <a:ext cx="2857500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36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</a:t>
            </a:r>
            <a:br>
              <a:rPr lang="en-US"/>
            </a:br>
            <a:r>
              <a:rPr lang="en-US"/>
              <a:t>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B1B1C66-A921-41B1-B007-79881FEFA60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1" y="2971801"/>
            <a:ext cx="2857500" cy="3238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3D68FB3-56CE-504D-9A52-272E1FD4C77A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5262149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29002" y="0"/>
            <a:ext cx="8762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500" y="5168977"/>
            <a:ext cx="2552701" cy="215444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71499" y="5486402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000"/>
            </a:lvl1pPr>
            <a:lvl2pPr marL="173034" indent="-173034">
              <a:spcAft>
                <a:spcPts val="300"/>
              </a:spcAft>
              <a:defRPr sz="9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9" y="3631821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000"/>
            </a:lvl1pPr>
            <a:lvl2pPr marL="173034" indent="-173034">
              <a:spcAft>
                <a:spcPts val="300"/>
              </a:spcAft>
              <a:defRPr sz="9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9" y="3314397"/>
            <a:ext cx="2552701" cy="215444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F1A913C-478C-4159-AD61-19314F8B1D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0"/>
            <a:ext cx="2552699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36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120981A-E858-DC4B-9C17-3806D66D3A56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5225855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our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2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94026FE-B789-4F5D-805E-02B0631E7EC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5168977"/>
            <a:ext cx="2552701" cy="215444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0788797-0721-4FDF-B9A8-D8FD6A85E245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71499" y="5486402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000"/>
            </a:lvl1pPr>
            <a:lvl2pPr marL="173034" indent="-173034">
              <a:spcAft>
                <a:spcPts val="300"/>
              </a:spcAft>
              <a:defRPr sz="9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0231F72B-DB93-439F-8D5C-3A98DBB9C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372099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36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042C4D8C-C05E-40DC-A5F1-D8E216530543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9" y="3631821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000"/>
            </a:lvl1pPr>
            <a:lvl2pPr marL="173034" indent="-173034">
              <a:spcAft>
                <a:spcPts val="300"/>
              </a:spcAft>
              <a:defRPr sz="9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79DD178-20FD-4061-A4CF-ADAD80B00223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9" y="3314397"/>
            <a:ext cx="2552701" cy="215444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55C8534-6B0E-41CD-9706-61F591BFF126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390900" y="5168977"/>
            <a:ext cx="2552701" cy="215444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0DECDBD2-EF07-4EFE-81B0-67DD271A8E4A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390901" y="5486402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000"/>
            </a:lvl1pPr>
            <a:lvl2pPr marL="173034" indent="-173034">
              <a:spcAft>
                <a:spcPts val="300"/>
              </a:spcAft>
              <a:defRPr sz="9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A005CF03-ABB1-4046-89FC-A41C9CAD1DE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3390900" y="3631821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000"/>
            </a:lvl1pPr>
            <a:lvl2pPr marL="173034" indent="-173034">
              <a:spcAft>
                <a:spcPts val="300"/>
              </a:spcAft>
              <a:defRPr sz="9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49AEAAD6-2FA1-420B-BCE8-48233BD945BF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3390900" y="3314397"/>
            <a:ext cx="2552701" cy="215444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B3C6F80A-08C8-8F4E-B7C2-3134399DEF35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3010483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7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ith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81501" y="609600"/>
            <a:ext cx="34671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</a:t>
            </a:r>
            <a:br>
              <a:rPr lang="en-US"/>
            </a:br>
            <a:r>
              <a:rPr lang="en-US"/>
              <a:t>photo here or click or tap </a:t>
            </a:r>
            <a:br>
              <a:rPr lang="en-US"/>
            </a:br>
            <a:r>
              <a:rPr lang="en-US"/>
              <a:t>icon 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80B26961-BE72-42FE-83E3-E9413C61E43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153401" y="609600"/>
            <a:ext cx="34671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</a:t>
            </a:r>
            <a:br>
              <a:rPr lang="en-US"/>
            </a:br>
            <a:r>
              <a:rPr lang="en-US"/>
              <a:t>photo here or click or tap </a:t>
            </a:r>
            <a:br>
              <a:rPr lang="en-US"/>
            </a:br>
            <a:r>
              <a:rPr lang="en-US"/>
              <a:t>icon 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7117EB1-347D-42E5-8273-C02EF79929C2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500" y="3276601"/>
            <a:ext cx="3505201" cy="29337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E1DC698-4F08-40A9-8E7D-20E5FF561A26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500" y="2057400"/>
            <a:ext cx="3505201" cy="1066800"/>
          </a:xfrm>
        </p:spPr>
        <p:txBody>
          <a:bodyPr wrap="square" anchor="b" anchorCtr="0">
            <a:noAutofit/>
          </a:bodyPr>
          <a:lstStyle>
            <a:lvl1pPr>
              <a:defRPr lang="en-US" sz="2000" dirty="0" smtClean="0"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8B30B7B9-9490-49E3-8E9F-B76BDC27733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D3E41E21-7547-4B83-8F53-91A26F07F5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609600"/>
            <a:ext cx="3505201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36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A8886C8-F091-4B43-8535-EAA9E7FF68D9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360424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6EE0FED-0F8F-1D4B-BDC6-134B0FE8D3AF}"/>
              </a:ext>
            </a:extLst>
          </p:cNvPr>
          <p:cNvSpPr/>
          <p:nvPr/>
        </p:nvSpPr>
        <p:spPr>
          <a:xfrm>
            <a:off x="3429001" y="0"/>
            <a:ext cx="8763001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00FA166-5D3F-4D89-9646-F16A985660E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1" y="2514601"/>
            <a:ext cx="25527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D5EF8DF4-D66B-4316-8BD1-64264C11AF7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E9CD8F1-BCCB-4886-9A5C-6DBC2AED36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609600"/>
            <a:ext cx="25527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36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8BD1B88C-FE54-C842-9B07-7F22534250C2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669583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488">
          <p15:clr>
            <a:srgbClr val="A4A3A4"/>
          </p15:clr>
        </p15:guide>
        <p15:guide id="3" orient="horz" pos="1584">
          <p15:clr>
            <a:srgbClr val="A4A3A4"/>
          </p15:clr>
        </p15:guide>
      </p15:sldGuideLst>
    </p:ext>
  </p:extLst>
</p:sldLayout>
</file>

<file path=ppt/slideLayouts/slideLayout7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ith Two Data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7848601" y="1905381"/>
            <a:ext cx="3771900" cy="1242697"/>
          </a:xfrm>
        </p:spPr>
        <p:txBody>
          <a:bodyPr/>
          <a:lstStyle>
            <a:lvl1pPr>
              <a:spcAft>
                <a:spcPts val="300"/>
              </a:spcAft>
              <a:defRPr sz="2400">
                <a:latin typeface="+mj-lt"/>
              </a:defRPr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7848601" y="1172402"/>
            <a:ext cx="3771900" cy="553999"/>
          </a:xfrm>
        </p:spPr>
        <p:txBody>
          <a:bodyPr wrap="square" anchor="t" anchorCtr="0">
            <a:spAutoFit/>
          </a:bodyPr>
          <a:lstStyle>
            <a:lvl1pPr>
              <a:defRPr sz="3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XX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E4E13D-43FB-4287-8055-FE35994AA77F}"/>
              </a:ext>
            </a:extLst>
          </p:cNvPr>
          <p:cNvCxnSpPr>
            <a:cxnSpLocks/>
          </p:cNvCxnSpPr>
          <p:nvPr/>
        </p:nvCxnSpPr>
        <p:spPr>
          <a:xfrm>
            <a:off x="7847934" y="1066800"/>
            <a:ext cx="3780167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F04E06-6C46-46FE-9956-F0E8ED6633DF}"/>
              </a:ext>
            </a:extLst>
          </p:cNvPr>
          <p:cNvCxnSpPr>
            <a:cxnSpLocks/>
          </p:cNvCxnSpPr>
          <p:nvPr/>
        </p:nvCxnSpPr>
        <p:spPr>
          <a:xfrm>
            <a:off x="7847934" y="3429000"/>
            <a:ext cx="3780167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Slide Number Placeholder 4">
            <a:extLst>
              <a:ext uri="{FF2B5EF4-FFF2-40B4-BE49-F238E27FC236}">
                <a16:creationId xmlns:a16="http://schemas.microsoft.com/office/drawing/2014/main" id="{414493C8-3418-4410-BB03-4585076B5A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BC8C455-2242-44E3-A715-51CE102AB98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1" y="2514601"/>
            <a:ext cx="53721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C222245D-C3A3-4396-926D-88ECBE5C8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53721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36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0676A19-4AB7-4E11-A8A8-87E09D920368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848601" y="4276404"/>
            <a:ext cx="3771900" cy="1242697"/>
          </a:xfrm>
        </p:spPr>
        <p:txBody>
          <a:bodyPr/>
          <a:lstStyle>
            <a:lvl1pPr>
              <a:spcAft>
                <a:spcPts val="300"/>
              </a:spcAft>
              <a:defRPr sz="2400">
                <a:latin typeface="+mj-lt"/>
              </a:defRPr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05020DF-F1F5-4BD5-B207-F94988F4F455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848601" y="3543424"/>
            <a:ext cx="37719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1490FB7-E1B0-5841-B53E-529F0054042C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875460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with Four Data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067269" y="3539749"/>
            <a:ext cx="2551216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9067185" y="4298129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9067801" y="1778381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067801" y="1020001"/>
            <a:ext cx="25527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E4E13D-43FB-4287-8055-FE35994AA77F}"/>
              </a:ext>
            </a:extLst>
          </p:cNvPr>
          <p:cNvCxnSpPr>
            <a:cxnSpLocks/>
          </p:cNvCxnSpPr>
          <p:nvPr/>
        </p:nvCxnSpPr>
        <p:spPr>
          <a:xfrm>
            <a:off x="9069806" y="9144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F04E06-6C46-46FE-9956-F0E8ED6633DF}"/>
              </a:ext>
            </a:extLst>
          </p:cNvPr>
          <p:cNvCxnSpPr>
            <a:cxnSpLocks/>
          </p:cNvCxnSpPr>
          <p:nvPr/>
        </p:nvCxnSpPr>
        <p:spPr>
          <a:xfrm>
            <a:off x="9069806" y="342899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13425D7-1452-4F87-AE64-7C2F048C2469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248485" y="3539749"/>
            <a:ext cx="2551216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806E283-8E77-44C1-84BC-00B971D42EBD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248401" y="4298129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BDD5CD07-CCF1-451E-8B13-2BE3821C220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249017" y="1778386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sz="1600">
                <a:latin typeface="+mj-lt"/>
              </a:defRPr>
            </a:lvl1pPr>
            <a:lvl2pPr marL="173034" indent="-173034">
              <a:spcAft>
                <a:spcPts val="300"/>
              </a:spcAft>
              <a:defRPr sz="1100"/>
            </a:lvl2pPr>
            <a:lvl3pPr marL="346066" indent="-173034">
              <a:spcAft>
                <a:spcPts val="300"/>
              </a:spcAft>
              <a:defRPr sz="1051"/>
            </a:lvl3pPr>
            <a:lvl4pPr marL="457189" indent="-111123">
              <a:spcAft>
                <a:spcPts val="300"/>
              </a:spcAft>
              <a:defRPr sz="600"/>
            </a:lvl4pPr>
            <a:lvl5pPr marL="574660" indent="-117472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DD3D7F-C0BF-415A-9378-D8759CED06B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9017" y="1020001"/>
            <a:ext cx="25527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B67A14D-E25C-4D75-8D2E-0D450CE9656D}"/>
              </a:ext>
            </a:extLst>
          </p:cNvPr>
          <p:cNvCxnSpPr>
            <a:cxnSpLocks/>
          </p:cNvCxnSpPr>
          <p:nvPr/>
        </p:nvCxnSpPr>
        <p:spPr>
          <a:xfrm>
            <a:off x="6251020" y="91440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9FFCD6B-6781-45B9-A0FF-441B99A220B5}"/>
              </a:ext>
            </a:extLst>
          </p:cNvPr>
          <p:cNvCxnSpPr>
            <a:cxnSpLocks/>
          </p:cNvCxnSpPr>
          <p:nvPr/>
        </p:nvCxnSpPr>
        <p:spPr>
          <a:xfrm>
            <a:off x="6251020" y="34290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Slide Number Placeholder 4">
            <a:extLst>
              <a:ext uri="{FF2B5EF4-FFF2-40B4-BE49-F238E27FC236}">
                <a16:creationId xmlns:a16="http://schemas.microsoft.com/office/drawing/2014/main" id="{12C73FE7-56E8-42D5-818A-03C740681C8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8EBC35A6-C3F6-4CAA-B6FE-77A0C0F6904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1" y="2514601"/>
            <a:ext cx="53721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367F26D2-980E-498C-9B01-AEF3F1821C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53721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36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7C072F9B-30D1-4549-9B6F-B5C6C0C4DDBA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060582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BC7AE7-158D-4519-8464-722F5EF35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2" y="990600"/>
            <a:ext cx="10796588" cy="105568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324A219-BAAE-44FA-9F17-70A08A4E4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>
            <a:noAutofit/>
          </a:bodyPr>
          <a:lstStyle/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0F9371A-4233-460B-91A9-B91A8429B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631F93F1-F5D5-44EF-B435-0444DF40D6A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58696A-2388-495D-981D-050920BB5C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2" y="5698889"/>
            <a:ext cx="4993217" cy="585216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C009990-5F38-4F94-ABE2-44DA301BD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2" y="5698889"/>
            <a:ext cx="4993217" cy="585216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D01E734-4CA7-4CBD-A769-BCC20375564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8800" y="2870202"/>
            <a:ext cx="5029200" cy="2563284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E24BD1C9-BB6F-4B1A-B0AC-70FBFBAD0D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48400" y="2870202"/>
            <a:ext cx="5029200" cy="2563284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7E62B0A-EF1F-854D-A9F9-BF31256EA55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7489685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-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2B69982-B253-4DE6-9C5E-FB93C3A27F4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22573" y="4880809"/>
            <a:ext cx="6145427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lang="en-US" sz="1400" b="0" i="0" kern="0" spc="0" baseline="0" dirty="0">
                <a:solidFill>
                  <a:schemeClr val="tx1"/>
                </a:solidFill>
                <a:latin typeface="CiscoSansTT Medium" panose="020B0903020201020303" pitchFamily="34" charset="0"/>
                <a:ea typeface="+mn-ea"/>
                <a:cs typeface="CiscoSansTT Medium" panose="020B09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Insert name her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46ED238B-31FF-436C-9838-14BADBEE1071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3429001" y="4648201"/>
            <a:ext cx="952500" cy="952500"/>
          </a:xfrm>
          <a:prstGeom prst="ellipse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67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13AA95C-29B9-4045-B598-AA928D1B9666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4522573" y="5225970"/>
            <a:ext cx="6145427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lang="en-US" sz="12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marL="0" lvl="0" indent="0" algn="l" defTabSz="882149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Job title, company, location</a:t>
            </a:r>
          </a:p>
        </p:txBody>
      </p:sp>
      <p:sp>
        <p:nvSpPr>
          <p:cNvPr id="14" name="Slide Number Placeholder 4">
            <a:extLst>
              <a:ext uri="{FF2B5EF4-FFF2-40B4-BE49-F238E27FC236}">
                <a16:creationId xmlns:a16="http://schemas.microsoft.com/office/drawing/2014/main" id="{250445FA-EEE1-4137-AB6F-26D4A3DB4B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FB38577-29E6-6546-851F-B5859A13FFB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594" indent="-457189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68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5D30CF2-BCC2-AF4D-A1D1-54150458668C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697438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-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810C81B9-7CCA-4D12-920B-B5DCB07545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ECCB6B-46C4-4E71-97ED-219163FCE9B9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4388360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-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FDE645EB-7566-458A-A5B5-3D308976F0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A20F9E4-16CA-4B30-ADCC-BD4809B439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368186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-Colo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63C86CC-9F1B-4BC4-B31D-B1F8DE70F59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7D4C5D01-C630-4FFC-963D-B04C145573CD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358306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6" y="6431692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92773B-7150-44D2-AFDB-DE60A8A0F625}"/>
              </a:ext>
            </a:extLst>
          </p:cNvPr>
          <p:cNvSpPr/>
          <p:nvPr/>
        </p:nvSpPr>
        <p:spPr>
          <a:xfrm>
            <a:off x="304800" y="6414274"/>
            <a:ext cx="2819400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BEBFBF78-0E90-472B-B2BB-48C8ECC3854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9586" y="2209800"/>
            <a:ext cx="2912831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38385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6" y="6431692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B8EB6A92-1A18-4242-B37B-061D783A1E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33354" y="6061499"/>
            <a:ext cx="1633196" cy="49932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79071DA-63B2-46A2-892F-B272FF3B2408}"/>
              </a:ext>
            </a:extLst>
          </p:cNvPr>
          <p:cNvSpPr/>
          <p:nvPr/>
        </p:nvSpPr>
        <p:spPr>
          <a:xfrm>
            <a:off x="525453" y="6410479"/>
            <a:ext cx="503249" cy="1503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</p:spTree>
    <p:extLst>
      <p:ext uri="{BB962C8B-B14F-4D97-AF65-F5344CB8AC3E}">
        <p14:creationId xmlns:p14="http://schemas.microsoft.com/office/powerpoint/2010/main" val="271009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0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73EE3F-4F93-4D4B-9DE7-44ABAA578DD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5459" y="6448096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68482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7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1-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4">
            <a:extLst>
              <a:ext uri="{FF2B5EF4-FFF2-40B4-BE49-F238E27FC236}">
                <a16:creationId xmlns:a16="http://schemas.microsoft.com/office/drawing/2014/main" id="{162CE302-798D-4C3C-B604-24580119C934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6" y="4177815"/>
            <a:ext cx="2547076" cy="2032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:a16="http://schemas.microsoft.com/office/drawing/2014/main" id="{2F82E59B-78F5-4271-9409-6D4F8A622EB0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3429001" y="4177815"/>
            <a:ext cx="2510731" cy="2032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:a16="http://schemas.microsoft.com/office/drawing/2014/main" id="{3530FA65-7386-4E1A-8266-06A3C45F9855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6244534" y="4175257"/>
            <a:ext cx="2518468" cy="2032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:a16="http://schemas.microsoft.com/office/drawing/2014/main" id="{24F94952-8491-4257-AA6F-19C4844A06E9}"/>
              </a:ext>
            </a:extLst>
          </p:cNvPr>
          <p:cNvSpPr>
            <a:spLocks noGrp="1"/>
          </p:cNvSpPr>
          <p:nvPr>
            <p:ph sz="quarter" idx="74"/>
          </p:nvPr>
        </p:nvSpPr>
        <p:spPr>
          <a:xfrm>
            <a:off x="9088318" y="4175257"/>
            <a:ext cx="2518468" cy="20324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7ABEABA8-0A43-4B21-A605-FA08CE37E6CB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577126" y="3276601"/>
            <a:ext cx="2547076" cy="75516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2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50039D44-5BB5-4C25-98F6-3E0F66A63D44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3429004" y="3276601"/>
            <a:ext cx="2511833" cy="75516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2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A19B9925-0BD7-466F-A186-7A549FD6BE3C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6244532" y="3274041"/>
            <a:ext cx="2519576" cy="75516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2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20EEC14-E3FE-41CD-9F67-FE2892C20ACE}"/>
              </a:ext>
            </a:extLst>
          </p:cNvPr>
          <p:cNvSpPr>
            <a:spLocks noGrp="1"/>
          </p:cNvSpPr>
          <p:nvPr>
            <p:ph type="body" sz="half" idx="76" hasCustomPrompt="1"/>
          </p:nvPr>
        </p:nvSpPr>
        <p:spPr>
          <a:xfrm>
            <a:off x="9088316" y="3274041"/>
            <a:ext cx="2519576" cy="75516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2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3" name="Slide Number Placeholder 4">
            <a:extLst>
              <a:ext uri="{FF2B5EF4-FFF2-40B4-BE49-F238E27FC236}">
                <a16:creationId xmlns:a16="http://schemas.microsoft.com/office/drawing/2014/main" id="{1C7468CB-A68B-434E-9590-D44284A0DC4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1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8D3B3576-E092-44AC-9525-9DA3161E6EEC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15" name="Title Placeholder 1">
            <a:extLst>
              <a:ext uri="{FF2B5EF4-FFF2-40B4-BE49-F238E27FC236}">
                <a16:creationId xmlns:a16="http://schemas.microsoft.com/office/drawing/2014/main" id="{48B751F9-09AE-2549-8128-BEAB4951A9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915523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86F225C-F7F7-4528-849E-361C51FFB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904" y="990605"/>
            <a:ext cx="11077296" cy="126135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pc="-24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696DE5-6EFF-4C09-9943-5FCA93FF6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352" y="2431884"/>
            <a:ext cx="11077296" cy="3744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67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38FCC569-4B46-4920-ACAD-F80E06ACD8E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698D7571-5BE1-4182-8211-BAD95EBE9A2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2B15268-7993-4213-A094-A98AEF8E227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4250444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7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-column with graph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A712B4B-CA11-4116-8559-6D5A2D1AD8D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5"/>
            <a:ext cx="5384800" cy="3343785"/>
          </a:xfrm>
        </p:spPr>
        <p:txBody>
          <a:bodyPr>
            <a:noAutofit/>
          </a:bodyPr>
          <a:lstStyle>
            <a:lvl1pPr marL="228578" indent="-228578">
              <a:lnSpc>
                <a:spcPct val="100000"/>
              </a:lnSpc>
              <a:buFont typeface="Arial" panose="020B0604020202020204" pitchFamily="34" charset="0"/>
              <a:buChar char="•"/>
              <a:defRPr sz="1467"/>
            </a:lvl1pPr>
            <a:lvl2pPr>
              <a:lnSpc>
                <a:spcPct val="100000"/>
              </a:lnSpc>
              <a:defRPr sz="1200"/>
            </a:lvl2pPr>
            <a:lvl3pPr>
              <a:lnSpc>
                <a:spcPct val="100000"/>
              </a:lnSpc>
              <a:defRPr sz="933"/>
            </a:lvl3pPr>
            <a:lvl4pPr>
              <a:lnSpc>
                <a:spcPct val="100000"/>
              </a:lnSpc>
              <a:defRPr sz="533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0603"/>
            <a:ext cx="5390428" cy="1552303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pc="-240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D667F840-8562-40AC-BE3D-8404AB46E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3984B84-E026-4120-A200-04C1B3AFF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3ADC711-D282-4C9D-AD92-4B5C00C5CDD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362531934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641625"/>
            <a:ext cx="11080025" cy="1044544"/>
          </a:xfrm>
          <a:prstGeom prst="rect">
            <a:avLst/>
          </a:prstGeom>
        </p:spPr>
        <p:txBody>
          <a:bodyPr vert="horz" lIns="0" tIns="45720" rIns="0" bIns="45720" rtlCol="0" anchor="b" anchorCtr="0">
            <a:noAutofit/>
          </a:bodyPr>
          <a:lstStyle>
            <a:lvl1pPr>
              <a:defRPr lang="en-US" spc="-133" baseline="0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60FCB4-EE3E-42E3-BBE8-23ACC4C8255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558800" y="1686169"/>
            <a:ext cx="11074400" cy="627163"/>
          </a:xfrm>
        </p:spPr>
        <p:txBody>
          <a:bodyPr/>
          <a:lstStyle>
            <a:lvl1pPr marL="0" indent="0">
              <a:buNone/>
              <a:defRPr sz="2133"/>
            </a:lvl1pPr>
          </a:lstStyle>
          <a:p>
            <a:pPr lvl="0"/>
            <a:r>
              <a:rPr lang="en-US"/>
              <a:t>Subhead her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70470B5-7D83-479D-9564-22B6B8F5C0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352" y="2431880"/>
            <a:ext cx="11077296" cy="3744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8806161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8" y="1435771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5A68DF8-7AEF-4E47-A2C7-FC905D483A4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262604" y="6390605"/>
            <a:ext cx="382947" cy="93183"/>
          </a:xfrm>
          <a:prstGeom prst="rect">
            <a:avLst/>
          </a:prstGeom>
        </p:spPr>
      </p:pic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B01829FA-66B0-49C8-B058-060918442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bg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AFEEC4E5-C9B5-4809-A3AF-A1BF455A6D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5AC6BC3-E361-426B-A484-414155D5E00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2681409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8" y="990604"/>
            <a:ext cx="11080025" cy="1270001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pc="-240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2486658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Header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8" y="1435771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A832AD-9020-43CC-9118-CF9573E36137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4" y="6390605"/>
            <a:ext cx="382947" cy="93183"/>
          </a:xfrm>
          <a:prstGeom prst="rect">
            <a:avLst/>
          </a:prstGeom>
        </p:spPr>
      </p:pic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9C3388C-D351-41C3-8A5A-719088525C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bg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8FF48E17-5F97-4F10-BA4E-743A412EE4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78C9D1-477C-4088-B4A6-993E397641F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8911744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02016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column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D1EB964-31F1-4CBE-82A3-C0D6A156FC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5390428" cy="155926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icons</a:t>
            </a:r>
          </a:p>
        </p:txBody>
      </p:sp>
      <p:sp>
        <p:nvSpPr>
          <p:cNvPr id="43" name="Slide Number Placeholder 4">
            <a:extLst>
              <a:ext uri="{FF2B5EF4-FFF2-40B4-BE49-F238E27FC236}">
                <a16:creationId xmlns:a16="http://schemas.microsoft.com/office/drawing/2014/main" id="{EF211203-217C-43EA-B455-2829537E92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DD9E95C-54D7-4CDC-9398-06EA3EF4C2B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63904" y="34290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308B72D-42DD-4AFC-86F7-A60C430A65F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48112" y="34290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92FBA143-4C75-4705-B518-3C3BEB4DB59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25288" y="34290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BFFB3BB-96C3-43AE-AE37-B552C0F815F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1" y="3783515"/>
            <a:ext cx="3383963" cy="59075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557260CF-2100-49E9-84E8-B0D7AFADA565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2" y="3782746"/>
            <a:ext cx="3383963" cy="5968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0E159BC0-6118-41FB-BD15-D9B76E35ED35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8" y="3778300"/>
            <a:ext cx="3383963" cy="5968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2CDBFEA-91A7-4FE4-AAE2-321927A46CE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1" y="4605093"/>
            <a:ext cx="3383963" cy="16172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1CBFE74-247B-4E42-8A8C-4D5F9D2997F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48112" y="4605093"/>
            <a:ext cx="3383963" cy="16172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CD5C99F-F57F-4957-BA17-CF590173E3F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25285" y="4605093"/>
            <a:ext cx="3383963" cy="161724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415BF8F-879F-4E1A-A7D8-9D683393FD0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3534F201-EBA0-46A0-B1E7-7AF9F7C498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2863285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2675501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7" name="Date Placeholder 56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solidFill>
                  <a:schemeClr val="bg1">
                    <a:lumMod val="50000"/>
                  </a:schemeClr>
                </a:solidFill>
                <a:latin typeface="CiscoSansTT ExtraLight" panose="020B0303020201020303" pitchFamily="34" charset="0"/>
                <a:sym typeface="CiscoSansTT ExtraLight" panose="020B0303020201020303" pitchFamily="34" charset="0"/>
              </a:defRPr>
            </a:lvl1pPr>
          </a:lstStyle>
          <a:p>
            <a:pPr defTabSz="914354">
              <a:defRPr/>
            </a:pPr>
            <a:endParaRPr lang="en-US">
              <a:solidFill>
                <a:srgbClr val="0D274D">
                  <a:lumMod val="50000"/>
                </a:srgbClr>
              </a:solidFill>
            </a:endParaRPr>
          </a:p>
        </p:txBody>
      </p:sp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630002" y="622803"/>
            <a:ext cx="10933351" cy="332399"/>
          </a:xfrm>
        </p:spPr>
        <p:txBody>
          <a:bodyPr/>
          <a:lstStyle>
            <a:lvl1pPr>
              <a:defRPr>
                <a:solidFill>
                  <a:srgbClr val="005073"/>
                </a:solidFill>
                <a:latin typeface="CiscoSansTT ExtraLight" panose="020B0303020201020303" pitchFamily="34" charset="0"/>
                <a:sym typeface="CiscoSansTT ExtraLight" panose="020B0303020201020303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</p:spTree>
    <p:extLst>
      <p:ext uri="{BB962C8B-B14F-4D97-AF65-F5344CB8AC3E}">
        <p14:creationId xmlns:p14="http://schemas.microsoft.com/office/powerpoint/2010/main" val="6367062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8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96FD5DB7-F352-45D5-A417-0EB1CB32976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3816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9693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5" indent="0">
              <a:lnSpc>
                <a:spcPct val="100000"/>
              </a:lnSpc>
              <a:spcBef>
                <a:spcPts val="148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2133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89438" indent="0">
              <a:lnSpc>
                <a:spcPct val="100000"/>
              </a:lnSpc>
              <a:spcBef>
                <a:spcPts val="60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377EFF"/>
                </a:solidFill>
                <a:latin typeface="CiscoSansTT" panose="020B0503020201020303" pitchFamily="34" charset="0"/>
                <a:ea typeface="CiscoSansTT" panose="020B0503020201020303" pitchFamily="34" charset="0"/>
                <a:cs typeface="CiscoSansTT Thin" charset="0"/>
              </a:defRPr>
            </a:lvl2pPr>
            <a:lvl3pPr marL="914332" indent="-146039">
              <a:lnSpc>
                <a:spcPct val="100000"/>
              </a:lnSpc>
              <a:spcAft>
                <a:spcPts val="267"/>
              </a:spcAft>
              <a:buClr>
                <a:schemeClr val="bg2"/>
              </a:buClr>
              <a:buSzPct val="80000"/>
              <a:buFont typeface="Arial"/>
              <a:buChar char="•"/>
              <a:defRPr sz="1600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22" indent="-228537">
              <a:lnSpc>
                <a:spcPct val="100000"/>
              </a:lnSpc>
              <a:spcAft>
                <a:spcPts val="267"/>
              </a:spcAft>
              <a:buClr>
                <a:schemeClr val="bg2"/>
              </a:buClr>
              <a:buSzPct val="80000"/>
              <a:buFont typeface="Arial"/>
              <a:buChar char="•"/>
              <a:defRPr sz="1467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159" indent="-224304">
              <a:lnSpc>
                <a:spcPct val="100000"/>
              </a:lnSpc>
              <a:spcAft>
                <a:spcPts val="267"/>
              </a:spcAft>
              <a:buClr>
                <a:schemeClr val="bg2"/>
              </a:buClr>
              <a:buSzPct val="80000"/>
              <a:buFont typeface="Arial"/>
              <a:buChar char="•"/>
              <a:defRPr sz="1400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Footer Placeholder 7">
            <a:extLst>
              <a:ext uri="{FF2B5EF4-FFF2-40B4-BE49-F238E27FC236}">
                <a16:creationId xmlns:a16="http://schemas.microsoft.com/office/drawing/2014/main" id="{4EF6B68D-0B38-B149-9386-D916514FB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5" y="6376759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pPr algn="l"/>
            <a:fld id="{07AB022D-6AB5-0742-A695-7213B7438632}" type="slidenum">
              <a:rPr lang="en-US" smtClean="0"/>
              <a:pPr algn="l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BC50E78-6603-8946-B0C7-9E6DEF02FC9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5459" y="6448095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87283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90" y="455087"/>
            <a:ext cx="11127319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A2B0D2A-2D5B-AA67-4208-3EE58173314E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1142756" y="6383797"/>
            <a:ext cx="4534733" cy="164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marL="0" marR="0" lvl="0" indent="0" algn="l" defTabSz="8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" b="0" i="0" u="none" strike="noStrike" kern="1200" cap="none" spc="27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+mn-ea"/>
                <a:cs typeface="CiscoSansTT Light" panose="020B0503020201020303" pitchFamily="34" charset="0"/>
              </a:rPr>
              <a:t>© 2022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015945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ullets with screenshot, no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555904" y="2204562"/>
            <a:ext cx="4599905" cy="569387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4000" b="0" i="0" spc="-120" baseline="0">
                <a:latin typeface="CiscoSansTT Medium" panose="020B0503020201020303" pitchFamily="34" charset="0"/>
                <a:cs typeface="CiscoSansTT Medium" panose="020B0503020201020303" pitchFamily="34" charset="0"/>
              </a:defRPr>
            </a:lvl1pPr>
          </a:lstStyle>
          <a:p>
            <a:r>
              <a:rPr lang="en-US"/>
              <a:t>Slide Title</a:t>
            </a:r>
            <a:endParaRPr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2D871F-B242-44BA-3DE6-A98C539043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5904" y="2987040"/>
            <a:ext cx="4599905" cy="2997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100"/>
            </a:lvl4pPr>
            <a:lvl5pPr>
              <a:defRPr sz="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071614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Section Header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10703F-CBA9-4296-B386-BA35019F8F44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79EE8F-1900-4C5E-A4C1-BB6BE90235E1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94917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E852EFE5-F3AD-466D-A810-5721563A61FC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r="42969"/>
          <a:stretch/>
        </p:blipFill>
        <p:spPr>
          <a:xfrm>
            <a:off x="0" y="2"/>
            <a:ext cx="12192000" cy="6871420"/>
          </a:xfrm>
          <a:prstGeom prst="rect">
            <a:avLst/>
          </a:prstGeom>
        </p:spPr>
      </p:pic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8" y="1435771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EC5A7B1-F776-4AEB-A138-D3C83604F04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F871DBA-F007-46A1-A631-B39FF804841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41D7A26-8D16-41D3-9962-58AF73F09FA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262604" y="6390603"/>
            <a:ext cx="382947" cy="93184"/>
          </a:xfrm>
          <a:prstGeom prst="rect">
            <a:avLst/>
          </a:prstGeom>
        </p:spPr>
      </p:pic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BDCAF470-2A1A-492F-A797-E4EF9D10BED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376904574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ction title" descr="Section title">
            <a:extLst>
              <a:ext uri="{FF2B5EF4-FFF2-40B4-BE49-F238E27FC236}">
                <a16:creationId xmlns:a16="http://schemas.microsoft.com/office/drawing/2014/main" id="{EF09DA38-672D-0EE2-950C-353E1B6003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9144" cy="9144"/>
          </a:xfrm>
          <a:prstGeom prst="rect">
            <a:avLst/>
          </a:prstGeom>
        </p:spPr>
        <p:txBody>
          <a:bodyPr lIns="45720" tIns="45720" rIns="45720" bIns="4572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 i="0" baseline="0">
                <a:noFill/>
                <a:latin typeface="+mn-lt"/>
                <a:cs typeface="CiscoSansTT Light" panose="020B0503020201020303" pitchFamily="34" charset="0"/>
              </a:defRPr>
            </a:lvl1pPr>
            <a:lvl2pPr marL="406371" indent="0">
              <a:buNone/>
              <a:defRPr/>
            </a:lvl2pPr>
            <a:lvl3pPr marL="569863" indent="0">
              <a:buNone/>
              <a:defRPr/>
            </a:lvl3pPr>
            <a:lvl4pPr marL="688920" indent="0">
              <a:buNone/>
              <a:defRPr/>
            </a:lvl4pPr>
            <a:lvl5pPr marL="801621" indent="0">
              <a:buNone/>
              <a:defRPr/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48FA65F1-BAFB-6C36-2878-6CF1B8179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384079"/>
            <a:ext cx="10972800" cy="68580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688126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Title Only">
    <p:bg>
      <p:bgPr>
        <a:solidFill>
          <a:srgbClr val="000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Background pattern&#10;&#10;Description automatically generated">
            <a:extLst>
              <a:ext uri="{FF2B5EF4-FFF2-40B4-BE49-F238E27FC236}">
                <a16:creationId xmlns:a16="http://schemas.microsoft.com/office/drawing/2014/main" id="{3E5F4A29-6D48-F648-ABD6-AF3F5511792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F09B2F1A-7938-C940-A33A-3CE54DA17D76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5" y="6390603"/>
            <a:ext cx="382947" cy="93184"/>
          </a:xfrm>
          <a:prstGeom prst="rect">
            <a:avLst/>
          </a:prstGeom>
        </p:spPr>
      </p:pic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D08281CA-8FF4-5D40-BF31-07B3DBE6F9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64D382C-48A2-BC4C-8B69-C344737FEA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401836" y="2006455"/>
            <a:ext cx="7467600" cy="2466123"/>
          </a:xfrm>
        </p:spPr>
        <p:txBody>
          <a:bodyPr vert="horz" lIns="0" tIns="0" rIns="0" bIns="0" rtlCol="0" anchor="t" anchorCtr="0">
            <a:normAutofit/>
          </a:bodyPr>
          <a:lstStyle>
            <a:lvl1pPr>
              <a:lnSpc>
                <a:spcPct val="80000"/>
              </a:lnSpc>
              <a:defRPr lang="en-US" sz="4000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Big message slide. </a:t>
            </a:r>
          </a:p>
        </p:txBody>
      </p:sp>
    </p:spTree>
    <p:extLst>
      <p:ext uri="{BB962C8B-B14F-4D97-AF65-F5344CB8AC3E}">
        <p14:creationId xmlns:p14="http://schemas.microsoft.com/office/powerpoint/2010/main" val="41607177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Lef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D6DF483-DD51-444D-AF16-AF31E72FDD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1" y="1790701"/>
            <a:ext cx="5067300" cy="4419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7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0BAC715-F543-452A-80B1-3A07B10B2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1"/>
            <a:ext cx="5067300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Slide Number Placeholder 4">
            <a:extLst>
              <a:ext uri="{FF2B5EF4-FFF2-40B4-BE49-F238E27FC236}">
                <a16:creationId xmlns:a16="http://schemas.microsoft.com/office/drawing/2014/main" id="{B5F20A8F-C6EE-45B8-8D29-F4CBE62B855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40809CE-7F49-2D4C-B6B8-1ACEE239DEAE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05570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8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B4490E3A-EE7B-48AF-BD6B-46266697BF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E1C715D-9112-4A01-AD63-361439BFB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4985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7C42270-232B-A847-8A43-EA8001EDF76D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6864775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Left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2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689F426-4C63-454D-B133-BC94D9D160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1" y="1790701"/>
            <a:ext cx="5067300" cy="4419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B15451E-AF4B-4B3A-B376-2003DB48C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5068699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9F0CF4B5-8B93-A047-8367-6B6D9E393FA6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9842224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8D3B3576-E092-44AC-9525-9DA3161E6EE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C21223BB-13C2-46FE-9733-BCC3C77A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2102BF9D-05AF-4C40-AEC2-376EE9F4E666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577124" y="4041159"/>
            <a:ext cx="2514600" cy="2169141"/>
          </a:xfrm>
        </p:spPr>
        <p:txBody>
          <a:bodyPr/>
          <a:lstStyle>
            <a:lvl3pPr>
              <a:defRPr/>
            </a:lvl3pPr>
            <a:lvl4pPr marL="342900" indent="0">
              <a:buNone/>
              <a:defRPr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F548FAB6-7AFF-4D5A-A1E9-06C746623E4C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429001" y="4041159"/>
            <a:ext cx="2510730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FB91503-30B7-4FD7-846E-47F4CF9F474A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6244532" y="4041159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E14F77AB-427A-46FA-9A58-62890F9733C1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9088316" y="4041159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72B32549-6990-4E43-A843-9EEA9CC29CF0}"/>
              </a:ext>
            </a:extLst>
          </p:cNvPr>
          <p:cNvSpPr>
            <a:spLocks noGrp="1"/>
          </p:cNvSpPr>
          <p:nvPr>
            <p:ph type="body" sz="half" idx="77" hasCustomPrompt="1"/>
          </p:nvPr>
        </p:nvSpPr>
        <p:spPr>
          <a:xfrm>
            <a:off x="577124" y="3429000"/>
            <a:ext cx="25146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A54DA02-E155-45D5-B886-1EDF7135C93F}"/>
              </a:ext>
            </a:extLst>
          </p:cNvPr>
          <p:cNvSpPr>
            <a:spLocks noGrp="1"/>
          </p:cNvSpPr>
          <p:nvPr>
            <p:ph type="body" sz="half" idx="78" hasCustomPrompt="1"/>
          </p:nvPr>
        </p:nvSpPr>
        <p:spPr>
          <a:xfrm>
            <a:off x="3429001" y="3429000"/>
            <a:ext cx="2514599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EC4E001-5A82-4221-8FE3-9B25D98B0EA9}"/>
              </a:ext>
            </a:extLst>
          </p:cNvPr>
          <p:cNvSpPr>
            <a:spLocks noGrp="1"/>
          </p:cNvSpPr>
          <p:nvPr>
            <p:ph type="body" sz="half" idx="79" hasCustomPrompt="1"/>
          </p:nvPr>
        </p:nvSpPr>
        <p:spPr>
          <a:xfrm>
            <a:off x="6244532" y="3426441"/>
            <a:ext cx="2511833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E779C7D-755B-428C-BB0F-6496238D6D83}"/>
              </a:ext>
            </a:extLst>
          </p:cNvPr>
          <p:cNvSpPr>
            <a:spLocks noGrp="1"/>
          </p:cNvSpPr>
          <p:nvPr>
            <p:ph type="body" sz="half" idx="80" hasCustomPrompt="1"/>
          </p:nvPr>
        </p:nvSpPr>
        <p:spPr>
          <a:xfrm>
            <a:off x="9088316" y="3426441"/>
            <a:ext cx="2511833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A758410-2F69-431F-99F7-B6259194CBFF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666009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0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t" anchorCtr="0" compatLnSpc="1">
            <a:prstTxWarp prst="textNoShape">
              <a:avLst/>
            </a:prstTxWarp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C73EE3F-4F93-4D4B-9DE7-44ABAA578DDF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5459" y="6448096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603632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7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559693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76195" indent="0">
              <a:lnSpc>
                <a:spcPct val="100000"/>
              </a:lnSpc>
              <a:spcBef>
                <a:spcPts val="148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2133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389438" indent="0">
              <a:lnSpc>
                <a:spcPct val="100000"/>
              </a:lnSpc>
              <a:spcBef>
                <a:spcPts val="600"/>
              </a:spcBef>
              <a:spcAft>
                <a:spcPts val="267"/>
              </a:spcAft>
              <a:buClr>
                <a:schemeClr val="tx1"/>
              </a:buClr>
              <a:buSzPct val="80000"/>
              <a:buFont typeface="Arial"/>
              <a:buNone/>
              <a:defRPr sz="1600" b="0" i="0">
                <a:solidFill>
                  <a:srgbClr val="377EFF"/>
                </a:solidFill>
                <a:latin typeface="CiscoSansTT" panose="020B0503020201020303" pitchFamily="34" charset="0"/>
                <a:ea typeface="CiscoSansTT" panose="020B0503020201020303" pitchFamily="34" charset="0"/>
                <a:cs typeface="CiscoSansTT Thin" charset="0"/>
              </a:defRPr>
            </a:lvl2pPr>
            <a:lvl3pPr marL="914332" indent="-146039">
              <a:lnSpc>
                <a:spcPct val="100000"/>
              </a:lnSpc>
              <a:spcAft>
                <a:spcPts val="267"/>
              </a:spcAft>
              <a:buClr>
                <a:schemeClr val="bg2"/>
              </a:buClr>
              <a:buSzPct val="80000"/>
              <a:buFont typeface="Arial"/>
              <a:buChar char="•"/>
              <a:defRPr sz="1600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622" indent="-228537">
              <a:lnSpc>
                <a:spcPct val="100000"/>
              </a:lnSpc>
              <a:spcAft>
                <a:spcPts val="267"/>
              </a:spcAft>
              <a:buClr>
                <a:schemeClr val="bg2"/>
              </a:buClr>
              <a:buSzPct val="80000"/>
              <a:buFont typeface="Arial"/>
              <a:buChar char="•"/>
              <a:defRPr sz="1467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159" indent="-224304">
              <a:lnSpc>
                <a:spcPct val="100000"/>
              </a:lnSpc>
              <a:spcAft>
                <a:spcPts val="267"/>
              </a:spcAft>
              <a:buClr>
                <a:schemeClr val="bg2"/>
              </a:buClr>
              <a:buSzPct val="80000"/>
              <a:buFont typeface="Arial"/>
              <a:buChar char="•"/>
              <a:defRPr sz="1400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9" name="Footer Placeholder 7">
            <a:extLst>
              <a:ext uri="{FF2B5EF4-FFF2-40B4-BE49-F238E27FC236}">
                <a16:creationId xmlns:a16="http://schemas.microsoft.com/office/drawing/2014/main" id="{4EF6B68D-0B38-B149-9386-D916514FBFB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5" y="6376759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tx1">
                    <a:lumMod val="10000"/>
                    <a:lumOff val="90000"/>
                  </a:schemeClr>
                </a:solidFill>
                <a:latin typeface="+mj-lt"/>
              </a:defRPr>
            </a:lvl1pPr>
          </a:lstStyle>
          <a:p>
            <a:pPr algn="l"/>
            <a:fld id="{07AB022D-6AB5-0742-A695-7213B7438632}" type="slidenum">
              <a:rPr lang="en-US" smtClean="0"/>
              <a:pPr algn="l"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BC50E78-6603-8946-B0C7-9E6DEF02FC96}"/>
              </a:ext>
            </a:extLst>
          </p:cNvPr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25459" y="6448095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292062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ullet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Placeholder 5"/>
          <p:cNvSpPr>
            <a:spLocks noGrp="1"/>
          </p:cNvSpPr>
          <p:nvPr>
            <p:ph type="title"/>
          </p:nvPr>
        </p:nvSpPr>
        <p:spPr bwMode="auto">
          <a:xfrm>
            <a:off x="583690" y="455087"/>
            <a:ext cx="11127319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2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FA2B0D2A-2D5B-AA67-4208-3EE58173314E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1142756" y="6383797"/>
            <a:ext cx="4534733" cy="164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marL="0" marR="0" lvl="0" indent="0" algn="l" defTabSz="81427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" b="0" i="0" u="none" strike="noStrike" kern="1200" cap="none" spc="27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iscoSansTT Light" panose="020B0503020201020303" pitchFamily="34" charset="0"/>
                <a:ea typeface="+mn-ea"/>
                <a:cs typeface="CiscoSansTT Light" panose="020B0503020201020303" pitchFamily="34" charset="0"/>
              </a:rPr>
              <a:t>© 2022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93657792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1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F76637B-462F-7D5D-23CF-8C2E2DC43FD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D0524CD9-CAA4-7EB6-4934-F3886C2912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42DAD19-9A17-68E5-BD49-714B0BF9B00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72CE57-BC6F-4BCB-A2E8-A753934EAC56}" type="datetimeFigureOut">
              <a:rPr lang="en-GB" smtClean="0"/>
              <a:t>31/03/2025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50CEC2F-3B4E-DB54-1E05-CB2938FCEC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13AFA04-22DD-9DAA-D9FC-ADD15F18B3D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C4F5791-E3C9-488B-90D0-93038B13E67D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60195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lu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8" y="1435771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A832AD-9020-43CC-9118-CF9573E3613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262604" y="6390605"/>
            <a:ext cx="382947" cy="93183"/>
          </a:xfrm>
          <a:prstGeom prst="rect">
            <a:avLst/>
          </a:prstGeom>
        </p:spPr>
      </p:pic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9C3388C-D351-41C3-8A5A-719088525C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bg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8FF48E17-5F97-4F10-BA4E-743A412EE4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78C9D1-477C-4088-B4A6-993E397641F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362484890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7E84602F-A2F5-0AB3-EDDA-2F6FBCDFA88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1792" y="1600200"/>
            <a:ext cx="10960608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98" indent="-228598">
              <a:lnSpc>
                <a:spcPct val="95000"/>
              </a:lnSpc>
              <a:spcBef>
                <a:spcPts val="1480"/>
              </a:spcBef>
              <a:buClr>
                <a:schemeClr val="accent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95" indent="-220132">
              <a:lnSpc>
                <a:spcPct val="95000"/>
              </a:lnSpc>
              <a:spcBef>
                <a:spcPts val="600"/>
              </a:spcBef>
              <a:buClr>
                <a:schemeClr val="accent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392" indent="-146050">
              <a:buClr>
                <a:schemeClr val="accent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CiscoSansTT" panose="020B0503020201020303" pitchFamily="34" charset="0"/>
                <a:ea typeface="CiscoSansTT" panose="020B0503020201020303" pitchFamily="34" charset="0"/>
                <a:cs typeface="CiscoSansTT" panose="020B0503020201020303" pitchFamily="34" charset="0"/>
              </a:defRPr>
            </a:lvl3pPr>
            <a:lvl4pPr marL="1214703" indent="-228552">
              <a:buClr>
                <a:schemeClr val="accent1"/>
              </a:buClr>
              <a:buSzPct val="80000"/>
              <a:buFont typeface="Arial"/>
              <a:buChar char="•"/>
              <a:defRPr sz="1333" b="0" i="0">
                <a:solidFill>
                  <a:schemeClr val="tx1"/>
                </a:solidFill>
                <a:latin typeface="CiscoSansTT Medium" panose="020B0503020201020303" pitchFamily="34" charset="0"/>
                <a:ea typeface="CiscoSansTT Medium" panose="020B0503020201020303" pitchFamily="34" charset="0"/>
                <a:cs typeface="CiscoSansTT Medium" panose="020B0503020201020303" pitchFamily="34" charset="0"/>
              </a:defRPr>
            </a:lvl4pPr>
            <a:lvl5pPr marL="1443255" indent="-224318">
              <a:buClr>
                <a:schemeClr val="bg2"/>
              </a:buClr>
              <a:buSzPct val="80000"/>
              <a:buFont typeface="Arial"/>
              <a:buChar char="•"/>
              <a:defRPr sz="1333" b="0" i="0">
                <a:solidFill>
                  <a:schemeClr val="bg2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59A4C47A-6966-3B09-BD1C-38665845F9B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5928" y="431801"/>
            <a:ext cx="3489235" cy="304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1300" b="0" i="0" baseline="0">
                <a:solidFill>
                  <a:schemeClr val="tx1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406371" indent="0">
              <a:buNone/>
              <a:defRPr/>
            </a:lvl2pPr>
            <a:lvl3pPr marL="569863" indent="0">
              <a:buNone/>
              <a:defRPr/>
            </a:lvl3pPr>
            <a:lvl4pPr marL="688920" indent="0">
              <a:buNone/>
              <a:defRPr/>
            </a:lvl4pPr>
            <a:lvl5pPr marL="801621" indent="0">
              <a:buNone/>
              <a:defRPr/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1FCB4DFA-B41D-91DA-5108-E390AFFDD53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5928" y="739630"/>
            <a:ext cx="7460073" cy="482748"/>
          </a:xfrm>
          <a:prstGeom prst="rect">
            <a:avLst/>
          </a:prstGeom>
        </p:spPr>
        <p:txBody>
          <a:bodyPr lIns="0" tIns="0" rIns="0" bIns="0" anchor="t" anchorCtr="0"/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 i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r>
              <a:rPr lang="en-GB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0907254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4869789"/>
            <a:ext cx="7277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1500" y="5248892"/>
            <a:ext cx="72771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790701"/>
            <a:ext cx="7277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0" y="3431817"/>
            <a:ext cx="7277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0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C213C3D1-EB09-4146-8395-36A5B8D30F2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0668262" y="5957095"/>
            <a:ext cx="1233453" cy="8573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699226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lf &amp; Half Title Slide Dark Layout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4869789"/>
            <a:ext cx="5372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1500" y="5248892"/>
            <a:ext cx="5372100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790701"/>
            <a:ext cx="5372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0" y="3431817"/>
            <a:ext cx="5372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0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73A75F9-B823-4C33-BC6A-70650FACD3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48400" y="0"/>
            <a:ext cx="5943600" cy="6858000"/>
          </a:xfrm>
          <a:noFill/>
        </p:spPr>
        <p:txBody>
          <a:bodyPr anchor="ctr" anchorCtr="0"/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03060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ive Topics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3721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213C59-7880-41D1-9DE5-B53FA71B4F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48400" y="609600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0BD0D78-FA9C-47FE-A8C5-A942C1A9A1E0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080810" y="609600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4D1B0561-72B3-4A7C-9434-B0EDE523688D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080810" y="1037804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FB88D30E-5998-42C2-BFDA-6C6AA1F33F7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48400" y="164719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6D18BF23-F279-48A8-8AFF-AC70F73F091E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7080810" y="1647193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8445664B-F9E1-4D1D-9F6E-DA27AF43C21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7080810" y="2075397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31F0F46D-89DF-46CA-934B-C124727D937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48400" y="2684788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8BB0DD2A-742F-4019-B2A6-6AC6CF3BEEA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080810" y="2684787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4D48E93A-11A3-45A0-961F-26062021432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080810" y="3112991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365D378F-8BFE-41E2-A048-4F1E113B408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48400" y="3722381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4681FE84-1510-4206-91AF-B290EF3C0E1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7080810" y="3722381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58EB90C9-03A7-449D-A8F3-B379B319950E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7080810" y="4150585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E3E332E3-41A2-4350-A7FE-20CB379706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0" y="475997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948A5A7B-49E0-4CF2-8080-E002145F2FF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10" y="4759974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B8F46644-76D3-4C51-9163-739A1F5F7650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10" y="5188178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7D1C11A-12D9-461B-A255-03DBC65A944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EA8191E0-49D0-4036-B896-597B5FEF138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261035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Ten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3721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2875B737-D8C9-4B5A-A987-E648592F8AB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71500" y="2437942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1BC899D-37C3-4568-A4DF-0B0EDE20DC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403910" y="243794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B5D11EE-1D55-4041-81BF-2D405343AEB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1403910" y="286614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78F2AB5-8A22-4344-B743-464793BF69F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71500" y="327862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2A1D5CE-6473-44B2-BC10-1AC73E1B795C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403910" y="327862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D8A733FF-648D-413A-A965-9380FF19EB3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403910" y="370682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C4EAFF18-13A5-4454-9A4E-50C9683A086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71500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3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5CFB554-4FA5-44FE-AD9D-94ADB8A1596B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403910" y="4118817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E82D60C9-C7E6-4DE4-8E8B-9A9D85E509A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1403910" y="4547021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1C81A21-CB5C-4EBA-AA54-D73A670B36B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71500" y="4959740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4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3D704AA8-F2E6-4E6E-BA0F-C73614C721D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1403910" y="4959740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66AE59D2-11F7-416C-B366-F23200F2C468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403910" y="5387944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898C6801-7507-4803-A711-42CEC857E56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0" y="243794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5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7589C976-7FFB-4218-BF7E-1F78F2A1F02C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10" y="243794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0F3DDABD-EE25-49C3-9A53-2657DAD77A8C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10" y="286614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17167DB7-5308-42DC-AEE9-AAED2ED164D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248400" y="3278622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6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620B5D7B-672A-4FB9-9717-E785586DA30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7080810" y="3278622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E23B210E-5C88-4516-A864-36247F88D733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7080810" y="3706826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37DB0FAF-76DD-43D1-B897-9417F5B3AB7B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48400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7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B0C7BE68-E1A9-48A3-8ADD-8FDB96C02A40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7080810" y="4118817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5195D37A-ED4A-4E1F-A476-81831613075B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080810" y="4547021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62FE476F-78D3-4BBD-ADB0-A014E40BC384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48400" y="4959740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8</a:t>
            </a:r>
          </a:p>
        </p:txBody>
      </p:sp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D42D2D51-155D-4C35-BC5F-B8F1C46DC335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7080810" y="4959740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EBF4B885-D002-47D6-8922-12B72E21CACE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7080810" y="5387944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0EEB412-0CE0-4F00-8756-0957743AE431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2DB28A58-94F9-401A-ADF6-47C90FEA956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37317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696DE5-6EFF-4C09-9943-5FCA93FF6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011A5B07-96E9-42C8-81C4-56D26550D3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454FE852-4660-4623-83C0-2F7C9B6EDB27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4CCC6C03-EF21-44ED-8593-CDA31C61E8DD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55611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564E15E-85C2-40F1-B654-E42DCFBA1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 marL="0" indent="0">
              <a:buNone/>
              <a:defRPr sz="1400"/>
            </a:lvl2pPr>
            <a:lvl3pPr marL="228600" indent="0">
              <a:buNone/>
              <a:defRPr sz="1200"/>
            </a:lvl3pPr>
            <a:lvl4pPr marL="406400" indent="0"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30370F4-DF08-4B4A-A3BB-EB8905622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3BE238-C084-4FBF-86DF-59C91AF8317F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1E1701B-4C10-476A-8FDF-6089699136E1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17561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E1C715D-9112-4A01-AD63-361439BFB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E43F6E-A8D0-4155-BD27-8561034BB2B8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A02B8EA-12A2-4673-BF3F-8D4FB8234D2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481020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8EE2313-2646-4E0B-B6B4-BA07574D2F8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572B255-D144-453C-90FA-BB07F680CF0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D9DF569-2B30-EE4C-8D21-F21B97793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C61E8BE-7C30-466D-96E8-145E0409391E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053218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Box 9">
            <a:extLst>
              <a:ext uri="{FF2B5EF4-FFF2-40B4-BE49-F238E27FC236}">
                <a16:creationId xmlns:a16="http://schemas.microsoft.com/office/drawing/2014/main" id="{7C7D94ED-0F39-4B30-8B40-B8D535783A5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0CE85B47-180E-0542-8A98-FABBBFB2A6D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265EAF99-811E-0A42-AD86-6F1F07B547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BC72363-F3A6-5E44-AD40-7647C83973A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 marL="174625" indent="-174625">
              <a:defRPr sz="1400"/>
            </a:lvl2pPr>
            <a:lvl3pPr marL="346075" indent="-171450"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A216F31-D19E-4174-ACB7-CAFBD6AE68A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174540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Red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8" y="1435771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568E111-65BF-4A46-8EAE-312C901D58C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262604" y="6390605"/>
            <a:ext cx="382947" cy="93183"/>
          </a:xfrm>
          <a:prstGeom prst="rect">
            <a:avLst/>
          </a:prstGeom>
        </p:spPr>
      </p:pic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99EEAE5F-ECFF-4F72-96BB-3224A534631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bg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0D416E35-5B7F-4B60-AA20-B7D96C3AAF3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1D93D2D-5BCB-4781-AF52-A821F4FEE7EF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3158752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49195570-1534-4F74-B303-B06313C227F6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66674A7-0DAD-C54D-BB6A-AB4B6F3D1CF2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48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4BFEFE0-97D7-B240-BC88-FC22052279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82028C6-D96F-A145-862B-ED80E5C5EF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600"/>
            </a:lvl1pPr>
            <a:lvl2pPr marL="0" indent="0">
              <a:buFontTx/>
              <a:buNone/>
              <a:defRPr sz="1400"/>
            </a:lvl2pPr>
            <a:lvl3pPr marL="228600" indent="0">
              <a:buFontTx/>
              <a:buNone/>
              <a:defRPr sz="1200"/>
            </a:lvl3pPr>
            <a:lvl4pPr marL="406400" indent="0">
              <a:buFontTx/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A8F312C-C046-4076-8AB0-7EBEDB95055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99393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8C469D-456E-4ECF-83FA-AF1F3BDB26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71500" y="1905000"/>
            <a:ext cx="5372100" cy="4305301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8E86-A92A-495E-A49E-35F25D765A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1905000"/>
            <a:ext cx="5372100" cy="4305302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512763" indent="-169863"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  <a:lvl5pPr marL="746125" indent="-174625">
              <a:defRPr lang="en-US" sz="600" b="0" i="0" kern="1200" spc="0" baseline="0" dirty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F274A685-F33F-448C-B6FE-AB508BA75B9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E1DAB2D8-1539-4822-9614-2E04B2120F5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E9306D53-D47B-4F16-A012-78C12883E1D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619525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, Title &amp;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DC1BA0-9AAE-4457-AB7A-2225418D1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2663" y="1905000"/>
            <a:ext cx="5372100" cy="307777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87F35FC-680E-4287-99BA-ED6DF9E6085D}"/>
              </a:ext>
            </a:extLst>
          </p:cNvPr>
          <p:cNvSpPr>
            <a:spLocks noGrp="1"/>
          </p:cNvSpPr>
          <p:nvPr>
            <p:ph type="body" idx="57"/>
          </p:nvPr>
        </p:nvSpPr>
        <p:spPr>
          <a:xfrm>
            <a:off x="6249563" y="1905000"/>
            <a:ext cx="5372100" cy="307777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E451DCD-2B8C-4BF9-8D85-AA8F5ABE2826}"/>
              </a:ext>
            </a:extLst>
          </p:cNvPr>
          <p:cNvSpPr>
            <a:spLocks noGrp="1"/>
          </p:cNvSpPr>
          <p:nvPr>
            <p:ph sz="half" idx="58"/>
          </p:nvPr>
        </p:nvSpPr>
        <p:spPr>
          <a:xfrm>
            <a:off x="571500" y="2369053"/>
            <a:ext cx="5372100" cy="3841249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F39D5E2-4E9E-4B26-9E69-7D77328E4C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2369052"/>
            <a:ext cx="5372100" cy="3841249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 marL="746125" indent="-174625">
              <a:defRPr lang="en-US" sz="600" b="0" i="0" kern="1200" spc="0" baseline="0" dirty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C2285B0-0824-4973-8F1D-C24F2784A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C254480-49EA-44F8-91E6-0FCF9F498DC6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D5DBBD6-CA78-4551-B263-2F8BFC4E781A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12618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58696A-2388-495D-981D-050920BB5C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71500" y="5334000"/>
            <a:ext cx="5372099" cy="876300"/>
          </a:xfrm>
        </p:spPr>
        <p:txBody>
          <a:bodyPr>
            <a:noAutofit/>
          </a:bodyPr>
          <a:lstStyle>
            <a:lvl1pPr marL="0" indent="0">
              <a:buNone/>
              <a:tabLst/>
              <a:defRPr sz="16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C009990-5F38-4F94-ABE2-44DA301BD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0" y="5334000"/>
            <a:ext cx="5372099" cy="876300"/>
          </a:xfrm>
        </p:spPr>
        <p:txBody>
          <a:bodyPr>
            <a:noAutofit/>
          </a:bodyPr>
          <a:lstStyle>
            <a:lvl1pPr marL="0" indent="0">
              <a:buNone/>
              <a:defRPr sz="16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D01E734-4CA7-4CBD-A769-BCC20375564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571500" y="1905000"/>
            <a:ext cx="5372100" cy="3271156"/>
          </a:xfrm>
          <a:solidFill>
            <a:schemeClr val="bg2"/>
          </a:solidFill>
        </p:spPr>
        <p:txBody>
          <a:bodyPr anchor="ctr" anchorCtr="0">
            <a:no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2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E24BD1C9-BB6F-4B1A-B0AC-70FBFBAD0DD6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6248400" y="1905000"/>
            <a:ext cx="5372100" cy="3271156"/>
          </a:xfrm>
          <a:solidFill>
            <a:schemeClr val="bg2"/>
          </a:solidFill>
        </p:spPr>
        <p:txBody>
          <a:bodyPr anchor="ctr" anchorCtr="0">
            <a:no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2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5C3A3765-3130-474C-96F5-7E50AE68B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CEFB623-3BE4-41A5-AD7A-7D81E50E12F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C840F6A6-3445-46E0-90CD-B778CB75CB3D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70542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8C1C862-6F14-47C3-885D-12D6E1A99AA2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AD8007C-DE91-4E81-8041-976C5135CD04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93255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icture with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Box 5">
            <a:extLst>
              <a:ext uri="{FF2B5EF4-FFF2-40B4-BE49-F238E27FC236}">
                <a16:creationId xmlns:a16="http://schemas.microsoft.com/office/drawing/2014/main" id="{DDEF7496-FB76-482F-B4DC-5B78B30B1B0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054F9D6-4889-4D51-9ADF-D453DFF1E8E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1905000"/>
            <a:ext cx="12192000" cy="43053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algn="ctr"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Title Placeholder 1">
            <a:extLst>
              <a:ext uri="{FF2B5EF4-FFF2-40B4-BE49-F238E27FC236}">
                <a16:creationId xmlns:a16="http://schemas.microsoft.com/office/drawing/2014/main" id="{F73476B1-5604-4136-9D0F-58F8AF89BB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CDEE37D-020A-4A22-922F-31441A6C8745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36252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Blee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5054F9D6-4889-4D51-9ADF-D453DFF1E8E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blipFill dpi="0" rotWithShape="1">
            <a:blip r:embed="rId2">
              <a:alphaModFix amt="20000"/>
            </a:blip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DEF7496-FB76-482F-B4DC-5B78B30B1B0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696465F4-B55E-463E-9A4A-F93B1EE9FD6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16807" y="6364637"/>
            <a:ext cx="503671" cy="221124"/>
          </a:xfrm>
          <a:prstGeom prst="rect">
            <a:avLst/>
          </a:prstGeom>
        </p:spPr>
      </p:pic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F81D1E80-33EB-4E5D-9415-4B0EE02EBDF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30996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6734A84-A20E-4265-848D-432FAF49C4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2236BEA-8B84-4433-AC6E-DE816054A44B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76FF25-9CEA-4D73-9CD8-BCF0613C55EA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01125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4BE6003-571D-4817-A40A-6421214126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4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4156D67-C67F-41CF-BA17-0B2BFD535E2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92C7D0-4978-4D65-A39E-9CB076EFBCC3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776816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Section Head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1435770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10703F-CBA9-4296-B386-BA35019F8F44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79EE8F-1900-4C5E-A4C1-BB6BE90235E1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46342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Oran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8" y="1435771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2BFC48DC-824F-D44A-AB16-F590AD9FBE6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262604" y="6390605"/>
            <a:ext cx="382947" cy="93183"/>
          </a:xfrm>
          <a:prstGeom prst="rect">
            <a:avLst/>
          </a:prstGeom>
        </p:spPr>
      </p:pic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3297E32-6352-4D99-9949-266620911B7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bg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9893F2BD-54CB-4DEA-A29C-C6C514A756B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E0E3BE08-F150-4EA2-BBA1-E1E7F059747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38127827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D6DF483-DD51-444D-AF16-AF31E72FDD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514350" indent="-171450">
              <a:buFont typeface="Arial" panose="020B0604020202020204" pitchFamily="34" charset="0"/>
              <a:buChar char="•"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0BAC715-F543-452A-80B1-3A07B10B2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73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F48862-22C1-482F-B821-3D8CC682DAB1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524910-4FFE-49EA-99DE-65BFB724546B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773090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8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1E1BB935-C530-47D2-883E-00828E3A8FC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200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D970870-8847-48D6-ACCA-B0F7D662F2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 marL="514350" indent="-171450">
              <a:buFont typeface="Arial" panose="020B0604020202020204" pitchFamily="34" charset="0"/>
              <a:buChar char="•"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8CEBD18-98E9-4568-A90A-5715A834E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73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38F8A1A-3A97-4C8E-9550-2C62BC10A83F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11887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8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FFEF2E81-694A-4A5A-BEDE-DF13285D820B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95E2598-51C8-4F83-B09D-69C86C142A3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1905000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6737D39F-19A0-4D2A-8E85-527465AFD610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188208" y="1905000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B4FE5E7B-ECDC-404D-9B30-E7B580CCEED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714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34" name="Text Placeholder 5">
            <a:extLst>
              <a:ext uri="{FF2B5EF4-FFF2-40B4-BE49-F238E27FC236}">
                <a16:creationId xmlns:a16="http://schemas.microsoft.com/office/drawing/2014/main" id="{11CDB75F-12E1-4403-B291-31A3B1C83B04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1882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1" name="Content Placeholder 4">
            <a:extLst>
              <a:ext uri="{FF2B5EF4-FFF2-40B4-BE49-F238E27FC236}">
                <a16:creationId xmlns:a16="http://schemas.microsoft.com/office/drawing/2014/main" id="{BA687946-9318-4CD5-B900-AA488A7BDA5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200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ECBF8DC3-DA3E-470B-AE86-6B154E24E3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73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B312C61A-B9D3-456C-953D-82B30FE7C4A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5248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552">
          <p15:clr>
            <a:srgbClr val="A4A3A4"/>
          </p15:clr>
        </p15:guide>
        <p15:guide id="3" pos="4128">
          <p15:clr>
            <a:srgbClr val="A4A3A4"/>
          </p15:clr>
        </p15:guide>
        <p15:guide id="4" orient="horz" pos="1656">
          <p15:clr>
            <a:srgbClr val="A4A3A4"/>
          </p15:clr>
        </p15:guide>
        <p15:guide id="5" orient="horz" pos="1752">
          <p15:clr>
            <a:srgbClr val="A4A3A4"/>
          </p15:clr>
        </p15:guide>
      </p15:sldGuideLst>
    </p:ext>
  </p:extLst>
</p:sldLayout>
</file>

<file path=ppt/slideLayouts/slideLayout8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6689F426-4C63-454D-B133-BC94D9D1601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B15451E-AF4B-4B3A-B376-2003DB48C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60625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9" name="Title Placeholder 1">
            <a:extLst>
              <a:ext uri="{FF2B5EF4-FFF2-40B4-BE49-F238E27FC236}">
                <a16:creationId xmlns:a16="http://schemas.microsoft.com/office/drawing/2014/main" id="{89F1EE91-F457-4893-88BA-AF3B71081D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 Placeholder 5">
            <a:extLst>
              <a:ext uri="{FF2B5EF4-FFF2-40B4-BE49-F238E27FC236}">
                <a16:creationId xmlns:a16="http://schemas.microsoft.com/office/drawing/2014/main" id="{1490D2D3-F0B6-4527-A912-AE8F2F7E703A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5714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D27C7EF2-E1C7-403F-81BA-2822B0BADEE7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31882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322DDD1-796F-4817-A0A2-B54629B89214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1905000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C5075854-0A14-4136-BC79-1BC72756705A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3188208" y="1905000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2795272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552">
          <p15:clr>
            <a:srgbClr val="A4A3A4"/>
          </p15:clr>
        </p15:guide>
        <p15:guide id="2" pos="4152">
          <p15:clr>
            <a:srgbClr val="A4A3A4"/>
          </p15:clr>
        </p15:guide>
      </p15:sldGuideLst>
    </p:ext>
  </p:extLst>
</p:sldLayout>
</file>

<file path=ppt/slideLayouts/slideLayout8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2">
            <a:extLst>
              <a:ext uri="{FF2B5EF4-FFF2-40B4-BE49-F238E27FC236}">
                <a16:creationId xmlns:a16="http://schemas.microsoft.com/office/drawing/2014/main" id="{4AEEE0BE-B874-4CB1-92B1-404602B5CA8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B74128E-BA5E-4242-8B4E-D1F74267029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7613D29C-0961-4A3D-8A56-1E1B5BC7445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F1F61BA1-F848-4E08-8C07-5D6D5E6C0A8C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847136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8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C82BCFB0-2C06-4262-9388-B4438F4E9687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68778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E96ABEA8-C693-429B-8E00-CBD848A92FA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51F330DC-3ED8-470C-84C4-C7D10A9020A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28BD350E-1BA7-4789-8917-9D2180DC456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763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8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Two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0" name="Content Placeholder 4">
            <a:extLst>
              <a:ext uri="{FF2B5EF4-FFF2-40B4-BE49-F238E27FC236}">
                <a16:creationId xmlns:a16="http://schemas.microsoft.com/office/drawing/2014/main" id="{2BE86DFA-31C3-4F24-A7FF-57697A0FEFD1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568778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9BA23DE7-CFFA-40A9-9A64-A60D86654551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553199" y="1910149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860001BE-2917-4768-B6B6-BEC070C85F3E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71232" y="1910149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F033B061-30E2-4203-B7D3-0E4FF6C4CC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" name="Text Placeholder 5">
            <a:extLst>
              <a:ext uri="{FF2B5EF4-FFF2-40B4-BE49-F238E27FC236}">
                <a16:creationId xmlns:a16="http://schemas.microsoft.com/office/drawing/2014/main" id="{4F90B59D-E2BD-42BC-B3BC-06F775048825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5531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68269256-DD80-4564-A3AF-D017D4A7ED5D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1699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ABB20381-4C93-463A-927C-0BB3E602CAA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506259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8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F60A532-8EEA-467C-8E7E-39CF1DB485A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66D3B650-5EC2-4F87-A7DF-85C75476134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34FB1BE2-EC71-4AA4-B103-A670DCD7AA1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532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655836A8-05ED-470D-9C33-44AD1D4866F1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987541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8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ight 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2F60A532-8EEA-467C-8E7E-39CF1DB485A0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1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9A0B76E-2F1E-4BD6-AA72-3682A69C9C34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6553199" y="1910149"/>
            <a:ext cx="2448577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5818B49-B6BC-412E-A21D-631A69222221}"/>
              </a:ext>
            </a:extLst>
          </p:cNvPr>
          <p:cNvSpPr>
            <a:spLocks noGrp="1"/>
          </p:cNvSpPr>
          <p:nvPr>
            <p:ph type="body" sz="quarter" idx="58"/>
          </p:nvPr>
        </p:nvSpPr>
        <p:spPr>
          <a:xfrm>
            <a:off x="9171232" y="1910149"/>
            <a:ext cx="2450592" cy="723900"/>
          </a:xfrm>
        </p:spPr>
        <p:txBody>
          <a:bodyPr wrap="square" anchor="t" anchorCtr="0">
            <a:noAutofit/>
          </a:bodyPr>
          <a:lstStyle>
            <a:lvl1pPr>
              <a:defRPr lang="en-US" sz="20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442FDF7C-40C4-4C20-819D-D8B06F0E821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53200" y="609600"/>
            <a:ext cx="5068698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5" name="Text Placeholder 5">
            <a:extLst>
              <a:ext uri="{FF2B5EF4-FFF2-40B4-BE49-F238E27FC236}">
                <a16:creationId xmlns:a16="http://schemas.microsoft.com/office/drawing/2014/main" id="{E7B14163-B0FE-4287-968A-93DE80346813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553199" y="2789966"/>
            <a:ext cx="2448576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sz="1000"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6" name="Text Placeholder 5">
            <a:extLst>
              <a:ext uri="{FF2B5EF4-FFF2-40B4-BE49-F238E27FC236}">
                <a16:creationId xmlns:a16="http://schemas.microsoft.com/office/drawing/2014/main" id="{4927BC81-4C08-47F4-BA08-8F857CA477A5}"/>
              </a:ext>
            </a:extLst>
          </p:cNvPr>
          <p:cNvSpPr>
            <a:spLocks noGrp="1"/>
          </p:cNvSpPr>
          <p:nvPr>
            <p:ph type="body" sz="quarter" idx="62" hasCustomPrompt="1"/>
          </p:nvPr>
        </p:nvSpPr>
        <p:spPr>
          <a:xfrm>
            <a:off x="9169908" y="2789966"/>
            <a:ext cx="2450592" cy="3420333"/>
          </a:xfrm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8E009170-4223-4B7A-A077-F74B3DE3688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65676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g idea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7" y="983972"/>
            <a:ext cx="8071795" cy="66702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z="2400" spc="0" dirty="0">
                <a:solidFill>
                  <a:schemeClr val="accent5"/>
                </a:solidFill>
                <a:cs typeface="CiscoSansTT" panose="020B0503020201020303" pitchFamily="34" charset="0"/>
              </a:defRPr>
            </a:lvl1pPr>
          </a:lstStyle>
          <a:p>
            <a:pPr marL="0" lvl="0"/>
            <a:r>
              <a:rPr lang="en-US"/>
              <a:t>Headline here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B75BB999-B759-4029-B296-14C2F167911F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46102" y="1811867"/>
            <a:ext cx="8078871" cy="4214284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3733">
                <a:latin typeface="+mj-lt"/>
              </a:defRPr>
            </a:lvl1pPr>
            <a:lvl2pPr>
              <a:lnSpc>
                <a:spcPct val="90000"/>
              </a:lnSpc>
              <a:defRPr sz="2667"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4289960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A305123-92F2-4B89-A355-7539327F08C3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1500" y="2787408"/>
            <a:ext cx="3465576" cy="3420333"/>
          </a:xfrm>
        </p:spPr>
        <p:txBody>
          <a:bodyPr/>
          <a:lstStyle>
            <a:lvl3pPr>
              <a:defRPr/>
            </a:lvl3pPr>
            <a:lvl4pPr marL="514350" indent="-171450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1907558"/>
            <a:ext cx="3465576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2" name="Content Placeholder 4">
            <a:extLst>
              <a:ext uri="{FF2B5EF4-FFF2-40B4-BE49-F238E27FC236}">
                <a16:creationId xmlns:a16="http://schemas.microsoft.com/office/drawing/2014/main" id="{F96C995E-58E0-4A91-AA56-8759CFD3EA73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499" y="2787408"/>
            <a:ext cx="3467099" cy="3420333"/>
          </a:xfrm>
        </p:spPr>
        <p:txBody>
          <a:bodyPr/>
          <a:lstStyle>
            <a:lvl3pPr>
              <a:defRPr/>
            </a:lvl3pPr>
            <a:lvl4pPr marL="342900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071BF92C-4C07-4794-8CC8-D51F3173376C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0" y="1907558"/>
            <a:ext cx="3467099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4" name="Content Placeholder 4">
            <a:extLst>
              <a:ext uri="{FF2B5EF4-FFF2-40B4-BE49-F238E27FC236}">
                <a16:creationId xmlns:a16="http://schemas.microsoft.com/office/drawing/2014/main" id="{47F7CD6B-9884-4317-A0E7-31AE02F93993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0" y="2787408"/>
            <a:ext cx="3467100" cy="3420333"/>
          </a:xfrm>
        </p:spPr>
        <p:txBody>
          <a:bodyPr/>
          <a:lstStyle>
            <a:lvl3pPr marL="346075" indent="-171450">
              <a:buFont typeface="Arial" panose="020B0604020202020204" pitchFamily="34" charset="0"/>
              <a:buChar char="•"/>
              <a:defRPr/>
            </a:lvl3pPr>
            <a:lvl4pPr marL="512763" indent="-169863"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EECB8C3-35E8-4930-A0AE-3BA62609BFD9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8153400" y="1904999"/>
            <a:ext cx="3467100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1D46A44-801A-40B4-8117-1D09F7B03348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9A2394E-0E95-4850-A756-0015178A4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50DAF14-F79F-48F1-BCFF-1EC74CF6ED79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338440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9CE094B7-A2CC-4860-A57D-F142C2E63FC6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4041159"/>
            <a:ext cx="3465576" cy="2169141"/>
          </a:xfrm>
        </p:spPr>
        <p:txBody>
          <a:bodyPr/>
          <a:lstStyle>
            <a:lvl3pPr marL="346075" indent="-17145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E2DCECB4-BB48-48B5-A871-A080DE20BDFF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499" y="4041159"/>
            <a:ext cx="3467099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Content Placeholder 4">
            <a:extLst>
              <a:ext uri="{FF2B5EF4-FFF2-40B4-BE49-F238E27FC236}">
                <a16:creationId xmlns:a16="http://schemas.microsoft.com/office/drawing/2014/main" id="{868F585C-1E6D-44C6-9295-9866846056CD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0" y="4038600"/>
            <a:ext cx="3467100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A1EBBB-1490-4A58-9FEB-3DAB9E66019A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577124" y="3429000"/>
            <a:ext cx="3465576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6C65CC39-4D00-45CB-AE15-8C3D3E976756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0" y="3429000"/>
            <a:ext cx="3467099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9291D51-BC1A-4ED4-8278-30B67F7C4AA7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8153400" y="3426441"/>
            <a:ext cx="3467100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42E7DBE-A450-4BC3-A3EC-3A1EE7839F6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94344F4-D05A-E24F-A679-CB39B058D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1084CAD-AB1E-47FC-A2EF-2D347CCE071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576661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8D3B3576-E092-44AC-9525-9DA3161E6EEC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C21223BB-13C2-46FE-9733-BCC3C77A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2102BF9D-05AF-4C40-AEC2-376EE9F4E666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577124" y="4041159"/>
            <a:ext cx="2514600" cy="2169141"/>
          </a:xfrm>
        </p:spPr>
        <p:txBody>
          <a:bodyPr/>
          <a:lstStyle>
            <a:lvl3pPr>
              <a:defRPr/>
            </a:lvl3pPr>
            <a:lvl4pPr marL="342900" indent="0">
              <a:buNone/>
              <a:defRPr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F548FAB6-7AFF-4D5A-A1E9-06C746623E4C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429001" y="4041159"/>
            <a:ext cx="2510730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FB91503-30B7-4FD7-846E-47F4CF9F474A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6244532" y="4041159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E14F77AB-427A-46FA-9A58-62890F9733C1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9088316" y="4041159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63" marR="0" lvl="3" indent="-169863" algn="l" defTabSz="882171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72B32549-6990-4E43-A843-9EEA9CC29CF0}"/>
              </a:ext>
            </a:extLst>
          </p:cNvPr>
          <p:cNvSpPr>
            <a:spLocks noGrp="1"/>
          </p:cNvSpPr>
          <p:nvPr>
            <p:ph type="body" sz="half" idx="77" hasCustomPrompt="1"/>
          </p:nvPr>
        </p:nvSpPr>
        <p:spPr>
          <a:xfrm>
            <a:off x="577124" y="3429000"/>
            <a:ext cx="25146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A54DA02-E155-45D5-B886-1EDF7135C93F}"/>
              </a:ext>
            </a:extLst>
          </p:cNvPr>
          <p:cNvSpPr>
            <a:spLocks noGrp="1"/>
          </p:cNvSpPr>
          <p:nvPr>
            <p:ph type="body" sz="half" idx="78" hasCustomPrompt="1"/>
          </p:nvPr>
        </p:nvSpPr>
        <p:spPr>
          <a:xfrm>
            <a:off x="3429001" y="3429000"/>
            <a:ext cx="2514599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EC4E001-5A82-4221-8FE3-9B25D98B0EA9}"/>
              </a:ext>
            </a:extLst>
          </p:cNvPr>
          <p:cNvSpPr>
            <a:spLocks noGrp="1"/>
          </p:cNvSpPr>
          <p:nvPr>
            <p:ph type="body" sz="half" idx="79" hasCustomPrompt="1"/>
          </p:nvPr>
        </p:nvSpPr>
        <p:spPr>
          <a:xfrm>
            <a:off x="6244532" y="3426441"/>
            <a:ext cx="2511833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E779C7D-755B-428C-BB0F-6496238D6D83}"/>
              </a:ext>
            </a:extLst>
          </p:cNvPr>
          <p:cNvSpPr>
            <a:spLocks noGrp="1"/>
          </p:cNvSpPr>
          <p:nvPr>
            <p:ph type="body" sz="half" idx="80" hasCustomPrompt="1"/>
          </p:nvPr>
        </p:nvSpPr>
        <p:spPr>
          <a:xfrm>
            <a:off x="9088316" y="3426441"/>
            <a:ext cx="2511833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A758410-2F69-431F-99F7-B6259194CBFF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969616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29000" y="0"/>
            <a:ext cx="8762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65309CA-3E25-47B8-99B6-670FE796BB9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971800"/>
            <a:ext cx="2552700" cy="3238500"/>
          </a:xfrm>
        </p:spPr>
        <p:txBody>
          <a:bodyPr/>
          <a:lstStyle>
            <a:lvl3pPr marL="346075" indent="-17145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98B3BBBD-95D5-473C-B5AA-4C86DA04A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2552700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11708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872">
          <p15:clr>
            <a:srgbClr val="A4A3A4"/>
          </p15:clr>
        </p15:guide>
        <p15:guide id="3" orient="horz" pos="1680">
          <p15:clr>
            <a:srgbClr val="A4A3A4"/>
          </p15:clr>
        </p15:guide>
      </p15:sldGuideLst>
    </p:ext>
  </p:extLst>
</p:sldLayout>
</file>

<file path=ppt/slideLayouts/slideLayout8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076700" y="609600"/>
            <a:ext cx="75438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4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336A642-95C4-40BE-AE95-D81502EF3AE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E0708104-F9EC-4157-95F0-FA326192EA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609600"/>
            <a:ext cx="2857500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</a:t>
            </a:r>
            <a:br>
              <a:rPr lang="en-US"/>
            </a:br>
            <a:r>
              <a:rPr lang="en-US"/>
              <a:t>edit Master title style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CB1B1C66-A921-41B1-B007-79881FEFA60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971800"/>
            <a:ext cx="2857500" cy="3238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0C2511D1-1C83-4E3F-B853-447E699CCCF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222215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29000" y="0"/>
            <a:ext cx="8762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4891977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71499" y="5486401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8" y="3631820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8" y="3037396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F1A913C-478C-4159-AD61-19314F8B1D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2552699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978905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6096000" y="0"/>
            <a:ext cx="6095999" cy="6858000"/>
          </a:xfr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994026FE-B789-4F5D-805E-02B0631E7EC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8" y="4891977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 Placeholder 5">
            <a:extLst>
              <a:ext uri="{FF2B5EF4-FFF2-40B4-BE49-F238E27FC236}">
                <a16:creationId xmlns:a16="http://schemas.microsoft.com/office/drawing/2014/main" id="{00788797-0721-4FDF-B9A8-D8FD6A85E245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71498" y="5486401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0231F72B-DB93-439F-8D5C-3A98DBB9C4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499" y="609600"/>
            <a:ext cx="5372099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042C4D8C-C05E-40DC-A5F1-D8E216530543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8" y="3631820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979DD178-20FD-4061-A4CF-ADAD80B00223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8" y="3037396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755C8534-6B0E-41CD-9706-61F591BFF126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3390900" y="4891977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0DECDBD2-EF07-4EFE-81B0-67DD271A8E4A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3390900" y="5486401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0" name="Text Placeholder 5">
            <a:extLst>
              <a:ext uri="{FF2B5EF4-FFF2-40B4-BE49-F238E27FC236}">
                <a16:creationId xmlns:a16="http://schemas.microsoft.com/office/drawing/2014/main" id="{A005CF03-ABB1-4046-89FC-A41C9CAD1DE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3390899" y="3631820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49AEAAD6-2FA1-420B-BCE8-48233BD945BF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3390899" y="3037396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439801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4128">
          <p15:clr>
            <a:srgbClr val="A4A3A4"/>
          </p15:clr>
        </p15:guide>
        <p15:guide id="4" pos="3552">
          <p15:clr>
            <a:srgbClr val="A4A3A4"/>
          </p15:clr>
        </p15:guide>
      </p15:sldGuideLst>
    </p:ext>
  </p:extLst>
</p:sldLayout>
</file>

<file path=ppt/slideLayouts/slideLayout8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wo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381500" y="609600"/>
            <a:ext cx="34671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</a:t>
            </a:r>
            <a:br>
              <a:rPr lang="en-US"/>
            </a:br>
            <a:r>
              <a:rPr lang="en-US"/>
              <a:t>photo here or click or tap </a:t>
            </a:r>
            <a:br>
              <a:rPr lang="en-US"/>
            </a:br>
            <a:r>
              <a:rPr lang="en-US"/>
              <a:t>icon 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80B26961-BE72-42FE-83E3-E9413C61E43B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8153400" y="609600"/>
            <a:ext cx="3467100" cy="560070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</a:t>
            </a:r>
            <a:br>
              <a:rPr lang="en-US"/>
            </a:br>
            <a:r>
              <a:rPr lang="en-US"/>
              <a:t>photo here or click or tap </a:t>
            </a:r>
            <a:br>
              <a:rPr lang="en-US"/>
            </a:br>
            <a:r>
              <a:rPr lang="en-US"/>
              <a:t>icon 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7" name="Text Placeholder 5">
            <a:extLst>
              <a:ext uri="{FF2B5EF4-FFF2-40B4-BE49-F238E27FC236}">
                <a16:creationId xmlns:a16="http://schemas.microsoft.com/office/drawing/2014/main" id="{E7117EB1-347D-42E5-8273-C02EF79929C2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8" y="3276600"/>
            <a:ext cx="3505201" cy="29337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BE1DC698-4F08-40A9-8E7D-20E5FF561A26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8" y="2057400"/>
            <a:ext cx="3505201" cy="1066800"/>
          </a:xfrm>
        </p:spPr>
        <p:txBody>
          <a:bodyPr wrap="square" anchor="b" anchorCtr="0">
            <a:noAutofit/>
          </a:bodyPr>
          <a:lstStyle>
            <a:lvl1pPr>
              <a:defRPr lang="en-US" sz="2000" dirty="0" smtClean="0"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5CE0567A-A5F3-4C61-8B3C-08121E05DDC7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D3E41E21-7547-4B83-8F53-91A26F07F5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3505201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B6FBF98B-2A50-454A-BE00-7C981795572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748072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6EE0FED-0F8F-1D4B-BDC6-134B0FE8D3AF}"/>
              </a:ext>
            </a:extLst>
          </p:cNvPr>
          <p:cNvSpPr/>
          <p:nvPr/>
        </p:nvSpPr>
        <p:spPr>
          <a:xfrm>
            <a:off x="3428999" y="0"/>
            <a:ext cx="8763001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00FA166-5D3F-4D89-9646-F16A985660E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25527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E9CD8F1-BCCB-4886-9A5C-6DBC2AED36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25527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8F119A-0C2E-4A56-861D-52501224E76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45398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488">
          <p15:clr>
            <a:srgbClr val="A4A3A4"/>
          </p15:clr>
        </p15:guide>
        <p15:guide id="3" orient="horz" pos="1584">
          <p15:clr>
            <a:srgbClr val="A4A3A4"/>
          </p15:clr>
        </p15:guide>
      </p15:sldGuideLst>
    </p:ext>
  </p:extLst>
</p:sldLayout>
</file>

<file path=ppt/slideLayouts/slideLayout8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97389CA-AA00-4146-B54D-B32C999B76FE}"/>
              </a:ext>
            </a:extLst>
          </p:cNvPr>
          <p:cNvSpPr/>
          <p:nvPr/>
        </p:nvSpPr>
        <p:spPr>
          <a:xfrm>
            <a:off x="4991100" y="0"/>
            <a:ext cx="72009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3852A25-25D6-4B6B-902F-93AEC433B73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38100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CC6C67FE-13C1-4F4C-8B7C-A596738753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38100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74ED29-7748-494F-852C-C675DE7124A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895804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ck and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4DA0E52D-C721-4650-9C0F-6736A8356BDD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4B20C903-425E-CE46-A78C-A8F94E6F3A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83972"/>
            <a:ext cx="5020573" cy="66702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z="2400" spc="0" dirty="0">
                <a:solidFill>
                  <a:schemeClr val="accent5"/>
                </a:solidFill>
                <a:cs typeface="CiscoSansTT" panose="020B0503020201020303" pitchFamily="34" charset="0"/>
              </a:defRPr>
            </a:lvl1pPr>
          </a:lstStyle>
          <a:p>
            <a:pPr marL="0" lvl="0"/>
            <a:r>
              <a:rPr lang="en-US"/>
              <a:t>Headline here</a:t>
            </a:r>
          </a:p>
        </p:txBody>
      </p:sp>
      <p:sp>
        <p:nvSpPr>
          <p:cNvPr id="8" name="Footer Placeholder 3">
            <a:extLst>
              <a:ext uri="{FF2B5EF4-FFF2-40B4-BE49-F238E27FC236}">
                <a16:creationId xmlns:a16="http://schemas.microsoft.com/office/drawing/2014/main" id="{B210406C-7568-4309-9864-91A20A117D2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0" name="Slide Number Placeholder 4">
            <a:extLst>
              <a:ext uri="{FF2B5EF4-FFF2-40B4-BE49-F238E27FC236}">
                <a16:creationId xmlns:a16="http://schemas.microsoft.com/office/drawing/2014/main" id="{CD11B506-D159-4120-BD63-F1433B968C7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B0C53C86-B25F-4329-A776-7F81DB0D0D2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2127894-6416-466C-BB1B-398D49613D6C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6530560" y="982136"/>
            <a:ext cx="4923933" cy="668867"/>
          </a:xfrm>
        </p:spPr>
        <p:txBody>
          <a:bodyPr vert="horz" lIns="0" tIns="45720" rIns="0" bIns="45720" rtlCol="0" anchor="t" anchorCtr="0">
            <a:noAutofit/>
          </a:bodyPr>
          <a:lstStyle>
            <a:lvl1pPr marL="0" indent="0">
              <a:buNone/>
              <a:defRPr lang="en-US" sz="2400" kern="100" dirty="0" smtClean="0">
                <a:solidFill>
                  <a:schemeClr val="accent5"/>
                </a:solidFill>
                <a:latin typeface="CiscoSansTT" panose="020B0503020201020303" pitchFamily="34" charset="0"/>
                <a:ea typeface="+mj-ea"/>
                <a:cs typeface="CiscoSansTT" panose="020B0503020201020303" pitchFamily="34" charset="0"/>
              </a:defRPr>
            </a:lvl1pPr>
            <a:lvl2pPr>
              <a:defRPr lang="en-US" dirty="0"/>
            </a:lvl2pPr>
          </a:lstStyle>
          <a:p>
            <a:pPr marL="78313" lvl="0" indent="-380981">
              <a:lnSpc>
                <a:spcPct val="90000"/>
              </a:lnSpc>
              <a:spcBef>
                <a:spcPct val="0"/>
              </a:spcBef>
            </a:pPr>
            <a:r>
              <a:rPr lang="en-US"/>
              <a:t>Headline her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5BC4757B-926E-4069-B78F-E73CDA44A44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4" y="6390603"/>
            <a:ext cx="382947" cy="93184"/>
          </a:xfrm>
          <a:prstGeom prst="rect">
            <a:avLst/>
          </a:prstGeom>
        </p:spPr>
      </p:pic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0496176-F129-4881-B78D-72B2E47446FA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46102" y="1811867"/>
            <a:ext cx="5027385" cy="4214284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3200">
                <a:latin typeface="+mj-lt"/>
              </a:defRPr>
            </a:lvl1pPr>
            <a:lvl2pPr>
              <a:lnSpc>
                <a:spcPct val="90000"/>
              </a:lnSpc>
              <a:defRPr sz="2400"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CC9A2F0E-BF59-44DA-B575-55D071F77A76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6530560" y="1811867"/>
            <a:ext cx="4912045" cy="4214284"/>
          </a:xfrm>
        </p:spPr>
        <p:txBody>
          <a:bodyPr/>
          <a:lstStyle>
            <a:lvl1pPr marL="0" indent="0">
              <a:lnSpc>
                <a:spcPct val="90000"/>
              </a:lnSpc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>
              <a:lnSpc>
                <a:spcPct val="90000"/>
              </a:lnSpc>
              <a:defRPr sz="2400">
                <a:solidFill>
                  <a:schemeClr val="bg1"/>
                </a:solidFill>
                <a:latin typeface="+mj-lt"/>
              </a:defRPr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7825779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5F55B17-88C3-D348-889E-49139B7173C6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C55F65A-E884-4545-813B-8B12A150F0E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47244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C7E4F0C-628A-4B9F-8B0B-ACF8C8FB35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47244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B4C80E-343D-4240-BC0E-A777164C587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941416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Two Data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7848600" y="1905380"/>
            <a:ext cx="3771900" cy="1242697"/>
          </a:xfrm>
        </p:spPr>
        <p:txBody>
          <a:bodyPr/>
          <a:lstStyle>
            <a:lvl1pPr>
              <a:spcAft>
                <a:spcPts val="300"/>
              </a:spcAft>
              <a:defRPr sz="2400">
                <a:latin typeface="+mj-lt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7848600" y="1172402"/>
            <a:ext cx="3771900" cy="553998"/>
          </a:xfrm>
        </p:spPr>
        <p:txBody>
          <a:bodyPr wrap="square" anchor="t" anchorCtr="0">
            <a:spAutoFit/>
          </a:bodyPr>
          <a:lstStyle>
            <a:lvl1pPr>
              <a:defRPr sz="3600"/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XX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E4E13D-43FB-4287-8055-FE35994AA77F}"/>
              </a:ext>
            </a:extLst>
          </p:cNvPr>
          <p:cNvCxnSpPr>
            <a:cxnSpLocks/>
          </p:cNvCxnSpPr>
          <p:nvPr/>
        </p:nvCxnSpPr>
        <p:spPr>
          <a:xfrm>
            <a:off x="7847932" y="1066800"/>
            <a:ext cx="3780167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F04E06-6C46-46FE-9956-F0E8ED6633DF}"/>
              </a:ext>
            </a:extLst>
          </p:cNvPr>
          <p:cNvCxnSpPr>
            <a:cxnSpLocks/>
          </p:cNvCxnSpPr>
          <p:nvPr/>
        </p:nvCxnSpPr>
        <p:spPr>
          <a:xfrm>
            <a:off x="7847932" y="3429000"/>
            <a:ext cx="3780167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>
            <a:extLst>
              <a:ext uri="{FF2B5EF4-FFF2-40B4-BE49-F238E27FC236}">
                <a16:creationId xmlns:a16="http://schemas.microsoft.com/office/drawing/2014/main" id="{C652CDCF-A770-46B4-8121-F76B79BBD16B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6BC8C455-2242-44E3-A715-51CE102AB98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53721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1" name="Title Placeholder 1">
            <a:extLst>
              <a:ext uri="{FF2B5EF4-FFF2-40B4-BE49-F238E27FC236}">
                <a16:creationId xmlns:a16="http://schemas.microsoft.com/office/drawing/2014/main" id="{C222245D-C3A3-4396-926D-88ECBE5C8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53721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25" name="Text Placeholder 5">
            <a:extLst>
              <a:ext uri="{FF2B5EF4-FFF2-40B4-BE49-F238E27FC236}">
                <a16:creationId xmlns:a16="http://schemas.microsoft.com/office/drawing/2014/main" id="{A0676A19-4AB7-4E11-A8A8-87E09D920368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848600" y="4276402"/>
            <a:ext cx="3771900" cy="1242697"/>
          </a:xfrm>
        </p:spPr>
        <p:txBody>
          <a:bodyPr/>
          <a:lstStyle>
            <a:lvl1pPr>
              <a:spcAft>
                <a:spcPts val="300"/>
              </a:spcAft>
              <a:defRPr sz="2400">
                <a:latin typeface="+mj-lt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F05020DF-F1F5-4BD5-B207-F94988F4F455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7848600" y="3543424"/>
            <a:ext cx="37719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8A0EEA72-5966-4ADA-9370-9330195584D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2625941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Four Data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067269" y="3539749"/>
            <a:ext cx="2551216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9067184" y="4298127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9067800" y="1778380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067800" y="1020002"/>
            <a:ext cx="25527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E4E13D-43FB-4287-8055-FE35994AA77F}"/>
              </a:ext>
            </a:extLst>
          </p:cNvPr>
          <p:cNvCxnSpPr>
            <a:cxnSpLocks/>
          </p:cNvCxnSpPr>
          <p:nvPr/>
        </p:nvCxnSpPr>
        <p:spPr>
          <a:xfrm>
            <a:off x="9069804" y="9144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F04E06-6C46-46FE-9956-F0E8ED6633DF}"/>
              </a:ext>
            </a:extLst>
          </p:cNvPr>
          <p:cNvCxnSpPr>
            <a:cxnSpLocks/>
          </p:cNvCxnSpPr>
          <p:nvPr/>
        </p:nvCxnSpPr>
        <p:spPr>
          <a:xfrm>
            <a:off x="9069804" y="342899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13425D7-1452-4F87-AE64-7C2F048C2469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248485" y="3539749"/>
            <a:ext cx="2551216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806E283-8E77-44C1-84BC-00B971D42EBD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248400" y="4298127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BDD5CD07-CCF1-451E-8B13-2BE3821C220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249016" y="1778385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sz="1600">
                <a:latin typeface="+mj-lt"/>
              </a:defRPr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DD3D7F-C0BF-415A-9378-D8759CED06B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9016" y="1020002"/>
            <a:ext cx="25527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B67A14D-E25C-4D75-8D2E-0D450CE9656D}"/>
              </a:ext>
            </a:extLst>
          </p:cNvPr>
          <p:cNvCxnSpPr>
            <a:cxnSpLocks/>
          </p:cNvCxnSpPr>
          <p:nvPr/>
        </p:nvCxnSpPr>
        <p:spPr>
          <a:xfrm>
            <a:off x="6251020" y="91440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9FFCD6B-6781-45B9-A0FF-441B99A220B5}"/>
              </a:ext>
            </a:extLst>
          </p:cNvPr>
          <p:cNvCxnSpPr>
            <a:cxnSpLocks/>
          </p:cNvCxnSpPr>
          <p:nvPr/>
        </p:nvCxnSpPr>
        <p:spPr>
          <a:xfrm>
            <a:off x="6251020" y="34290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58239EE2-4739-4DF9-A78C-6994DD9D6E29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8EBC35A6-C3F6-4CAA-B6FE-77A0C0F6904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0"/>
            <a:ext cx="53721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367F26D2-980E-498C-9B01-AEF3F1821C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53721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1DE9A97B-CB1E-4FA3-9806-5D1E1D446DEE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20755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C865750-8F0C-6B4A-A308-228D6B53EE0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E254B061-C071-4247-8356-D55F1F50C5D6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D8E7470-A9D2-4756-B67E-9B25728B0EA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DCE2BE28-CF01-49D3-AF0B-092C5B9F5DD1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9" name="Slide Number Placeholder 5">
            <a:extLst>
              <a:ext uri="{FF2B5EF4-FFF2-40B4-BE49-F238E27FC236}">
                <a16:creationId xmlns:a16="http://schemas.microsoft.com/office/drawing/2014/main" id="{77E1B09A-7737-4F73-8857-1144D4CA24F2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23348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6A164E9-1234-4BC2-B8E7-F3047AC35998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9BFEE4A-F2C6-4F21-8071-313D1B3C613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361C734-A636-4E0E-A708-B9C530351863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DDA5770-9471-B746-BDC8-3306A09120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2453D8B-1785-4D30-B87D-91AEE8A23A9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917687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89CBA9FE-67A6-43C6-8EE8-C7E8559F1DB7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61486C46-F4F9-421A-A39F-3E52A938244E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9BE82382-DE4E-4A48-A33B-C56A93877509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68FAB8C5-AE86-9F4C-A87D-A5551D4E663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040A3314-D7F9-4E72-B2F7-E008E985900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08281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F2B69982-B253-4DE6-9C5E-FB93C3A27F40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522572" y="4880809"/>
            <a:ext cx="6145427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lang="en-US" sz="1400" b="0" i="0" kern="0" spc="0" baseline="0" dirty="0">
                <a:solidFill>
                  <a:schemeClr val="tx1"/>
                </a:solidFill>
                <a:latin typeface="CiscoSansTT Medium" panose="020B0903020201020303" pitchFamily="34" charset="0"/>
                <a:ea typeface="+mn-ea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Insert name here</a:t>
            </a:r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46ED238B-31FF-436C-9838-14BADBEE1071}"/>
              </a:ext>
            </a:extLst>
          </p:cNvPr>
          <p:cNvSpPr>
            <a:spLocks noGrp="1"/>
          </p:cNvSpPr>
          <p:nvPr>
            <p:ph type="pic" sz="quarter" idx="43"/>
          </p:nvPr>
        </p:nvSpPr>
        <p:spPr>
          <a:xfrm>
            <a:off x="3429000" y="4648200"/>
            <a:ext cx="952500" cy="952500"/>
          </a:xfrm>
          <a:prstGeom prst="ellipse">
            <a:avLst/>
          </a:prstGeom>
          <a:solidFill>
            <a:schemeClr val="bg2"/>
          </a:solidFill>
        </p:spPr>
        <p:txBody>
          <a:bodyPr>
            <a:normAutofit/>
          </a:bodyPr>
          <a:lstStyle>
            <a:lvl1pPr marL="0" indent="0">
              <a:buNone/>
              <a:defRPr sz="1067" spc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13AA95C-29B9-4045-B598-AA928D1B9666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4522572" y="5225969"/>
            <a:ext cx="6145427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lang="en-US" sz="12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marL="0" lvl="0" indent="0" algn="l" defTabSz="882171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800"/>
              </a:spcAft>
              <a:buFont typeface="Arial" panose="020B0604020202020204" pitchFamily="34" charset="0"/>
              <a:buNone/>
            </a:pPr>
            <a:r>
              <a:rPr lang="en-US"/>
              <a:t>Job title, company, loc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C98AB57-B534-43CE-8598-7264AC2F5F2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FB38577-29E6-6546-851F-B5859A13FFB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DC6E4486-5C09-4179-B8AA-BE5DFD4AA987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231885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8ECCB6B-46C4-4E71-97ED-219163FCE9B9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D938136-20C6-401D-BA2C-F3CC96E9757F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98362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20F9E4-16CA-4B30-ADCC-BD4809B43944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0FB953B-93BA-45FD-AD0D-5A607DEF5ABD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072389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D4C5D01-C630-4FFC-963D-B04C145573C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348D590-B05C-4613-AFD1-D65C0ED502C6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1930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240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BA091B5-A806-4305-BC24-7E50D3D4B3A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0"/>
            <a:ext cx="5029200" cy="3436213"/>
          </a:xfrm>
        </p:spPr>
        <p:txBody>
          <a:bodyPr>
            <a:noAutofit/>
          </a:bodyPr>
          <a:lstStyle>
            <a:lvl1pPr marL="228589" indent="-228589">
              <a:buFont typeface="Arial" panose="020B0604020202020204" pitchFamily="34" charset="0"/>
              <a:buChar char="•"/>
              <a:defRPr sz="1333"/>
            </a:lvl1pPr>
            <a:lvl2pPr>
              <a:defRPr sz="1067"/>
            </a:lvl2pPr>
            <a:lvl3pPr>
              <a:defRPr sz="800"/>
            </a:lvl3pPr>
            <a:lvl4pPr>
              <a:defRPr sz="4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848DCA2-1B24-46EE-95C8-6D3E57E0DD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599"/>
            <a:ext cx="5034828" cy="1621972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0" name="Footer Placeholder 3">
            <a:extLst>
              <a:ext uri="{FF2B5EF4-FFF2-40B4-BE49-F238E27FC236}">
                <a16:creationId xmlns:a16="http://schemas.microsoft.com/office/drawing/2014/main" id="{813C221C-310C-4FD1-A99C-046A2149E8F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3" y="6375912"/>
            <a:ext cx="5386555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99F7D69-A9F4-4F01-BFAC-42E7473B3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1E1BB935-C530-47D2-883E-00828E3A8FC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056" y="761515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F4DC71E3-10AD-46BC-B5F2-21277D700A8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4" y="6390603"/>
            <a:ext cx="382947" cy="93184"/>
          </a:xfrm>
          <a:prstGeom prst="rect">
            <a:avLst/>
          </a:prstGeom>
        </p:spPr>
      </p:pic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A45D52EC-26A2-4717-A839-1CB71E6AF42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33693814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5" y="6431691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92773B-7150-44D2-AFDB-DE60A8A0F625}"/>
              </a:ext>
            </a:extLst>
          </p:cNvPr>
          <p:cNvSpPr/>
          <p:nvPr/>
        </p:nvSpPr>
        <p:spPr>
          <a:xfrm>
            <a:off x="304800" y="6414273"/>
            <a:ext cx="2819400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BEBFBF78-0E90-472B-B2BB-48C8ECC385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39585" y="2209800"/>
            <a:ext cx="2912830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31477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5" y="6431691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B8EB6A92-1A18-4242-B37B-061D783A1E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33353" y="6061498"/>
            <a:ext cx="1633196" cy="49932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79071DA-63B2-46A2-892F-B272FF3B2408}"/>
              </a:ext>
            </a:extLst>
          </p:cNvPr>
          <p:cNvSpPr/>
          <p:nvPr/>
        </p:nvSpPr>
        <p:spPr>
          <a:xfrm>
            <a:off x="525451" y="6410479"/>
            <a:ext cx="503249" cy="1503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81624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kolo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Content Placeholder 6">
            <a:extLst>
              <a:ext uri="{FF2B5EF4-FFF2-40B4-BE49-F238E27FC236}">
                <a16:creationId xmlns:a16="http://schemas.microsoft.com/office/drawing/2014/main" id="{13E34AB2-EB40-45F2-BAE7-A8136E51FF6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1" y="3714582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  <a:p>
            <a:pPr marL="228594" lvl="3" indent="-228594">
              <a:lnSpc>
                <a:spcPct val="100000"/>
              </a:lnSpc>
            </a:pPr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2" y="2616182"/>
            <a:ext cx="3357020" cy="80327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7EA591F5-58AE-D343-A6EB-87F69740E76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1" y="2620628"/>
            <a:ext cx="3357020" cy="80327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B8558003-6140-3442-986E-2C60FA775A53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7" y="2616182"/>
            <a:ext cx="3357020" cy="803273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2133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FBBB06B7-9478-4C6F-9560-109718AC49B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965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</a:t>
            </a:r>
          </a:p>
        </p:txBody>
      </p:sp>
      <p:sp>
        <p:nvSpPr>
          <p:cNvPr id="19" name="Slide Number Placeholder 4">
            <a:extLst>
              <a:ext uri="{FF2B5EF4-FFF2-40B4-BE49-F238E27FC236}">
                <a16:creationId xmlns:a16="http://schemas.microsoft.com/office/drawing/2014/main" id="{50389FDF-392D-4049-AC2A-1E9DF18496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4FBA21EC-AAEF-294C-876E-4C525D7D09F2}" type="slidenum">
              <a:rPr lang="nb-NO" smtClean="0"/>
              <a:t>‹#›</a:t>
            </a:fld>
            <a:endParaRPr lang="nb-NO"/>
          </a:p>
        </p:txBody>
      </p:sp>
      <p:sp>
        <p:nvSpPr>
          <p:cNvPr id="23" name="Content Placeholder 6">
            <a:extLst>
              <a:ext uri="{FF2B5EF4-FFF2-40B4-BE49-F238E27FC236}">
                <a16:creationId xmlns:a16="http://schemas.microsoft.com/office/drawing/2014/main" id="{5CF71C16-241D-4C12-986F-49C011B6FB62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4348111" y="3714582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  <a:p>
            <a:pPr marL="228594" lvl="3" indent="-228594">
              <a:lnSpc>
                <a:spcPct val="100000"/>
              </a:lnSpc>
            </a:pPr>
            <a:r>
              <a:rPr lang="en-US"/>
              <a:t>Fourth level</a:t>
            </a:r>
          </a:p>
        </p:txBody>
      </p:sp>
      <p:sp>
        <p:nvSpPr>
          <p:cNvPr id="24" name="Content Placeholder 6">
            <a:extLst>
              <a:ext uri="{FF2B5EF4-FFF2-40B4-BE49-F238E27FC236}">
                <a16:creationId xmlns:a16="http://schemas.microsoft.com/office/drawing/2014/main" id="{DF591020-88DC-4E7B-BD72-36E6EB59E14C}"/>
              </a:ext>
            </a:extLst>
          </p:cNvPr>
          <p:cNvSpPr>
            <a:spLocks noGrp="1"/>
          </p:cNvSpPr>
          <p:nvPr>
            <p:ph sz="quarter" idx="26"/>
          </p:nvPr>
        </p:nvSpPr>
        <p:spPr>
          <a:xfrm>
            <a:off x="8126438" y="3714582"/>
            <a:ext cx="3361911" cy="242563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94" lvl="0" indent="-228594">
              <a:lnSpc>
                <a:spcPct val="100000"/>
              </a:lnSpc>
            </a:pPr>
            <a:r>
              <a:rPr lang="en-US"/>
              <a:t>Click to edit Master text styles</a:t>
            </a:r>
          </a:p>
          <a:p>
            <a:pPr marL="228594" lvl="1" indent="-228594">
              <a:lnSpc>
                <a:spcPct val="100000"/>
              </a:lnSpc>
            </a:pPr>
            <a:r>
              <a:rPr lang="en-US"/>
              <a:t>Second level</a:t>
            </a:r>
          </a:p>
          <a:p>
            <a:pPr marL="228594" lvl="2" indent="-228594">
              <a:lnSpc>
                <a:spcPct val="100000"/>
              </a:lnSpc>
            </a:pPr>
            <a:r>
              <a:rPr lang="en-US"/>
              <a:t>Third level</a:t>
            </a:r>
          </a:p>
          <a:p>
            <a:pPr marL="228594" lvl="3" indent="-228594">
              <a:lnSpc>
                <a:spcPct val="100000"/>
              </a:lnSpc>
            </a:pPr>
            <a:r>
              <a:rPr lang="en-US"/>
              <a:t>Fourth level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383FF70-E831-4747-A153-F9977C8D40C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1ACA0FBF-BD85-4A2B-857C-5FEA45B4C4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429885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" preserve="1">
  <p:cSld name="1_Title Only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8" name="Picture 7" descr="Pictur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262602" y="6390604"/>
            <a:ext cx="382948" cy="93185"/>
          </a:xfrm>
          <a:prstGeom prst="rect">
            <a:avLst/>
          </a:prstGeom>
          <a:ln w="12700">
            <a:miter lim="400000"/>
          </a:ln>
        </p:spPr>
      </p:pic>
      <p:sp>
        <p:nvSpPr>
          <p:cNvPr id="109" name="Headline here"/>
          <p:cNvSpPr txBox="1">
            <a:spLocks noGrp="1"/>
          </p:cNvSpPr>
          <p:nvPr>
            <p:ph type="title" hasCustomPrompt="1"/>
          </p:nvPr>
        </p:nvSpPr>
        <p:spPr>
          <a:xfrm>
            <a:off x="553174" y="990601"/>
            <a:ext cx="11080027" cy="1270001"/>
          </a:xfrm>
          <a:prstGeom prst="rect">
            <a:avLst/>
          </a:prstGeom>
        </p:spPr>
        <p:txBody>
          <a:bodyPr>
            <a:normAutofit/>
          </a:bodyPr>
          <a:lstStyle/>
          <a:p>
            <a:r>
              <a:t>Headline here</a:t>
            </a:r>
          </a:p>
        </p:txBody>
      </p:sp>
      <p:sp>
        <p:nvSpPr>
          <p:cNvPr id="110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558800" y="339201"/>
            <a:ext cx="5384800" cy="267257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800"/>
            </a:lvl1pPr>
            <a:lvl2pPr marL="439833" indent="-137157">
              <a:defRPr sz="800"/>
            </a:lvl2pPr>
            <a:lvl3pPr marL="762686" indent="-155217">
              <a:defRPr sz="800"/>
            </a:lvl3pPr>
            <a:lvl4pPr marL="1142971" indent="-226477">
              <a:defRPr sz="800"/>
            </a:lvl4pPr>
            <a:lvl5pPr marL="1341085" indent="-274312">
              <a:defRPr sz="800"/>
            </a:lvl5pPr>
          </a:lstStyle>
          <a:p>
            <a:r>
              <a:t>Presentation title or header if needed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11" name="Slide Number"/>
          <p:cNvSpPr txBox="1">
            <a:spLocks noGrp="1"/>
          </p:cNvSpPr>
          <p:nvPr>
            <p:ph type="sldNum" sz="quarter" idx="2"/>
          </p:nvPr>
        </p:nvSpPr>
        <p:spPr>
          <a:xfrm>
            <a:off x="11463866" y="361439"/>
            <a:ext cx="169335" cy="169335"/>
          </a:xfrm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4929638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 Blue">
    <p:bg>
      <p:bgPr>
        <a:blipFill dpi="0" rotWithShape="1">
          <a:blip r:embed="rId2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2AAEF042-C2D2-AB42-8B6E-8D6DF550D3F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4708" y="1435771"/>
            <a:ext cx="7274803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5600">
                <a:solidFill>
                  <a:schemeClr val="bg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1A832AD-9020-43CC-9118-CF9573E36137}"/>
              </a:ext>
            </a:extLst>
          </p:cNvPr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4" y="6390605"/>
            <a:ext cx="382947" cy="93183"/>
          </a:xfrm>
          <a:prstGeom prst="rect">
            <a:avLst/>
          </a:prstGeom>
        </p:spPr>
      </p:pic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F9C3388C-D351-41C3-8A5A-719088525C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bg1"/>
                </a:solidFill>
              </a:defRPr>
            </a:lvl1pPr>
          </a:lstStyle>
          <a:p>
            <a:pPr marL="0" marR="0" lvl="0" indent="0" algn="l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33" b="0" i="0" u="none" strike="noStrike" kern="1200" cap="none" spc="0" normalizeH="0" baseline="0" noProof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t>© 2021 Cisco and/or its affiliates. All rights reserved. Cisco Confidential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8FF48E17-5F97-4F10-BA4E-743A412EE4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pPr marL="0" marR="0" lvl="0" indent="0" algn="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6F82149-F45F-43B8-A3A4-A806FF41D82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121212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26372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121212"/>
              </a:solidFill>
              <a:effectLst/>
              <a:uLnTx/>
              <a:uFillTx/>
              <a:latin typeface="CiscoSansTT Light"/>
              <a:ea typeface="+mn-ea"/>
              <a:cs typeface="+mn-cs"/>
            </a:endParaRP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C378C9D1-477C-4088-B4A6-993E397641F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412445678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Walk-In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&#10;&#10;Description automatically generated">
            <a:extLst>
              <a:ext uri="{FF2B5EF4-FFF2-40B4-BE49-F238E27FC236}">
                <a16:creationId xmlns:a16="http://schemas.microsoft.com/office/drawing/2014/main" id="{07C2131F-1EC6-3E7D-BE7F-B396B0A3DC6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00053" y="6133088"/>
            <a:ext cx="1366496" cy="41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063198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 Layou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2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2" y="4869791"/>
            <a:ext cx="7277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66" indent="0">
              <a:buNone/>
              <a:defRPr sz="1351"/>
            </a:lvl2pPr>
            <a:lvl3pPr marL="882127" indent="0">
              <a:buNone/>
              <a:defRPr sz="1157"/>
            </a:lvl3pPr>
            <a:lvl4pPr marL="1323194" indent="0">
              <a:buNone/>
              <a:defRPr sz="965"/>
            </a:lvl4pPr>
            <a:lvl5pPr marL="1764256" indent="0">
              <a:buNone/>
              <a:defRPr sz="965"/>
            </a:lvl5pPr>
            <a:lvl6pPr marL="2205322" indent="0">
              <a:buNone/>
              <a:defRPr sz="965"/>
            </a:lvl6pPr>
            <a:lvl7pPr marL="2646383" indent="0">
              <a:buNone/>
              <a:defRPr sz="965"/>
            </a:lvl7pPr>
            <a:lvl8pPr marL="3087448" indent="0">
              <a:buNone/>
              <a:defRPr sz="965"/>
            </a:lvl8pPr>
            <a:lvl9pPr marL="3528513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1502" y="5248893"/>
            <a:ext cx="7277100" cy="1846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66" indent="0">
              <a:buNone/>
              <a:defRPr sz="1351"/>
            </a:lvl2pPr>
            <a:lvl3pPr marL="882127" indent="0">
              <a:buNone/>
              <a:defRPr sz="1157"/>
            </a:lvl3pPr>
            <a:lvl4pPr marL="1323194" indent="0">
              <a:buNone/>
              <a:defRPr sz="965"/>
            </a:lvl4pPr>
            <a:lvl5pPr marL="1764256" indent="0">
              <a:buNone/>
              <a:defRPr sz="965"/>
            </a:lvl5pPr>
            <a:lvl6pPr marL="2205322" indent="0">
              <a:buNone/>
              <a:defRPr sz="965"/>
            </a:lvl6pPr>
            <a:lvl7pPr marL="2646383" indent="0">
              <a:buNone/>
              <a:defRPr sz="965"/>
            </a:lvl7pPr>
            <a:lvl8pPr marL="3087448" indent="0">
              <a:buNone/>
              <a:defRPr sz="965"/>
            </a:lvl8pPr>
            <a:lvl9pPr marL="3528513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2" y="1790703"/>
            <a:ext cx="7277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1" y="3431820"/>
            <a:ext cx="7277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66" indent="0">
              <a:buNone/>
              <a:defRPr sz="1351"/>
            </a:lvl2pPr>
            <a:lvl3pPr marL="882127" indent="0">
              <a:buNone/>
              <a:defRPr sz="1157"/>
            </a:lvl3pPr>
            <a:lvl4pPr marL="1323194" indent="0">
              <a:buNone/>
              <a:defRPr sz="965"/>
            </a:lvl4pPr>
            <a:lvl5pPr marL="1764256" indent="0">
              <a:buNone/>
              <a:defRPr sz="965"/>
            </a:lvl5pPr>
            <a:lvl6pPr marL="2205322" indent="0">
              <a:buNone/>
              <a:defRPr sz="965"/>
            </a:lvl6pPr>
            <a:lvl7pPr marL="2646383" indent="0">
              <a:buNone/>
              <a:defRPr sz="965"/>
            </a:lvl7pPr>
            <a:lvl8pPr marL="3087448" indent="0">
              <a:buNone/>
              <a:defRPr sz="965"/>
            </a:lvl8pPr>
            <a:lvl9pPr marL="3528513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" name="Picture 1" descr="Logo&#10;&#10;Description automatically generated">
            <a:extLst>
              <a:ext uri="{FF2B5EF4-FFF2-40B4-BE49-F238E27FC236}">
                <a16:creationId xmlns:a16="http://schemas.microsoft.com/office/drawing/2014/main" id="{691EDE2A-8B9A-EF21-8B0C-34472875793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00053" y="6133088"/>
            <a:ext cx="1366496" cy="4177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67579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ive Topics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2" y="609602"/>
            <a:ext cx="53721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213C59-7880-41D1-9DE5-B53FA71B4F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48402" y="609602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0BD0D78-FA9C-47FE-A8C5-A942C1A9A1E0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080809" y="609602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4D1B0561-72B3-4A7C-9434-B0EDE523688D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080809" y="1037806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FB88D30E-5998-42C2-BFDA-6C6AA1F33F7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48402" y="1647195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6D18BF23-F279-48A8-8AFF-AC70F73F091E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7080809" y="1647195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8445664B-F9E1-4D1D-9F6E-DA27AF43C21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7080809" y="2075400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31F0F46D-89DF-46CA-934B-C124727D937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48402" y="2684790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8BB0DD2A-742F-4019-B2A6-6AC6CF3BEEA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080809" y="2684787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4D48E93A-11A3-45A0-961F-26062021432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080809" y="3112994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365D378F-8BFE-41E2-A048-4F1E113B408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48402" y="3722383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4681FE84-1510-4206-91AF-B290EF3C0E1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7080809" y="372238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58EB90C9-03A7-449D-A8F3-B379B319950E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7080809" y="415058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E3E332E3-41A2-4350-A7FE-20CB379706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2" y="475997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948A5A7B-49E0-4CF2-8080-E002145F2FF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09" y="4759974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B8F46644-76D3-4C51-9163-739A1F5F7650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09" y="5188181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7D1C11A-12D9-461B-A255-03DBC65A944A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EA8191E0-49D0-4036-B896-597B5FEF1388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5582921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Ten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2" y="609602"/>
            <a:ext cx="53721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2875B737-D8C9-4B5A-A987-E648592F8AB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71502" y="2437943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1BC899D-37C3-4568-A4DF-0B0EDE20DC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403909" y="243794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B5D11EE-1D55-4041-81BF-2D405343AEB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1403909" y="2866149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78F2AB5-8A22-4344-B743-464793BF69F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71502" y="3278624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2A1D5CE-6473-44B2-BC10-1AC73E1B795C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403909" y="327862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D8A733FF-648D-413A-A965-9380FF19EB3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403909" y="3706829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C4EAFF18-13A5-4454-9A4E-50C9683A086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71502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3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5CFB554-4FA5-44FE-AD9D-94ADB8A1596B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403909" y="4118819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E82D60C9-C7E6-4DE4-8E8B-9A9D85E509A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1403909" y="4547024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1C81A21-CB5C-4EBA-AA54-D73A670B36B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71502" y="4959741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4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3D704AA8-F2E6-4E6E-BA0F-C73614C721D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1403909" y="4959742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66AE59D2-11F7-416C-B366-F23200F2C468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403909" y="5387946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898C6801-7507-4803-A711-42CEC857E56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2" y="2437944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5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7589C976-7FFB-4218-BF7E-1F78F2A1F02C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09" y="243794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0F3DDABD-EE25-49C3-9A53-2657DAD77A8C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09" y="2866149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17167DB7-5308-42DC-AEE9-AAED2ED164D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248402" y="3278624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6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620B5D7B-672A-4FB9-9717-E785586DA30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7080809" y="327862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E23B210E-5C88-4516-A864-36247F88D733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7080809" y="3706829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37DB0FAF-76DD-43D1-B897-9417F5B3AB7B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48402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7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B0C7BE68-E1A9-48A3-8ADD-8FDB96C02A40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7080809" y="4118819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5195D37A-ED4A-4E1F-A476-81831613075B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080809" y="4547024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62FE476F-78D3-4BBD-ADB0-A014E40BC384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48402" y="4959741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8</a:t>
            </a:r>
          </a:p>
        </p:txBody>
      </p:sp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D42D2D51-155D-4C35-BC5F-B8F1C46DC335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7080809" y="4959742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EBF4B885-D002-47D6-8922-12B72E21CACE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7080809" y="5387946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0EEB412-0CE0-4F00-8756-0957743AE431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2DB28A58-94F9-401A-ADF6-47C90FEA9566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52713057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564E15E-85C2-40F1-B654-E42DCFBA1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 marL="0" indent="0">
              <a:buNone/>
              <a:defRPr sz="1400"/>
            </a:lvl2pPr>
            <a:lvl3pPr marL="228589" indent="0">
              <a:buNone/>
              <a:defRPr sz="1200"/>
            </a:lvl3pPr>
            <a:lvl4pPr marL="406381" indent="0"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30370F4-DF08-4B4A-A3BB-EB8905622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2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3BE238-C084-4FBF-86DF-59C91AF8317F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1E1701B-4C10-476A-8FDF-6089699136E1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0428983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rgbClr val="F2F2F2"/>
          </a:solidFill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BA091B5-A806-4305-BC24-7E50D3D4B3A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5029200" cy="342228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/>
            </a:lvl1pPr>
            <a:lvl2pPr>
              <a:defRPr lang="en-US" sz="1067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  <a:p>
            <a:pPr marL="228589" lvl="3" indent="-228589"/>
            <a:r>
              <a:rPr lang="en-US"/>
              <a:t>Four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848DCA2-1B24-46EE-95C8-6D3E57E0DD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0600"/>
            <a:ext cx="5034827" cy="168467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99F7D69-A9F4-4F01-BFAC-42E7473B3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70E4E8C-5C8A-4A5C-9CB6-21983AE4806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174B9545-8347-4FBE-AFB1-341783CD0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5202915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E1C715D-9112-4A01-AD63-361439BFB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2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E43F6E-A8D0-4155-BD27-8561034BB2B8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A02B8EA-12A2-4673-BF3F-8D4FB8234D27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315374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8EE2313-2646-4E0B-B6B4-BA07574D2F8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32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589" indent="0">
              <a:buNone/>
              <a:defRPr/>
            </a:lvl3pPr>
            <a:lvl4pPr marL="406381" indent="0">
              <a:buNone/>
              <a:defRPr/>
            </a:lvl4pPr>
            <a:lvl5pPr marL="57147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572B255-D144-453C-90FA-BB07F680CF0A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D9DF569-2B30-EE4C-8D21-F21B97793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2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C61E8BE-7C30-466D-96E8-145E0409391E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762946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49195570-1534-4F74-B303-B06313C227F6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66674A7-0DAD-C54D-BB6A-AB4B6F3D1CF2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48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589" indent="0">
              <a:buNone/>
              <a:defRPr/>
            </a:lvl3pPr>
            <a:lvl4pPr marL="406381" indent="0">
              <a:buNone/>
              <a:defRPr/>
            </a:lvl4pPr>
            <a:lvl5pPr marL="57147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4BFEFE0-97D7-B240-BC88-FC22052279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2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82028C6-D96F-A145-862B-ED80E5C5EF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600"/>
            </a:lvl1pPr>
            <a:lvl2pPr marL="0" indent="0">
              <a:buFontTx/>
              <a:buNone/>
              <a:defRPr sz="1400"/>
            </a:lvl2pPr>
            <a:lvl3pPr marL="228589" indent="0">
              <a:buFontTx/>
              <a:buNone/>
              <a:defRPr sz="1200"/>
            </a:lvl3pPr>
            <a:lvl4pPr marL="406381" indent="0">
              <a:buFontTx/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A8F312C-C046-4076-8AB0-7EBEDB950552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763317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8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8C1C862-6F14-47C3-885D-12D6E1A99AA2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AD8007C-DE91-4E81-8041-976C5135CD04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5569646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6734A84-A20E-4265-848D-432FAF49C4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2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2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2236BEA-8B84-4433-AC6E-DE816054A44B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76FF25-9CEA-4D73-9CD8-BCF0613C55EA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3972552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4BE6003-571D-4817-A40A-6421214126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2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4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4156D67-C67F-41CF-BA17-0B2BFD535E25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92C7D0-4978-4D65-A39E-9CB076EFBCC3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8296311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2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2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10703F-CBA9-4296-B386-BA35019F8F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79EE8F-1900-4C5E-A4C1-BB6BE90235E1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6630264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2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2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10703F-CBA9-4296-B386-BA35019F8F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79EE8F-1900-4C5E-A4C1-BB6BE90235E1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1377806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-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2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2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10703F-CBA9-4296-B386-BA35019F8F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79EE8F-1900-4C5E-A4C1-BB6BE90235E1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95916205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-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2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2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10703F-CBA9-4296-B386-BA35019F8F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79EE8F-1900-4C5E-A4C1-BB6BE90235E1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319647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D667F840-8562-40AC-BE3D-8404AB46E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3984B84-E026-4120-A200-04C1B3AFF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3ADC711-D282-4C9D-AD92-4B5C00C5CDD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983686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-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2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2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10703F-CBA9-4296-B386-BA35019F8F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79EE8F-1900-4C5E-A4C1-BB6BE90235E1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8608795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-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2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2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10703F-CBA9-4296-B386-BA35019F8F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79EE8F-1900-4C5E-A4C1-BB6BE90235E1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347793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>
            <a:extLst>
              <a:ext uri="{FF2B5EF4-FFF2-40B4-BE49-F238E27FC236}">
                <a16:creationId xmlns:a16="http://schemas.microsoft.com/office/drawing/2014/main" id="{A6EE0FED-0F8F-1D4B-BDC6-134B0FE8D3AF}"/>
              </a:ext>
            </a:extLst>
          </p:cNvPr>
          <p:cNvSpPr/>
          <p:nvPr/>
        </p:nvSpPr>
        <p:spPr>
          <a:xfrm>
            <a:off x="3429002" y="0"/>
            <a:ext cx="8763001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B00FA166-5D3F-4D89-9646-F16A985660E7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2" y="2514602"/>
            <a:ext cx="25527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1E9CD8F1-BCCB-4886-9A5C-6DBC2AED36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0" y="609600"/>
            <a:ext cx="25527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27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B8F119A-0C2E-4A56-861D-52501224E767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54532884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2" orient="horz" pos="1488">
          <p15:clr>
            <a:srgbClr val="A4A3A4"/>
          </p15:clr>
        </p15:guide>
        <p15:guide id="3" orient="horz" pos="1584">
          <p15:clr>
            <a:srgbClr val="A4A3A4"/>
          </p15:clr>
        </p15:guide>
      </p15:sldGuideLst>
    </p:ext>
  </p:extLst>
</p:sldLayout>
</file>

<file path=ppt/slideLayouts/slideLayout8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/3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497389CA-AA00-4146-B54D-B32C999B76FE}"/>
              </a:ext>
            </a:extLst>
          </p:cNvPr>
          <p:cNvSpPr/>
          <p:nvPr/>
        </p:nvSpPr>
        <p:spPr>
          <a:xfrm>
            <a:off x="4991102" y="0"/>
            <a:ext cx="72009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93852A25-25D6-4B6B-902F-93AEC433B73C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2"/>
            <a:ext cx="38100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CC6C67FE-13C1-4F4C-8B7C-A596738753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2" y="609600"/>
            <a:ext cx="3810001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27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874ED29-7748-494F-852C-C675DE7124A2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1104488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Title and Text 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5F55B17-88C3-D348-889E-49139B7173C6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7" name="Text Placeholder 3">
            <a:extLst>
              <a:ext uri="{FF2B5EF4-FFF2-40B4-BE49-F238E27FC236}">
                <a16:creationId xmlns:a16="http://schemas.microsoft.com/office/drawing/2014/main" id="{CC55F65A-E884-4545-813B-8B12A150F0E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0" y="2514602"/>
            <a:ext cx="47244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C7E4F0C-628A-4B9F-8B0B-ACF8C8FB357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47244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27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B4C80E-343D-4240-BC0E-A777164C5872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19687211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lo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8ECCB6B-46C4-4E71-97ED-219163FCE9B9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D938136-20C6-401D-BA2C-F3CC96E9757F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0085012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o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20F9E4-16CA-4B30-ADCC-BD4809B439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0FB953B-93BA-45FD-AD0D-5A607DEF5ABD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4979901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o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7D4C5D01-C630-4FFC-963D-B04C145573CD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6348D590-B05C-4613-AFD1-D65C0ED502C6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84863633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6" y="6326662"/>
            <a:ext cx="400565" cy="188441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92773B-7150-44D2-AFDB-DE60A8A0F625}"/>
              </a:ext>
            </a:extLst>
          </p:cNvPr>
          <p:cNvSpPr/>
          <p:nvPr/>
        </p:nvSpPr>
        <p:spPr>
          <a:xfrm>
            <a:off x="304800" y="6414275"/>
            <a:ext cx="2819400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BEBFBF78-0E90-472B-B2BB-48C8ECC3854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9587" y="2209800"/>
            <a:ext cx="2912831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6200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8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6" y="6431692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B8EB6A92-1A18-4242-B37B-061D783A1E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33355" y="6061500"/>
            <a:ext cx="1633196" cy="49932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79071DA-63B2-46A2-892F-B272FF3B2408}"/>
              </a:ext>
            </a:extLst>
          </p:cNvPr>
          <p:cNvSpPr/>
          <p:nvPr/>
        </p:nvSpPr>
        <p:spPr>
          <a:xfrm>
            <a:off x="525454" y="6410481"/>
            <a:ext cx="503249" cy="1503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</p:spTree>
    <p:extLst>
      <p:ext uri="{BB962C8B-B14F-4D97-AF65-F5344CB8AC3E}">
        <p14:creationId xmlns:p14="http://schemas.microsoft.com/office/powerpoint/2010/main" val="32756233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44B570-6F41-4B23-A759-1FE123F71D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88C469D-456E-4ECF-83FA-AF1F3BDB263D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559962" y="2870199"/>
            <a:ext cx="5036747" cy="3306764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E478E86-A92A-495E-A49E-35F25D765A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2870199"/>
            <a:ext cx="5036747" cy="3306764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07E327-023E-47A7-9F81-203A5EF3EB6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2C82030-C78E-4E63-AF50-53433F6349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631F93F1-F5D5-44EF-B435-0444DF40D6A6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1368F3E-850C-DD48-B462-6EE195D0641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285704679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umn with graphic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0A712B4B-CA11-4116-8559-6D5A2D1AD8D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2"/>
            <a:ext cx="5384800" cy="3343785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/>
            </a:lvl1pPr>
            <a:lvl2pPr>
              <a:defRPr lang="en-US" sz="1067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  <a:p>
            <a:pPr marL="228589" lvl="3" indent="-228589"/>
            <a:r>
              <a:rPr lang="en-US"/>
              <a:t>Fourth level</a:t>
            </a:r>
          </a:p>
        </p:txBody>
      </p:sp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1"/>
            <a:ext cx="5390428" cy="1552303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D667F840-8562-40AC-BE3D-8404AB46E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3984B84-E026-4120-A200-04C1B3AFF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3ADC711-D282-4C9D-AD92-4B5C00C5CDD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4256800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alf &amp; Half Title Slide Dark Layout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2" y="4869791"/>
            <a:ext cx="5372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66" indent="0">
              <a:buNone/>
              <a:defRPr sz="1351"/>
            </a:lvl2pPr>
            <a:lvl3pPr marL="882127" indent="0">
              <a:buNone/>
              <a:defRPr sz="1157"/>
            </a:lvl3pPr>
            <a:lvl4pPr marL="1323194" indent="0">
              <a:buNone/>
              <a:defRPr sz="965"/>
            </a:lvl4pPr>
            <a:lvl5pPr marL="1764256" indent="0">
              <a:buNone/>
              <a:defRPr sz="965"/>
            </a:lvl5pPr>
            <a:lvl6pPr marL="2205322" indent="0">
              <a:buNone/>
              <a:defRPr sz="965"/>
            </a:lvl6pPr>
            <a:lvl7pPr marL="2646383" indent="0">
              <a:buNone/>
              <a:defRPr sz="965"/>
            </a:lvl7pPr>
            <a:lvl8pPr marL="3087448" indent="0">
              <a:buNone/>
              <a:defRPr sz="965"/>
            </a:lvl8pPr>
            <a:lvl9pPr marL="3528513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1502" y="5248893"/>
            <a:ext cx="5372100" cy="1846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66" indent="0">
              <a:buNone/>
              <a:defRPr sz="1351"/>
            </a:lvl2pPr>
            <a:lvl3pPr marL="882127" indent="0">
              <a:buNone/>
              <a:defRPr sz="1157"/>
            </a:lvl3pPr>
            <a:lvl4pPr marL="1323194" indent="0">
              <a:buNone/>
              <a:defRPr sz="965"/>
            </a:lvl4pPr>
            <a:lvl5pPr marL="1764256" indent="0">
              <a:buNone/>
              <a:defRPr sz="965"/>
            </a:lvl5pPr>
            <a:lvl6pPr marL="2205322" indent="0">
              <a:buNone/>
              <a:defRPr sz="965"/>
            </a:lvl6pPr>
            <a:lvl7pPr marL="2646383" indent="0">
              <a:buNone/>
              <a:defRPr sz="965"/>
            </a:lvl7pPr>
            <a:lvl8pPr marL="3087448" indent="0">
              <a:buNone/>
              <a:defRPr sz="965"/>
            </a:lvl8pPr>
            <a:lvl9pPr marL="3528513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2" y="1790703"/>
            <a:ext cx="5372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1" y="3431820"/>
            <a:ext cx="5372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66" indent="0">
              <a:buNone/>
              <a:defRPr sz="1351"/>
            </a:lvl2pPr>
            <a:lvl3pPr marL="882127" indent="0">
              <a:buNone/>
              <a:defRPr sz="1157"/>
            </a:lvl3pPr>
            <a:lvl4pPr marL="1323194" indent="0">
              <a:buNone/>
              <a:defRPr sz="965"/>
            </a:lvl4pPr>
            <a:lvl5pPr marL="1764256" indent="0">
              <a:buNone/>
              <a:defRPr sz="965"/>
            </a:lvl5pPr>
            <a:lvl6pPr marL="2205322" indent="0">
              <a:buNone/>
              <a:defRPr sz="965"/>
            </a:lvl6pPr>
            <a:lvl7pPr marL="2646383" indent="0">
              <a:buNone/>
              <a:defRPr sz="965"/>
            </a:lvl7pPr>
            <a:lvl8pPr marL="3087448" indent="0">
              <a:buNone/>
              <a:defRPr sz="965"/>
            </a:lvl8pPr>
            <a:lvl9pPr marL="3528513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2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73A75F9-B823-4C33-BC6A-70650FACD3A3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248400" y="0"/>
            <a:ext cx="5943600" cy="6858000"/>
          </a:xfrm>
          <a:noFill/>
        </p:spPr>
        <p:txBody>
          <a:bodyPr anchor="ctr" anchorCtr="0"/>
          <a:lstStyle>
            <a:lvl1pPr marL="0" indent="0" algn="ctr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62812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564E15E-85C2-40F1-B654-E42DCFBA1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 marL="0" indent="0">
              <a:buNone/>
              <a:defRPr sz="1400"/>
            </a:lvl2pPr>
            <a:lvl3pPr marL="228589" indent="0">
              <a:buNone/>
              <a:defRPr sz="1200"/>
            </a:lvl3pPr>
            <a:lvl4pPr marL="406381" indent="0"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30370F4-DF08-4B4A-A3BB-EB8905622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2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1E1701B-4C10-476A-8FDF-6089699136E1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  <p:sp>
        <p:nvSpPr>
          <p:cNvPr id="2" name="Text Placeholder 5">
            <a:extLst>
              <a:ext uri="{FF2B5EF4-FFF2-40B4-BE49-F238E27FC236}">
                <a16:creationId xmlns:a16="http://schemas.microsoft.com/office/drawing/2014/main" id="{A23C2995-F6D4-9758-2BB2-32F1B799647F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32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589" indent="0">
              <a:buNone/>
              <a:defRPr/>
            </a:lvl3pPr>
            <a:lvl4pPr marL="406381" indent="0">
              <a:buNone/>
              <a:defRPr/>
            </a:lvl4pPr>
            <a:lvl5pPr marL="571472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89FE738C-9B5A-485D-F221-858F183EED14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1142756" y="6383797"/>
            <a:ext cx="4534733" cy="1649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defTabSz="81427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533" b="0" i="0" spc="27" baseline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CiscoSansTT Light" panose="020B0503020201020303" pitchFamily="34" charset="0"/>
              </a:rPr>
              <a:t>© 2022  Cisco and/or its affiliates. All rights reserved.  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3647051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 with Four Data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9067269" y="3539749"/>
            <a:ext cx="2551216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9067186" y="4298130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0" indent="-173030">
              <a:spcAft>
                <a:spcPts val="300"/>
              </a:spcAft>
              <a:defRPr sz="1100"/>
            </a:lvl2pPr>
            <a:lvl3pPr marL="346058" indent="-173030">
              <a:spcAft>
                <a:spcPts val="300"/>
              </a:spcAft>
              <a:defRPr sz="1051"/>
            </a:lvl3pPr>
            <a:lvl4pPr marL="457178" indent="-111120">
              <a:spcAft>
                <a:spcPts val="300"/>
              </a:spcAft>
              <a:defRPr sz="600"/>
            </a:lvl4pPr>
            <a:lvl5pPr marL="574646" indent="-117469">
              <a:spcAft>
                <a:spcPts val="300"/>
              </a:spcAft>
              <a:defRPr sz="400"/>
            </a:lvl5pPr>
          </a:lstStyle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9067802" y="1778382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0" indent="-173030">
              <a:spcAft>
                <a:spcPts val="300"/>
              </a:spcAft>
              <a:defRPr sz="1100"/>
            </a:lvl2pPr>
            <a:lvl3pPr marL="346058" indent="-173030">
              <a:spcAft>
                <a:spcPts val="300"/>
              </a:spcAft>
              <a:defRPr sz="1051"/>
            </a:lvl3pPr>
            <a:lvl4pPr marL="457178" indent="-111120">
              <a:spcAft>
                <a:spcPts val="300"/>
              </a:spcAft>
              <a:defRPr sz="600"/>
            </a:lvl4pPr>
            <a:lvl5pPr marL="574646" indent="-117469">
              <a:spcAft>
                <a:spcPts val="300"/>
              </a:spcAft>
              <a:defRPr sz="400"/>
            </a:lvl5pPr>
          </a:lstStyle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 hasCustomPrompt="1"/>
          </p:nvPr>
        </p:nvSpPr>
        <p:spPr>
          <a:xfrm>
            <a:off x="9067802" y="1020001"/>
            <a:ext cx="25527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1CE4E13D-43FB-4287-8055-FE35994AA77F}"/>
              </a:ext>
            </a:extLst>
          </p:cNvPr>
          <p:cNvCxnSpPr>
            <a:cxnSpLocks/>
          </p:cNvCxnSpPr>
          <p:nvPr/>
        </p:nvCxnSpPr>
        <p:spPr>
          <a:xfrm>
            <a:off x="9069807" y="9144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6F04E06-6C46-46FE-9956-F0E8ED6633DF}"/>
              </a:ext>
            </a:extLst>
          </p:cNvPr>
          <p:cNvCxnSpPr>
            <a:cxnSpLocks/>
          </p:cNvCxnSpPr>
          <p:nvPr/>
        </p:nvCxnSpPr>
        <p:spPr>
          <a:xfrm>
            <a:off x="9069807" y="342899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013425D7-1452-4F87-AE64-7C2F048C2469}"/>
              </a:ext>
            </a:extLst>
          </p:cNvPr>
          <p:cNvSpPr>
            <a:spLocks noGrp="1"/>
          </p:cNvSpPr>
          <p:nvPr>
            <p:ph type="body" sz="quarter" idx="69" hasCustomPrompt="1"/>
          </p:nvPr>
        </p:nvSpPr>
        <p:spPr>
          <a:xfrm>
            <a:off x="6248485" y="3539749"/>
            <a:ext cx="2551216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9806E283-8E77-44C1-84BC-00B971D42EBD}"/>
              </a:ext>
            </a:extLst>
          </p:cNvPr>
          <p:cNvSpPr>
            <a:spLocks noGrp="1"/>
          </p:cNvSpPr>
          <p:nvPr>
            <p:ph type="body" sz="quarter" idx="70"/>
          </p:nvPr>
        </p:nvSpPr>
        <p:spPr>
          <a:xfrm>
            <a:off x="6248402" y="4298130"/>
            <a:ext cx="2553316" cy="1395097"/>
          </a:xfrm>
        </p:spPr>
        <p:txBody>
          <a:bodyPr/>
          <a:lstStyle>
            <a:lvl1pPr>
              <a:spcAft>
                <a:spcPts val="300"/>
              </a:spcAft>
              <a:defRPr lang="en-US" sz="16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  <a:lvl2pPr marL="173030" indent="-173030">
              <a:spcAft>
                <a:spcPts val="300"/>
              </a:spcAft>
              <a:defRPr sz="1100"/>
            </a:lvl2pPr>
            <a:lvl3pPr marL="346058" indent="-173030">
              <a:spcAft>
                <a:spcPts val="300"/>
              </a:spcAft>
              <a:defRPr sz="1051"/>
            </a:lvl3pPr>
            <a:lvl4pPr marL="457178" indent="-111120">
              <a:spcAft>
                <a:spcPts val="300"/>
              </a:spcAft>
              <a:defRPr sz="600"/>
            </a:lvl4pPr>
            <a:lvl5pPr marL="574646" indent="-117469">
              <a:spcAft>
                <a:spcPts val="300"/>
              </a:spcAft>
              <a:defRPr sz="400"/>
            </a:lvl5pPr>
          </a:lstStyle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8" name="Text Placeholder 5">
            <a:extLst>
              <a:ext uri="{FF2B5EF4-FFF2-40B4-BE49-F238E27FC236}">
                <a16:creationId xmlns:a16="http://schemas.microsoft.com/office/drawing/2014/main" id="{BDD5CD07-CCF1-451E-8B13-2BE3821C2202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6249018" y="1778388"/>
            <a:ext cx="2552700" cy="1395097"/>
          </a:xfrm>
        </p:spPr>
        <p:txBody>
          <a:bodyPr/>
          <a:lstStyle>
            <a:lvl1pPr>
              <a:spcAft>
                <a:spcPts val="300"/>
              </a:spcAft>
              <a:defRPr sz="1600">
                <a:latin typeface="+mj-lt"/>
              </a:defRPr>
            </a:lvl1pPr>
            <a:lvl2pPr marL="173030" indent="-173030">
              <a:spcAft>
                <a:spcPts val="300"/>
              </a:spcAft>
              <a:defRPr sz="1100"/>
            </a:lvl2pPr>
            <a:lvl3pPr marL="346058" indent="-173030">
              <a:spcAft>
                <a:spcPts val="300"/>
              </a:spcAft>
              <a:defRPr sz="1051"/>
            </a:lvl3pPr>
            <a:lvl4pPr marL="457178" indent="-111120">
              <a:spcAft>
                <a:spcPts val="300"/>
              </a:spcAft>
              <a:defRPr sz="600"/>
            </a:lvl4pPr>
            <a:lvl5pPr marL="574646" indent="-117469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72DD3D7F-C0BF-415A-9378-D8759CED06B4}"/>
              </a:ext>
            </a:extLst>
          </p:cNvPr>
          <p:cNvSpPr>
            <a:spLocks noGrp="1"/>
          </p:cNvSpPr>
          <p:nvPr>
            <p:ph type="body" sz="quarter" idx="72" hasCustomPrompt="1"/>
          </p:nvPr>
        </p:nvSpPr>
        <p:spPr>
          <a:xfrm>
            <a:off x="6249018" y="1020001"/>
            <a:ext cx="2552700" cy="553998"/>
          </a:xfrm>
        </p:spPr>
        <p:txBody>
          <a:bodyPr wrap="square" anchor="t" anchorCtr="0">
            <a:spAutoFit/>
          </a:bodyPr>
          <a:lstStyle>
            <a:lvl1pPr>
              <a:defRPr lang="en-US" sz="3600" b="0" i="0" kern="0" spc="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>
              <a:buNone/>
              <a:defRPr/>
            </a:lvl2pPr>
          </a:lstStyle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XX%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0B67A14D-E25C-4D75-8D2E-0D450CE9656D}"/>
              </a:ext>
            </a:extLst>
          </p:cNvPr>
          <p:cNvCxnSpPr>
            <a:cxnSpLocks/>
          </p:cNvCxnSpPr>
          <p:nvPr/>
        </p:nvCxnSpPr>
        <p:spPr>
          <a:xfrm>
            <a:off x="6251020" y="914405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69FFCD6B-6781-45B9-A0FF-441B99A220B5}"/>
              </a:ext>
            </a:extLst>
          </p:cNvPr>
          <p:cNvCxnSpPr>
            <a:cxnSpLocks/>
          </p:cNvCxnSpPr>
          <p:nvPr/>
        </p:nvCxnSpPr>
        <p:spPr>
          <a:xfrm>
            <a:off x="6251020" y="3429000"/>
            <a:ext cx="2558295" cy="0"/>
          </a:xfrm>
          <a:prstGeom prst="line">
            <a:avLst/>
          </a:prstGeom>
          <a:ln w="12700">
            <a:solidFill>
              <a:schemeClr val="bg2">
                <a:lumMod val="75000"/>
                <a:lumOff val="2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TextBox 21">
            <a:extLst>
              <a:ext uri="{FF2B5EF4-FFF2-40B4-BE49-F238E27FC236}">
                <a16:creationId xmlns:a16="http://schemas.microsoft.com/office/drawing/2014/main" id="{58239EE2-4739-4DF9-A78C-6994DD9D6E29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8EBC35A6-C3F6-4CAA-B6FE-77A0C0F6904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571502" y="2514602"/>
            <a:ext cx="5372100" cy="36957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7" name="Title Placeholder 1">
            <a:extLst>
              <a:ext uri="{FF2B5EF4-FFF2-40B4-BE49-F238E27FC236}">
                <a16:creationId xmlns:a16="http://schemas.microsoft.com/office/drawing/2014/main" id="{367F26D2-980E-498C-9B01-AEF3F1821CE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499" y="609600"/>
            <a:ext cx="5372100" cy="1752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27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title style</a:t>
            </a:r>
          </a:p>
        </p:txBody>
      </p:sp>
      <p:sp>
        <p:nvSpPr>
          <p:cNvPr id="23" name="Slide Number Placeholder 5">
            <a:extLst>
              <a:ext uri="{FF2B5EF4-FFF2-40B4-BE49-F238E27FC236}">
                <a16:creationId xmlns:a16="http://schemas.microsoft.com/office/drawing/2014/main" id="{1DE9A97B-CB1E-4FA3-9806-5D1E1D446DEE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5606772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Feature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3">
            <a:extLst>
              <a:ext uri="{FF2B5EF4-FFF2-40B4-BE49-F238E27FC236}">
                <a16:creationId xmlns:a16="http://schemas.microsoft.com/office/drawing/2014/main" id="{6109FABB-685C-064C-97C0-CDEBA83E6A90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75129" y="1681972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867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61" name="Text Placeholder 3">
            <a:extLst>
              <a:ext uri="{FF2B5EF4-FFF2-40B4-BE49-F238E27FC236}">
                <a16:creationId xmlns:a16="http://schemas.microsoft.com/office/drawing/2014/main" id="{A94773F4-AAB7-E940-B2A8-EFEBE8948C45}"/>
              </a:ext>
            </a:extLst>
          </p:cNvPr>
          <p:cNvSpPr>
            <a:spLocks noGrp="1"/>
          </p:cNvSpPr>
          <p:nvPr>
            <p:ph type="body" sz="half" idx="31" hasCustomPrompt="1"/>
          </p:nvPr>
        </p:nvSpPr>
        <p:spPr>
          <a:xfrm>
            <a:off x="575129" y="3237204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867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67" name="Text Placeholder 3">
            <a:extLst>
              <a:ext uri="{FF2B5EF4-FFF2-40B4-BE49-F238E27FC236}">
                <a16:creationId xmlns:a16="http://schemas.microsoft.com/office/drawing/2014/main" id="{282895ED-6050-3747-8F02-64EC64223ADF}"/>
              </a:ext>
            </a:extLst>
          </p:cNvPr>
          <p:cNvSpPr>
            <a:spLocks noGrp="1"/>
          </p:cNvSpPr>
          <p:nvPr>
            <p:ph type="body" sz="half" idx="34" hasCustomPrompt="1"/>
          </p:nvPr>
        </p:nvSpPr>
        <p:spPr>
          <a:xfrm>
            <a:off x="575129" y="4792432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867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87" name="Picture Placeholder 2">
            <a:extLst>
              <a:ext uri="{FF2B5EF4-FFF2-40B4-BE49-F238E27FC236}">
                <a16:creationId xmlns:a16="http://schemas.microsoft.com/office/drawing/2014/main" id="{323133DF-7BD6-514D-BEB7-88A3F593064A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2803160" y="831959"/>
            <a:ext cx="6603168" cy="5321508"/>
          </a:xfrm>
          <a:prstGeom prst="rect">
            <a:avLst/>
          </a:prstGeom>
          <a:solidFill>
            <a:srgbClr val="121212"/>
          </a:solidFill>
        </p:spPr>
        <p:txBody>
          <a:bodyPr anchor="t" anchorCtr="0">
            <a:noAutofit/>
          </a:bodyPr>
          <a:lstStyle>
            <a:lvl1pPr marL="0" indent="0" algn="ctr">
              <a:buNone/>
              <a:defRPr sz="2509" spc="0" baseline="0">
                <a:solidFill>
                  <a:schemeClr val="tx2"/>
                </a:solidFill>
              </a:defRPr>
            </a:lvl1pPr>
          </a:lstStyle>
          <a:p>
            <a:r>
              <a:rPr lang="en-US"/>
              <a:t>Insert image</a:t>
            </a:r>
          </a:p>
        </p:txBody>
      </p:sp>
      <p:sp>
        <p:nvSpPr>
          <p:cNvPr id="31" name="Slide Number Placeholder 4">
            <a:extLst>
              <a:ext uri="{FF2B5EF4-FFF2-40B4-BE49-F238E27FC236}">
                <a16:creationId xmlns:a16="http://schemas.microsoft.com/office/drawing/2014/main" id="{1D2CC720-C5B4-48FE-A1CD-BA2700675BA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 spc="0">
                <a:solidFill>
                  <a:schemeClr val="tx2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7825B61A-3A85-4882-BBB1-5D9D49DE8B11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5129" y="2033028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33" dirty="0">
                <a:solidFill>
                  <a:schemeClr val="tx2"/>
                </a:solidFill>
              </a:defRPr>
            </a:lvl2pPr>
          </a:lstStyle>
          <a:p>
            <a:pPr marL="302660" lvl="0" indent="-302660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77C9AC3-9E3A-4EA8-B187-A1C1A3FCF4EC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75129" y="3586888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30266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33" dirty="0">
                <a:solidFill>
                  <a:schemeClr val="tx2"/>
                </a:solidFill>
              </a:defRPr>
            </a:lvl2pPr>
          </a:lstStyle>
          <a:p>
            <a:pPr marL="302660" lvl="0" indent="-302660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C5D3C119-BE92-4F78-B40B-2CD0BA257984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575129" y="5140752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33" dirty="0">
                <a:solidFill>
                  <a:schemeClr val="tx2"/>
                </a:solidFill>
              </a:defRPr>
            </a:lvl2pPr>
          </a:lstStyle>
          <a:p>
            <a:pPr marL="302660" lvl="0" indent="-302660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85E9FFB8-448F-4BEB-9062-AE6453AC476B}"/>
              </a:ext>
            </a:extLst>
          </p:cNvPr>
          <p:cNvSpPr>
            <a:spLocks noGrp="1"/>
          </p:cNvSpPr>
          <p:nvPr>
            <p:ph type="body" sz="half" idx="48" hasCustomPrompt="1"/>
          </p:nvPr>
        </p:nvSpPr>
        <p:spPr>
          <a:xfrm>
            <a:off x="9742445" y="1682132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867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4" name="Text Placeholder 3">
            <a:extLst>
              <a:ext uri="{FF2B5EF4-FFF2-40B4-BE49-F238E27FC236}">
                <a16:creationId xmlns:a16="http://schemas.microsoft.com/office/drawing/2014/main" id="{490D1BE3-656B-4816-8D7F-6B972EE99B30}"/>
              </a:ext>
            </a:extLst>
          </p:cNvPr>
          <p:cNvSpPr>
            <a:spLocks noGrp="1"/>
          </p:cNvSpPr>
          <p:nvPr>
            <p:ph type="body" sz="half" idx="50" hasCustomPrompt="1"/>
          </p:nvPr>
        </p:nvSpPr>
        <p:spPr>
          <a:xfrm>
            <a:off x="9742445" y="3237364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867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6" name="Text Placeholder 3">
            <a:extLst>
              <a:ext uri="{FF2B5EF4-FFF2-40B4-BE49-F238E27FC236}">
                <a16:creationId xmlns:a16="http://schemas.microsoft.com/office/drawing/2014/main" id="{08A5BB13-4AE6-4F94-B95C-2999ADC2964E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9742445" y="4792591"/>
            <a:ext cx="1890755" cy="246221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sz="1867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Subtitle</a:t>
            </a:r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D5A01B2D-2DD4-48BE-9168-CD41BD2A052C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9742445" y="2033188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33" dirty="0">
                <a:solidFill>
                  <a:schemeClr val="tx2"/>
                </a:solidFill>
              </a:defRPr>
            </a:lvl2pPr>
          </a:lstStyle>
          <a:p>
            <a:pPr marL="302660" lvl="0" indent="-302660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39" name="Text Placeholder 2">
            <a:extLst>
              <a:ext uri="{FF2B5EF4-FFF2-40B4-BE49-F238E27FC236}">
                <a16:creationId xmlns:a16="http://schemas.microsoft.com/office/drawing/2014/main" id="{E50C3374-25F2-4497-910F-A7F20424C332}"/>
              </a:ext>
            </a:extLst>
          </p:cNvPr>
          <p:cNvSpPr>
            <a:spLocks noGrp="1"/>
          </p:cNvSpPr>
          <p:nvPr>
            <p:ph type="body" sz="quarter" idx="55"/>
          </p:nvPr>
        </p:nvSpPr>
        <p:spPr>
          <a:xfrm>
            <a:off x="9742445" y="3587048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defRPr lang="en-US" sz="933" dirty="0">
                <a:solidFill>
                  <a:schemeClr val="tx2"/>
                </a:solidFill>
              </a:defRPr>
            </a:lvl2pPr>
          </a:lstStyle>
          <a:p>
            <a:pPr marL="302660" lvl="0" indent="-302660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7280B0E9-BE28-4C9B-8368-AB8CBD61305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9742445" y="5140912"/>
            <a:ext cx="1890755" cy="649757"/>
          </a:xfr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buNone/>
              <a:defRPr lang="en-US" sz="1200" spc="0" dirty="0">
                <a:solidFill>
                  <a:schemeClr val="tx2"/>
                </a:solidFill>
              </a:defRPr>
            </a:lvl1pPr>
            <a:lvl2pPr marL="0" indent="0">
              <a:lnSpc>
                <a:spcPct val="100000"/>
              </a:lnSpc>
              <a:buNone/>
              <a:defRPr lang="en-US" sz="933" spc="0" dirty="0">
                <a:solidFill>
                  <a:schemeClr val="tx2"/>
                </a:solidFill>
              </a:defRPr>
            </a:lvl2pPr>
          </a:lstStyle>
          <a:p>
            <a:pPr marL="302660" lvl="0" indent="-302660">
              <a:lnSpc>
                <a:spcPct val="120000"/>
              </a:lnSpc>
              <a:spcAft>
                <a:spcPts val="267"/>
              </a:spcAft>
            </a:pPr>
            <a:r>
              <a:rPr lang="en-US"/>
              <a:t>Click to edit Master text styles</a:t>
            </a:r>
          </a:p>
          <a:p>
            <a:pPr marL="302660" lvl="1" indent="-302660">
              <a:lnSpc>
                <a:spcPct val="120000"/>
              </a:lnSpc>
              <a:spcAft>
                <a:spcPts val="267"/>
              </a:spcAft>
            </a:pPr>
            <a:r>
              <a:rPr lang="en-US"/>
              <a:t>Second level</a:t>
            </a:r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ADB88346-186B-44A2-ACB8-13C6075E17C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569008" y="1282137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2" name="Text Placeholder 2">
            <a:extLst>
              <a:ext uri="{FF2B5EF4-FFF2-40B4-BE49-F238E27FC236}">
                <a16:creationId xmlns:a16="http://schemas.microsoft.com/office/drawing/2014/main" id="{423CEAC7-9351-44C0-8650-685B42C7DB39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69008" y="2833653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92DA7B38-9444-4EC2-8018-21FD1A285F39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569008" y="4385169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49E1862F-9EB8-4655-8F44-7F8EAF7C5A2E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9742448" y="1296069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09882002-4CDE-4869-868F-E43E999F39D7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9742448" y="2847585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72D80060-E102-442A-9C04-C7B7F0A30E67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9742448" y="43991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 spc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33" name="Text Placeholder 2">
            <a:extLst>
              <a:ext uri="{FF2B5EF4-FFF2-40B4-BE49-F238E27FC236}">
                <a16:creationId xmlns:a16="http://schemas.microsoft.com/office/drawing/2014/main" id="{5EB31E36-A45C-4CA4-BAD6-608235E681A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 spc="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BA87D479-30B1-45F9-9188-C9837378FEC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 spc="0">
                <a:solidFill>
                  <a:schemeClr val="tx1"/>
                </a:solidFill>
              </a:defRPr>
            </a:lvl1pPr>
          </a:lstStyle>
          <a:p>
            <a:r>
              <a:rPr lang="en-US"/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6029465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photo with capti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ABC7AE7-158D-4519-8464-722F5EF3521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8803" y="990600"/>
            <a:ext cx="10796588" cy="1055688"/>
          </a:xfrm>
        </p:spPr>
        <p:txBody>
          <a:bodyPr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324A219-BAAE-44FA-9F17-70A08A4E4A9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>
            <a:noAutofit/>
          </a:bodyPr>
          <a:lstStyle/>
          <a:p>
            <a:r>
              <a:rPr lang="en-US"/>
              <a:t>C97-3033818-00 © 2025 Cisco and/or its affiliates. All rights reserved. Cisco Confidential.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E0F9371A-4233-460B-91A9-B91A8429B0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>
            <a:noAutofit/>
          </a:bodyPr>
          <a:lstStyle/>
          <a:p>
            <a:fld id="{631F93F1-F5D5-44EF-B435-0444DF40D6A6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958696A-2388-495D-981D-050920BB5C7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58803" y="5698889"/>
            <a:ext cx="4993217" cy="585216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FC009990-5F38-4F94-ABE2-44DA301BD2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48404" y="5698889"/>
            <a:ext cx="4993217" cy="585216"/>
          </a:xfrm>
        </p:spPr>
        <p:txBody>
          <a:bodyPr>
            <a:noAutofit/>
          </a:bodyPr>
          <a:lstStyle>
            <a:lvl1pPr marL="0" indent="0">
              <a:buNone/>
              <a:defRPr sz="1200"/>
            </a:lvl1pPr>
          </a:lstStyle>
          <a:p>
            <a:pPr lvl="0"/>
            <a:r>
              <a:rPr lang="en-US"/>
              <a:t>Caption</a:t>
            </a:r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D01E734-4CA7-4CBD-A769-BCC20375564E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8800" y="2870203"/>
            <a:ext cx="5029200" cy="2563284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4" name="Picture Placeholder 12">
            <a:extLst>
              <a:ext uri="{FF2B5EF4-FFF2-40B4-BE49-F238E27FC236}">
                <a16:creationId xmlns:a16="http://schemas.microsoft.com/office/drawing/2014/main" id="{E24BD1C9-BB6F-4B1A-B0AC-70FBFBAD0DD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248400" y="2870203"/>
            <a:ext cx="5029200" cy="2563284"/>
          </a:xfrm>
          <a:solidFill>
            <a:schemeClr val="bg2"/>
          </a:solidFill>
        </p:spPr>
        <p:txBody>
          <a:bodyPr>
            <a:noAutofit/>
          </a:bodyPr>
          <a:lstStyle/>
          <a:p>
            <a:r>
              <a:rPr lang="en-US"/>
              <a:t>Click icon to add pictur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B7E62B0A-EF1F-854D-A9F9-BF31256EA55C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326387307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0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585806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0A305123-92F2-4B89-A355-7539327F08C3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1500" y="2787408"/>
            <a:ext cx="3465576" cy="3420333"/>
          </a:xfrm>
        </p:spPr>
        <p:txBody>
          <a:bodyPr/>
          <a:lstStyle>
            <a:lvl3pPr>
              <a:defRPr/>
            </a:lvl3pPr>
            <a:lvl4pPr marL="514326" indent="-171442">
              <a:buFont typeface="Arial" panose="020B0604020202020204" pitchFamily="34" charset="0"/>
              <a:buChar char="•"/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0" y="1907561"/>
            <a:ext cx="3465576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2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2" name="Content Placeholder 4">
            <a:extLst>
              <a:ext uri="{FF2B5EF4-FFF2-40B4-BE49-F238E27FC236}">
                <a16:creationId xmlns:a16="http://schemas.microsoft.com/office/drawing/2014/main" id="{F96C995E-58E0-4A91-AA56-8759CFD3EA73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501" y="2787408"/>
            <a:ext cx="3467099" cy="3420333"/>
          </a:xfrm>
        </p:spPr>
        <p:txBody>
          <a:bodyPr/>
          <a:lstStyle>
            <a:lvl3pPr>
              <a:defRPr/>
            </a:lvl3pPr>
            <a:lvl4pPr marL="342882" indent="0">
              <a:buNone/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3" name="Text Placeholder 3">
            <a:extLst>
              <a:ext uri="{FF2B5EF4-FFF2-40B4-BE49-F238E27FC236}">
                <a16:creationId xmlns:a16="http://schemas.microsoft.com/office/drawing/2014/main" id="{071BF92C-4C07-4794-8CC8-D51F3173376C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1" y="1907561"/>
            <a:ext cx="3467099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2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44" name="Content Placeholder 4">
            <a:extLst>
              <a:ext uri="{FF2B5EF4-FFF2-40B4-BE49-F238E27FC236}">
                <a16:creationId xmlns:a16="http://schemas.microsoft.com/office/drawing/2014/main" id="{47F7CD6B-9884-4317-A0E7-31AE02F93993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2" y="2787408"/>
            <a:ext cx="3467100" cy="3420333"/>
          </a:xfrm>
        </p:spPr>
        <p:txBody>
          <a:bodyPr/>
          <a:lstStyle>
            <a:lvl3pPr marL="346058" indent="-171442">
              <a:buFont typeface="Arial" panose="020B0604020202020204" pitchFamily="34" charset="0"/>
              <a:buChar char="•"/>
              <a:defRPr/>
            </a:lvl3pPr>
            <a:lvl4pPr marL="512738" indent="-169854">
              <a:defRPr lang="en-US" sz="1000" b="0" i="0" kern="0" spc="0" baseline="0" dirty="0" smtClean="0">
                <a:solidFill>
                  <a:schemeClr val="tx1"/>
                </a:solidFill>
                <a:latin typeface="+mn-lt"/>
                <a:ea typeface="+mn-ea"/>
                <a:cs typeface="CiscoSansTT" panose="020B0503020201020303" pitchFamily="34" charset="0"/>
              </a:defRPr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5" name="Text Placeholder 3">
            <a:extLst>
              <a:ext uri="{FF2B5EF4-FFF2-40B4-BE49-F238E27FC236}">
                <a16:creationId xmlns:a16="http://schemas.microsoft.com/office/drawing/2014/main" id="{3EECB8C3-35E8-4930-A0AE-3BA62609BFD9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8153402" y="1905002"/>
            <a:ext cx="3467100" cy="729049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27" rtl="0" eaLnBrk="1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1D46A44-801A-40B4-8117-1D09F7B03348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3" name="Title Placeholder 1">
            <a:extLst>
              <a:ext uri="{FF2B5EF4-FFF2-40B4-BE49-F238E27FC236}">
                <a16:creationId xmlns:a16="http://schemas.microsoft.com/office/drawing/2014/main" id="{F9A2394E-0E95-4850-A756-0015178A471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2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650DAF14-F79F-48F1-BCFF-1EC74CF6ED79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6849143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Box 11">
            <a:extLst>
              <a:ext uri="{FF2B5EF4-FFF2-40B4-BE49-F238E27FC236}">
                <a16:creationId xmlns:a16="http://schemas.microsoft.com/office/drawing/2014/main" id="{8D3B3576-E092-44AC-9525-9DA3161E6EEC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2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C21223BB-13C2-46FE-9733-BCC3C77AD20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2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2102BF9D-05AF-4C40-AEC2-376EE9F4E666}"/>
              </a:ext>
            </a:extLst>
          </p:cNvPr>
          <p:cNvSpPr>
            <a:spLocks noGrp="1"/>
          </p:cNvSpPr>
          <p:nvPr>
            <p:ph sz="quarter" idx="47" hasCustomPrompt="1"/>
          </p:nvPr>
        </p:nvSpPr>
        <p:spPr>
          <a:xfrm>
            <a:off x="577124" y="4041160"/>
            <a:ext cx="2514600" cy="2169141"/>
          </a:xfrm>
        </p:spPr>
        <p:txBody>
          <a:bodyPr/>
          <a:lstStyle>
            <a:lvl3pPr>
              <a:defRPr/>
            </a:lvl3pPr>
            <a:lvl4pPr marL="342882" indent="0">
              <a:buNone/>
              <a:defRPr/>
            </a:lvl4pPr>
          </a:lstStyle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38" marR="0" lvl="3" indent="-169854" algn="l" defTabSz="882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17" name="Content Placeholder 4">
            <a:extLst>
              <a:ext uri="{FF2B5EF4-FFF2-40B4-BE49-F238E27FC236}">
                <a16:creationId xmlns:a16="http://schemas.microsoft.com/office/drawing/2014/main" id="{F548FAB6-7AFF-4D5A-A1E9-06C746623E4C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3429001" y="4041160"/>
            <a:ext cx="2510731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38" marR="0" lvl="3" indent="-169854" algn="l" defTabSz="882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:a16="http://schemas.microsoft.com/office/drawing/2014/main" id="{BFB91503-30B7-4FD7-846E-47F4CF9F474A}"/>
              </a:ext>
            </a:extLst>
          </p:cNvPr>
          <p:cNvSpPr>
            <a:spLocks noGrp="1"/>
          </p:cNvSpPr>
          <p:nvPr>
            <p:ph sz="quarter" idx="50" hasCustomPrompt="1"/>
          </p:nvPr>
        </p:nvSpPr>
        <p:spPr>
          <a:xfrm>
            <a:off x="6244534" y="4041160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38" marR="0" lvl="3" indent="-169854" algn="l" defTabSz="882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:a16="http://schemas.microsoft.com/office/drawing/2014/main" id="{E14F77AB-427A-46FA-9A58-62890F9733C1}"/>
              </a:ext>
            </a:extLst>
          </p:cNvPr>
          <p:cNvSpPr>
            <a:spLocks noGrp="1"/>
          </p:cNvSpPr>
          <p:nvPr>
            <p:ph sz="quarter" idx="74" hasCustomPrompt="1"/>
          </p:nvPr>
        </p:nvSpPr>
        <p:spPr>
          <a:xfrm>
            <a:off x="9088318" y="4041160"/>
            <a:ext cx="2518468" cy="2169141"/>
          </a:xfrm>
        </p:spPr>
        <p:txBody>
          <a:bodyPr/>
          <a:lstStyle/>
          <a:p>
            <a:pPr lvl="0"/>
            <a:r>
              <a:rPr lang="en-US"/>
              <a:t>Click to edit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marL="512738" marR="0" lvl="3" indent="-169854" algn="l" defTabSz="88212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/>
              <a:t>Fourth level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72B32549-6990-4E43-A843-9EEA9CC29CF0}"/>
              </a:ext>
            </a:extLst>
          </p:cNvPr>
          <p:cNvSpPr>
            <a:spLocks noGrp="1"/>
          </p:cNvSpPr>
          <p:nvPr>
            <p:ph type="body" sz="half" idx="77" hasCustomPrompt="1"/>
          </p:nvPr>
        </p:nvSpPr>
        <p:spPr>
          <a:xfrm>
            <a:off x="577124" y="3429000"/>
            <a:ext cx="2514600" cy="553998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27" name="Text Placeholder 3">
            <a:extLst>
              <a:ext uri="{FF2B5EF4-FFF2-40B4-BE49-F238E27FC236}">
                <a16:creationId xmlns:a16="http://schemas.microsoft.com/office/drawing/2014/main" id="{CA54DA02-E155-45D5-B886-1EDF7135C93F}"/>
              </a:ext>
            </a:extLst>
          </p:cNvPr>
          <p:cNvSpPr>
            <a:spLocks noGrp="1"/>
          </p:cNvSpPr>
          <p:nvPr>
            <p:ph type="body" sz="half" idx="78" hasCustomPrompt="1"/>
          </p:nvPr>
        </p:nvSpPr>
        <p:spPr>
          <a:xfrm>
            <a:off x="3429003" y="3429000"/>
            <a:ext cx="2514599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AEC4E001-5A82-4221-8FE3-9B25D98B0EA9}"/>
              </a:ext>
            </a:extLst>
          </p:cNvPr>
          <p:cNvSpPr>
            <a:spLocks noGrp="1"/>
          </p:cNvSpPr>
          <p:nvPr>
            <p:ph type="body" sz="half" idx="79" hasCustomPrompt="1"/>
          </p:nvPr>
        </p:nvSpPr>
        <p:spPr>
          <a:xfrm>
            <a:off x="6244534" y="3426443"/>
            <a:ext cx="2511833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CE779C7D-755B-428C-BB0F-6496238D6D83}"/>
              </a:ext>
            </a:extLst>
          </p:cNvPr>
          <p:cNvSpPr>
            <a:spLocks noGrp="1"/>
          </p:cNvSpPr>
          <p:nvPr>
            <p:ph type="body" sz="half" idx="80" hasCustomPrompt="1"/>
          </p:nvPr>
        </p:nvSpPr>
        <p:spPr>
          <a:xfrm>
            <a:off x="9088318" y="3426443"/>
            <a:ext cx="2511833" cy="55655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 smtClean="0">
                <a:solidFill>
                  <a:schemeClr val="tx1"/>
                </a:solidFill>
                <a:latin typeface="+mj-lt"/>
                <a:ea typeface="+mn-ea"/>
                <a:cs typeface="CiscoSansTT" panose="020B0503020201020303" pitchFamily="34" charset="0"/>
              </a:defRPr>
            </a:lvl1pPr>
          </a:lstStyle>
          <a:p>
            <a:pPr marL="0" lvl="0" indent="0" algn="l" defTabSz="882127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Edit text styles</a:t>
            </a:r>
          </a:p>
        </p:txBody>
      </p: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7A758410-2F69-431F-99F7-B6259194CBFF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0910367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2: SPLIT TITLE ONLY + ROOM FOR IC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6B15451E-AF4B-4B3A-B376-2003DB48C31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1161291"/>
            <a:ext cx="5068699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578B9E3B-633E-7342-78FE-43C6E072402A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32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9DA6E23-0DF9-A10C-8880-72213B24EF71}"/>
              </a:ext>
            </a:extLst>
          </p:cNvPr>
          <p:cNvSpPr txBox="1">
            <a:spLocks/>
          </p:cNvSpPr>
          <p:nvPr/>
        </p:nvSpPr>
        <p:spPr>
          <a:xfrm>
            <a:off x="10020303" y="6401751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949402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 - lap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2441477-13D0-4DAF-BFCF-92EDFB2CE56C}"/>
              </a:ext>
            </a:extLst>
          </p:cNvPr>
          <p:cNvSpPr/>
          <p:nvPr/>
        </p:nvSpPr>
        <p:spPr>
          <a:xfrm>
            <a:off x="3405576" y="0"/>
            <a:ext cx="8786424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00"/>
          </a:p>
        </p:txBody>
      </p:sp>
      <p:pic>
        <p:nvPicPr>
          <p:cNvPr id="8" name="Picture 7" descr="Graphical user interface&#10;&#10;Description automatically generated with medium confidence">
            <a:extLst>
              <a:ext uri="{FF2B5EF4-FFF2-40B4-BE49-F238E27FC236}">
                <a16:creationId xmlns:a16="http://schemas.microsoft.com/office/drawing/2014/main" id="{C2D43C02-732C-4374-A293-6B6EED828B53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849013" y="788893"/>
            <a:ext cx="9342991" cy="5394456"/>
          </a:xfrm>
          <a:prstGeom prst="rect">
            <a:avLst/>
          </a:prstGeom>
        </p:spPr>
      </p:pic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4941348" y="1482181"/>
            <a:ext cx="5719729" cy="3817185"/>
          </a:xfrm>
          <a:prstGeom prst="roundRect">
            <a:avLst>
              <a:gd name="adj" fmla="val 1813"/>
            </a:avLst>
          </a:prstGeom>
          <a:solidFill>
            <a:schemeClr val="bg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26">
              <a:buNone/>
            </a:pPr>
            <a:r>
              <a:rPr lang="en-US"/>
              <a:t>Insert imag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37FE14D4-6259-4D5A-AC7E-D9C3B2B96A3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0602"/>
            <a:ext cx="2501421" cy="178220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</a:t>
            </a:r>
          </a:p>
        </p:txBody>
      </p:sp>
      <p:sp>
        <p:nvSpPr>
          <p:cNvPr id="5" name="Content Placeholder 6">
            <a:extLst>
              <a:ext uri="{FF2B5EF4-FFF2-40B4-BE49-F238E27FC236}">
                <a16:creationId xmlns:a16="http://schemas.microsoft.com/office/drawing/2014/main" id="{35CF0806-20B2-4281-9DE5-5B7F240B7DF0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58804" y="3051160"/>
            <a:ext cx="2496125" cy="3425840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>
              <a:defRPr sz="933"/>
            </a:lvl2pPr>
            <a:lvl3pPr>
              <a:defRPr sz="667"/>
            </a:lvl3pPr>
            <a:lvl4pPr>
              <a:defRPr sz="267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B9714BF-CB7B-4795-AC13-A550EA07DB9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>
              <a:defRPr lang="en-US" smtClean="0"/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1D5595A6-D46E-43B4-94A2-E3A6720BA94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3" y="339201"/>
            <a:ext cx="2655455" cy="267256"/>
          </a:xfrm>
        </p:spPr>
        <p:txBody>
          <a:bodyPr>
            <a:normAutofit/>
          </a:bodyPr>
          <a:lstStyle>
            <a:lvl1pPr marL="0" indent="0">
              <a:buFont typeface="Arial" panose="020B0604020202020204" pitchFamily="34" charset="0"/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84C20AAF-DB2E-2C46-92D6-BF737506348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102819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with graphic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952E6C41-3632-4791-A76B-5B35DCA25DAF}"/>
              </a:ext>
            </a:extLst>
          </p:cNvPr>
          <p:cNvSpPr/>
          <p:nvPr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2400"/>
          </a:p>
        </p:txBody>
      </p:sp>
      <p:sp>
        <p:nvSpPr>
          <p:cNvPr id="8" name="Content Placeholder 4">
            <a:extLst>
              <a:ext uri="{FF2B5EF4-FFF2-40B4-BE49-F238E27FC236}">
                <a16:creationId xmlns:a16="http://schemas.microsoft.com/office/drawing/2014/main" id="{189A80C0-FE7D-436D-94CB-79A4952FA349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457056" y="761515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EFB02FA9-F74D-409A-AE50-03692123A90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79178" y="2870200"/>
            <a:ext cx="5154188" cy="360680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/>
            </a:lvl1pPr>
            <a:lvl2pPr>
              <a:defRPr lang="en-US" sz="1067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  <a:p>
            <a:pPr marL="228589" lvl="3" indent="-228589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A66571F9-8F5F-4F9C-B69D-8194767FDE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9177" y="788893"/>
            <a:ext cx="5154025" cy="147170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357B425C-8918-4CBA-983D-6480207069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0DAE731F-CEF1-4611-A55D-062453F80F6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3" name="Footer Placeholder 3">
            <a:extLst>
              <a:ext uri="{FF2B5EF4-FFF2-40B4-BE49-F238E27FC236}">
                <a16:creationId xmlns:a16="http://schemas.microsoft.com/office/drawing/2014/main" id="{17F00142-F1DD-4B1E-A9C4-C526A674695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31077368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6BBC612-38C9-F1FD-EF57-694B8A7C026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IE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7AD5D6A-F3FE-EC11-20AA-59B122632C6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IE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0359DA6F-C576-84C4-1A19-417D14D4DC0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8C7C18A-4382-497F-A7A2-D2FFA9F1741E}" type="datetimeFigureOut">
              <a:rPr lang="en-IE" smtClean="0"/>
              <a:t>31/03/2025</a:t>
            </a:fld>
            <a:endParaRPr lang="en-IE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1DFA766-37CF-F680-1938-646D149BC23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IE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38FDF1C-7A4B-0C52-9C95-8A6B15D0F21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F7ECB41-4349-4BEB-82C6-4D011CFE5339}" type="slidenum">
              <a:rPr lang="en-IE" smtClean="0"/>
              <a:t>‹#›</a:t>
            </a:fld>
            <a:endParaRPr lang="en-IE"/>
          </a:p>
        </p:txBody>
      </p:sp>
    </p:spTree>
    <p:extLst>
      <p:ext uri="{BB962C8B-B14F-4D97-AF65-F5344CB8AC3E}">
        <p14:creationId xmlns:p14="http://schemas.microsoft.com/office/powerpoint/2010/main" val="317793441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3">
            <a:extLst>
              <a:ext uri="{FF2B5EF4-FFF2-40B4-BE49-F238E27FC236}">
                <a16:creationId xmlns:a16="http://schemas.microsoft.com/office/drawing/2014/main" id="{D667F840-8562-40AC-BE3D-8404AB46EDF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13984B84-E026-4120-A200-04C1B3AFF20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33ADC711-D282-4C9D-AD92-4B5C00C5CDD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</p:spTree>
    <p:extLst>
      <p:ext uri="{BB962C8B-B14F-4D97-AF65-F5344CB8AC3E}">
        <p14:creationId xmlns:p14="http://schemas.microsoft.com/office/powerpoint/2010/main" val="16254237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Walk-In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White text on a black background&#10;&#10;Description automatically generated">
            <a:extLst>
              <a:ext uri="{FF2B5EF4-FFF2-40B4-BE49-F238E27FC236}">
                <a16:creationId xmlns:a16="http://schemas.microsoft.com/office/drawing/2014/main" id="{D5BB9873-DDD3-6D58-217C-11DD45734BF1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293" y="3161401"/>
            <a:ext cx="4011516" cy="3164099"/>
          </a:xfrm>
          <a:prstGeom prst="rect">
            <a:avLst/>
          </a:prstGeom>
        </p:spPr>
      </p:pic>
      <p:pic>
        <p:nvPicPr>
          <p:cNvPr id="3" name="Picture 2" descr="A black and white logo&#10;&#10;Description automatically generated">
            <a:extLst>
              <a:ext uri="{FF2B5EF4-FFF2-40B4-BE49-F238E27FC236}">
                <a16:creationId xmlns:a16="http://schemas.microsoft.com/office/drawing/2014/main" id="{3E1B557C-8778-E082-952D-AA4A3B16D4E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4626" y="6179765"/>
            <a:ext cx="1331924" cy="37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89456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Title Slide Layou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White text on a black background&#10;&#10;Description automatically generated">
            <a:extLst>
              <a:ext uri="{FF2B5EF4-FFF2-40B4-BE49-F238E27FC236}">
                <a16:creationId xmlns:a16="http://schemas.microsoft.com/office/drawing/2014/main" id="{73281979-CD76-F913-3E1F-D68AB6AB66BA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53293" y="465827"/>
            <a:ext cx="3713908" cy="2929359"/>
          </a:xfrm>
          <a:prstGeom prst="rect">
            <a:avLst/>
          </a:prstGeom>
        </p:spPr>
      </p:pic>
      <p:pic>
        <p:nvPicPr>
          <p:cNvPr id="3" name="Picture 2" descr="A black and white logo&#10;&#10;Description automatically generated">
            <a:extLst>
              <a:ext uri="{FF2B5EF4-FFF2-40B4-BE49-F238E27FC236}">
                <a16:creationId xmlns:a16="http://schemas.microsoft.com/office/drawing/2014/main" id="{3E1B557C-8778-E082-952D-AA4A3B16D4E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4626" y="6179765"/>
            <a:ext cx="1331924" cy="37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76093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Title Slide Layou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White text on a black background&#10;&#10;Description automatically generated">
            <a:extLst>
              <a:ext uri="{FF2B5EF4-FFF2-40B4-BE49-F238E27FC236}">
                <a16:creationId xmlns:a16="http://schemas.microsoft.com/office/drawing/2014/main" id="{CD2E8120-C26B-9DCA-3C71-4E79F9BA2BE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4293" y="3161401"/>
            <a:ext cx="4011516" cy="3164099"/>
          </a:xfrm>
          <a:prstGeom prst="rect">
            <a:avLst/>
          </a:prstGeom>
        </p:spPr>
      </p:pic>
      <p:pic>
        <p:nvPicPr>
          <p:cNvPr id="2" name="Picture 1" descr="A black and white logo&#10;&#10;Description automatically generated">
            <a:extLst>
              <a:ext uri="{FF2B5EF4-FFF2-40B4-BE49-F238E27FC236}">
                <a16:creationId xmlns:a16="http://schemas.microsoft.com/office/drawing/2014/main" id="{ABBDB9B6-1837-5171-38CB-B494D31CA46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4626" y="6179765"/>
            <a:ext cx="1331924" cy="37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35603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Title Slide Layou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1" y="4869790"/>
            <a:ext cx="7277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1501" y="5248892"/>
            <a:ext cx="7277100" cy="1846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790702"/>
            <a:ext cx="7277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1" y="3431818"/>
            <a:ext cx="7277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pic>
        <p:nvPicPr>
          <p:cNvPr id="3" name="Picture 2" descr="A black and white logo&#10;&#10;Description automatically generated">
            <a:extLst>
              <a:ext uri="{FF2B5EF4-FFF2-40B4-BE49-F238E27FC236}">
                <a16:creationId xmlns:a16="http://schemas.microsoft.com/office/drawing/2014/main" id="{3E1B557C-8778-E082-952D-AA4A3B16D4E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4626" y="6179765"/>
            <a:ext cx="1331924" cy="37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4965013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_Title Slide Layou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1" y="4869790"/>
            <a:ext cx="7277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1501" y="5248892"/>
            <a:ext cx="7277100" cy="1846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790702"/>
            <a:ext cx="7277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1" y="3431818"/>
            <a:ext cx="7277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  <p:pic>
        <p:nvPicPr>
          <p:cNvPr id="3" name="Picture 2" descr="A black and white logo&#10;&#10;Description automatically generated">
            <a:extLst>
              <a:ext uri="{FF2B5EF4-FFF2-40B4-BE49-F238E27FC236}">
                <a16:creationId xmlns:a16="http://schemas.microsoft.com/office/drawing/2014/main" id="{3E1B557C-8778-E082-952D-AA4A3B16D4E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4626" y="6179765"/>
            <a:ext cx="1331924" cy="37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45500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_Title Slide Layout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71501" y="4869790"/>
            <a:ext cx="7277100" cy="246221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r>
              <a:rPr lang="en-US"/>
              <a:t>Speaker name and title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571501" y="5248892"/>
            <a:ext cx="7277100" cy="18466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r>
              <a:rPr lang="en-US"/>
              <a:t>Date of the event or presentation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790702"/>
            <a:ext cx="7277100" cy="14859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5400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</a:t>
            </a:r>
            <a:br>
              <a:rPr lang="en-US"/>
            </a:br>
            <a:r>
              <a:rPr lang="en-US"/>
              <a:t>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1" y="3431818"/>
            <a:ext cx="7277099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77" indent="0">
              <a:buNone/>
              <a:defRPr sz="1351"/>
            </a:lvl2pPr>
            <a:lvl3pPr marL="882149" indent="0">
              <a:buNone/>
              <a:defRPr sz="1157"/>
            </a:lvl3pPr>
            <a:lvl4pPr marL="1323226" indent="0">
              <a:buNone/>
              <a:defRPr sz="965"/>
            </a:lvl4pPr>
            <a:lvl5pPr marL="1764300" indent="0">
              <a:buNone/>
              <a:defRPr sz="965"/>
            </a:lvl5pPr>
            <a:lvl6pPr marL="2205377" indent="0">
              <a:buNone/>
              <a:defRPr sz="965"/>
            </a:lvl6pPr>
            <a:lvl7pPr marL="2646449" indent="0">
              <a:buNone/>
              <a:defRPr sz="965"/>
            </a:lvl7pPr>
            <a:lvl8pPr marL="3087525" indent="0">
              <a:buNone/>
              <a:defRPr sz="965"/>
            </a:lvl8pPr>
            <a:lvl9pPr marL="3528601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1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pic>
        <p:nvPicPr>
          <p:cNvPr id="2" name="Picture 1" descr="A black and white logo&#10;&#10;Description automatically generated">
            <a:extLst>
              <a:ext uri="{FF2B5EF4-FFF2-40B4-BE49-F238E27FC236}">
                <a16:creationId xmlns:a16="http://schemas.microsoft.com/office/drawing/2014/main" id="{ABBDB9B6-1837-5171-38CB-B494D31CA469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4626" y="6179765"/>
            <a:ext cx="1331924" cy="3711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803045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ive Topics"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1"/>
            <a:ext cx="53721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213C59-7880-41D1-9DE5-B53FA71B4F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48401" y="609601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0BD0D78-FA9C-47FE-A8C5-A942C1A9A1E0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080809" y="609601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4D1B0561-72B3-4A7C-9434-B0EDE523688D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080809" y="1037805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FB88D30E-5998-42C2-BFDA-6C6AA1F33F7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48401" y="1647195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6D18BF23-F279-48A8-8AFF-AC70F73F091E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7080809" y="1647194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8445664B-F9E1-4D1D-9F6E-DA27AF43C21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7080809" y="207539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31F0F46D-89DF-46CA-934B-C124727D937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48401" y="2684789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8BB0DD2A-742F-4019-B2A6-6AC6CF3BEEA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080809" y="2684787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4D48E93A-11A3-45A0-961F-26062021432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080809" y="3112993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365D378F-8BFE-41E2-A048-4F1E113B408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48401" y="3722382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4681FE84-1510-4206-91AF-B290EF3C0E1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7080809" y="3722382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58EB90C9-03A7-449D-A8F3-B379B319950E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7080809" y="4150586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E3E332E3-41A2-4350-A7FE-20CB379706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1" y="475997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948A5A7B-49E0-4CF2-8080-E002145F2FF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09" y="4759974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B8F46644-76D3-4C51-9163-739A1F5F7650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09" y="5188180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7D1C11A-12D9-461B-A255-03DBC65A944A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22" name="Slide Number Placeholder 5">
            <a:extLst>
              <a:ext uri="{FF2B5EF4-FFF2-40B4-BE49-F238E27FC236}">
                <a16:creationId xmlns:a16="http://schemas.microsoft.com/office/drawing/2014/main" id="{EA8191E0-49D0-4036-B896-597B5FEF1388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62185673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Ten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1" y="609601"/>
            <a:ext cx="53721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:a16="http://schemas.microsoft.com/office/drawing/2014/main" id="{2875B737-D8C9-4B5A-A987-E648592F8ABA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571501" y="2437943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61BC899D-37C3-4568-A4DF-0B0EDE20DC4C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1403909" y="243794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FB5D11EE-1D55-4041-81BF-2D405343AEB1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1403909" y="286614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478F2AB5-8A22-4344-B743-464793BF69FB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571501" y="3278623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2</a:t>
            </a:r>
          </a:p>
        </p:txBody>
      </p:sp>
      <p:sp>
        <p:nvSpPr>
          <p:cNvPr id="28" name="Text Placeholder 6">
            <a:extLst>
              <a:ext uri="{FF2B5EF4-FFF2-40B4-BE49-F238E27FC236}">
                <a16:creationId xmlns:a16="http://schemas.microsoft.com/office/drawing/2014/main" id="{22A1D5CE-6473-44B2-BC10-1AC73E1B795C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1403909" y="327862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Text Placeholder 6">
            <a:extLst>
              <a:ext uri="{FF2B5EF4-FFF2-40B4-BE49-F238E27FC236}">
                <a16:creationId xmlns:a16="http://schemas.microsoft.com/office/drawing/2014/main" id="{D8A733FF-648D-413A-A965-9380FF19EB38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1403909" y="370682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:a16="http://schemas.microsoft.com/office/drawing/2014/main" id="{C4EAFF18-13A5-4454-9A4E-50C9683A0861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571501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3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65CFB554-4FA5-44FE-AD9D-94ADB8A1596B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1403909" y="4118818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E82D60C9-C7E6-4DE4-8E8B-9A9D85E509A8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1403909" y="4547022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:a16="http://schemas.microsoft.com/office/drawing/2014/main" id="{11C81A21-CB5C-4EBA-AA54-D73A670B36B8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571501" y="4959741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4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3D704AA8-F2E6-4E6E-BA0F-C73614C721D6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1403909" y="4959741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66AE59D2-11F7-416C-B366-F23200F2C468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1403909" y="5387945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0" name="Text Placeholder 4">
            <a:extLst>
              <a:ext uri="{FF2B5EF4-FFF2-40B4-BE49-F238E27FC236}">
                <a16:creationId xmlns:a16="http://schemas.microsoft.com/office/drawing/2014/main" id="{898C6801-7507-4803-A711-42CEC857E567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1" y="2437943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5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7589C976-7FFB-4218-BF7E-1F78F2A1F02C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09" y="243794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0F3DDABD-EE25-49C3-9A53-2657DAD77A8C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09" y="286614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:a16="http://schemas.microsoft.com/office/drawing/2014/main" id="{17167DB7-5308-42DC-AEE9-AAED2ED164D1}"/>
              </a:ext>
            </a:extLst>
          </p:cNvPr>
          <p:cNvSpPr>
            <a:spLocks noGrp="1"/>
          </p:cNvSpPr>
          <p:nvPr>
            <p:ph type="body" sz="quarter" idx="64" hasCustomPrompt="1"/>
          </p:nvPr>
        </p:nvSpPr>
        <p:spPr>
          <a:xfrm>
            <a:off x="6248401" y="3278623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6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620B5D7B-672A-4FB9-9717-E785586DA302}"/>
              </a:ext>
            </a:extLst>
          </p:cNvPr>
          <p:cNvSpPr>
            <a:spLocks noGrp="1"/>
          </p:cNvSpPr>
          <p:nvPr>
            <p:ph type="body" sz="quarter" idx="65"/>
          </p:nvPr>
        </p:nvSpPr>
        <p:spPr>
          <a:xfrm>
            <a:off x="7080809" y="3278623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E23B210E-5C88-4516-A864-36247F88D733}"/>
              </a:ext>
            </a:extLst>
          </p:cNvPr>
          <p:cNvSpPr>
            <a:spLocks noGrp="1"/>
          </p:cNvSpPr>
          <p:nvPr>
            <p:ph type="body" sz="quarter" idx="66"/>
          </p:nvPr>
        </p:nvSpPr>
        <p:spPr>
          <a:xfrm>
            <a:off x="7080809" y="3706828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6" name="Text Placeholder 4">
            <a:extLst>
              <a:ext uri="{FF2B5EF4-FFF2-40B4-BE49-F238E27FC236}">
                <a16:creationId xmlns:a16="http://schemas.microsoft.com/office/drawing/2014/main" id="{37DB0FAF-76DD-43D1-B897-9417F5B3AB7B}"/>
              </a:ext>
            </a:extLst>
          </p:cNvPr>
          <p:cNvSpPr>
            <a:spLocks noGrp="1"/>
          </p:cNvSpPr>
          <p:nvPr>
            <p:ph type="body" sz="quarter" idx="67" hasCustomPrompt="1"/>
          </p:nvPr>
        </p:nvSpPr>
        <p:spPr>
          <a:xfrm>
            <a:off x="6248401" y="4118817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7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B0C7BE68-E1A9-48A3-8ADD-8FDB96C02A40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7080809" y="4118818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5195D37A-ED4A-4E1F-A476-81831613075B}"/>
              </a:ext>
            </a:extLst>
          </p:cNvPr>
          <p:cNvSpPr>
            <a:spLocks noGrp="1"/>
          </p:cNvSpPr>
          <p:nvPr>
            <p:ph type="body" sz="quarter" idx="69"/>
          </p:nvPr>
        </p:nvSpPr>
        <p:spPr>
          <a:xfrm>
            <a:off x="7080809" y="4547022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1" name="Text Placeholder 4">
            <a:extLst>
              <a:ext uri="{FF2B5EF4-FFF2-40B4-BE49-F238E27FC236}">
                <a16:creationId xmlns:a16="http://schemas.microsoft.com/office/drawing/2014/main" id="{62FE476F-78D3-4BBD-ADB0-A014E40BC384}"/>
              </a:ext>
            </a:extLst>
          </p:cNvPr>
          <p:cNvSpPr>
            <a:spLocks noGrp="1"/>
          </p:cNvSpPr>
          <p:nvPr>
            <p:ph type="body" sz="quarter" idx="70" hasCustomPrompt="1"/>
          </p:nvPr>
        </p:nvSpPr>
        <p:spPr>
          <a:xfrm>
            <a:off x="6248401" y="4959741"/>
            <a:ext cx="647700" cy="369332"/>
          </a:xfrm>
        </p:spPr>
        <p:txBody>
          <a:bodyPr>
            <a:spAutoFit/>
          </a:bodyPr>
          <a:lstStyle>
            <a:lvl1pPr algn="l">
              <a:defRPr lang="en-US" sz="2400" b="0" i="0" kern="0" spc="0" baseline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49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</a:pPr>
            <a:r>
              <a:rPr lang="en-US"/>
              <a:t>08</a:t>
            </a:r>
          </a:p>
        </p:txBody>
      </p:sp>
      <p:sp>
        <p:nvSpPr>
          <p:cNvPr id="62" name="Text Placeholder 6">
            <a:extLst>
              <a:ext uri="{FF2B5EF4-FFF2-40B4-BE49-F238E27FC236}">
                <a16:creationId xmlns:a16="http://schemas.microsoft.com/office/drawing/2014/main" id="{D42D2D51-155D-4C35-BC5F-B8F1C46DC335}"/>
              </a:ext>
            </a:extLst>
          </p:cNvPr>
          <p:cNvSpPr>
            <a:spLocks noGrp="1"/>
          </p:cNvSpPr>
          <p:nvPr>
            <p:ph type="body" sz="quarter" idx="71"/>
          </p:nvPr>
        </p:nvSpPr>
        <p:spPr>
          <a:xfrm>
            <a:off x="7080809" y="4959741"/>
            <a:ext cx="4539691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3" name="Text Placeholder 6">
            <a:extLst>
              <a:ext uri="{FF2B5EF4-FFF2-40B4-BE49-F238E27FC236}">
                <a16:creationId xmlns:a16="http://schemas.microsoft.com/office/drawing/2014/main" id="{EBF4B885-D002-47D6-8922-12B72E21CACE}"/>
              </a:ext>
            </a:extLst>
          </p:cNvPr>
          <p:cNvSpPr>
            <a:spLocks noGrp="1"/>
          </p:cNvSpPr>
          <p:nvPr>
            <p:ph type="body" sz="quarter" idx="72"/>
          </p:nvPr>
        </p:nvSpPr>
        <p:spPr>
          <a:xfrm>
            <a:off x="7080809" y="5387945"/>
            <a:ext cx="4539691" cy="184665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D0EEB412-0CE0-4F00-8756-0957743AE431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38" name="Slide Number Placeholder 5">
            <a:extLst>
              <a:ext uri="{FF2B5EF4-FFF2-40B4-BE49-F238E27FC236}">
                <a16:creationId xmlns:a16="http://schemas.microsoft.com/office/drawing/2014/main" id="{2DB28A58-94F9-401A-ADF6-47C90FEA9566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47433577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 column with graphic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B6A8E52-E098-4BEB-8F13-22E14C2A0F4D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2400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67566B7-7005-4688-80F7-DA1BD8DAD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1"/>
            <a:ext cx="5034827" cy="159410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0A1CBFF-FEB1-426F-8ABF-7C8FF483E89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7" y="2675275"/>
            <a:ext cx="2353909" cy="75372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E2F20EC-16BD-48F7-86D9-438E0739413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234092" y="2675275"/>
            <a:ext cx="2353909" cy="75372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1A4FF-001F-46B0-B50B-76B7ADF0DB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7" y="3684027"/>
            <a:ext cx="2353909" cy="25383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DC8C8FE-D77A-44F7-8C57-F06010945CF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34092" y="3684027"/>
            <a:ext cx="2353909" cy="25383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AC2492A7-148D-4E60-BDC4-A6493F242C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6" name="Content Placeholder 4">
            <a:extLst>
              <a:ext uri="{FF2B5EF4-FFF2-40B4-BE49-F238E27FC236}">
                <a16:creationId xmlns:a16="http://schemas.microsoft.com/office/drawing/2014/main" id="{CDD052D2-0346-4769-8167-74B8A275E9F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6553056" y="761515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059658CE-4B1C-4ADA-AC3D-EFB1CD9C4458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BE2DF0B0-559C-4128-AC05-B97C0A7A7F8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4" y="6390603"/>
            <a:ext cx="382947" cy="93184"/>
          </a:xfrm>
          <a:prstGeom prst="rect">
            <a:avLst/>
          </a:prstGeom>
        </p:spPr>
      </p:pic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74606954-118C-4C45-80E6-C37F9445AA6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95513893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F564E15E-85C2-40F1-B654-E42DCFBA17D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 marL="0" indent="0">
              <a:buNone/>
              <a:defRPr sz="1400"/>
            </a:lvl2pPr>
            <a:lvl3pPr marL="228594" indent="0">
              <a:buNone/>
              <a:defRPr sz="1200"/>
            </a:lvl3pPr>
            <a:lvl4pPr marL="406390" indent="0"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Placeholder 1">
            <a:extLst>
              <a:ext uri="{FF2B5EF4-FFF2-40B4-BE49-F238E27FC236}">
                <a16:creationId xmlns:a16="http://schemas.microsoft.com/office/drawing/2014/main" id="{A30370F4-DF08-4B4A-A3BB-EB89056225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63BE238-C084-4FBF-86DF-59C91AF8317F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51E1701B-4C10-476A-8FDF-6089699136E1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9114238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E1C715D-9112-4A01-AD63-361439BFB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E43F6E-A8D0-4155-BD27-8561034BB2B8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A02B8EA-12A2-4673-BF3F-8D4FB8234D27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0937402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8EE2313-2646-4E0B-B6B4-BA07574D2F8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30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594" indent="0">
              <a:buNone/>
              <a:defRPr/>
            </a:lvl3pPr>
            <a:lvl4pPr marL="406390" indent="0">
              <a:buNone/>
              <a:defRPr/>
            </a:lvl4pPr>
            <a:lvl5pPr marL="5714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D9DF569-2B30-EE4C-8D21-F21B97793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DC61E8BE-7C30-466D-96E8-145E0409391E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430827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head &amp; Non-bullet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49195570-1534-4F74-B303-B06313C227F6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A66674A7-0DAD-C54D-BB6A-AB4B6F3D1CF2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222129"/>
            <a:ext cx="11043376" cy="304800"/>
          </a:xfrm>
        </p:spPr>
        <p:txBody>
          <a:bodyPr>
            <a:noAutofit/>
          </a:bodyPr>
          <a:lstStyle>
            <a:lvl1pPr marL="0" indent="0">
              <a:buFont typeface="Arial" panose="020B0604020202020204" pitchFamily="34" charset="0"/>
              <a:buNone/>
              <a:defRPr sz="2000">
                <a:latin typeface="+mj-lt"/>
              </a:defRPr>
            </a:lvl1pPr>
            <a:lvl2pPr marL="0" indent="0">
              <a:buNone/>
              <a:defRPr/>
            </a:lvl2pPr>
            <a:lvl3pPr marL="228594" indent="0">
              <a:buNone/>
              <a:defRPr/>
            </a:lvl3pPr>
            <a:lvl4pPr marL="406390" indent="0">
              <a:buNone/>
              <a:defRPr/>
            </a:lvl4pPr>
            <a:lvl5pPr marL="571486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4BFEFE0-97D7-B240-BC88-FC220522792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5539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D82028C6-D96F-A145-862B-ED80E5C5EF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11045952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buFontTx/>
              <a:buNone/>
              <a:defRPr sz="1600"/>
            </a:lvl1pPr>
            <a:lvl2pPr marL="0" indent="0">
              <a:buFontTx/>
              <a:buNone/>
              <a:defRPr sz="1400"/>
            </a:lvl2pPr>
            <a:lvl3pPr marL="228594" indent="0">
              <a:buFontTx/>
              <a:buNone/>
              <a:defRPr sz="1200"/>
            </a:lvl3pPr>
            <a:lvl4pPr marL="406390" indent="0">
              <a:buFontTx/>
              <a:buNone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A8F312C-C046-4076-8AB0-7EBEDB950552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651649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AAD8007C-DE91-4E81-8041-976C5135CD04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96315619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66734A84-A20E-4265-848D-432FAF49C4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1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2236BEA-8B84-4433-AC6E-DE816054A44B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476FF25-9CEA-4D73-9CD8-BCF0613C55EA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7565941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B4BE6003-571D-4817-A40A-6421214126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1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>
              <a:defRPr sz="4400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24156D67-C67F-41CF-BA17-0B2BFD535E25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792C7D0-4978-4D65-A39E-9CB076EFBCC3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1068096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Section Heade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>
            <a:extLst>
              <a:ext uri="{FF2B5EF4-FFF2-40B4-BE49-F238E27FC236}">
                <a16:creationId xmlns:a16="http://schemas.microsoft.com/office/drawing/2014/main" id="{F2F81008-3517-4602-906D-87DE974882E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1501" y="1435771"/>
            <a:ext cx="7277099" cy="3986463"/>
          </a:xfrm>
          <a:prstGeom prst="rect">
            <a:avLst/>
          </a:prstGeom>
        </p:spPr>
        <p:txBody>
          <a:bodyPr vert="horz" anchor="ctr" anchorCtr="0">
            <a:noAutofit/>
          </a:bodyPr>
          <a:lstStyle>
            <a:lvl1pPr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44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Chapter tit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7910703F-CBA9-4296-B386-BA35019F8F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79EE8F-1900-4C5E-A4C1-BB6BE90235E1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0478978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lo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48ECCB6B-46C4-4E71-97ED-219163FCE9B9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7D938136-20C6-401D-BA2C-F3CC96E9757F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38417110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olo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20F9E4-16CA-4B30-ADCC-BD4809B439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0FB953B-93BA-45FD-AD0D-5A607DEF5ABD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31541290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 column icons - Graphic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D9D1492D-5902-43CB-8931-D377D390098C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lvl="0" algn="ctr"/>
            <a:endParaRPr lang="en-US" sz="2400"/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E98C8BEA-B15D-4061-953B-D90FCE37158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6" y="3302291"/>
            <a:ext cx="2278585" cy="64706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DB00627B-8E9E-451B-8924-7096742DBBB8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3320149" y="3302291"/>
            <a:ext cx="2278585" cy="64706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71D6F508-837A-4CD5-AC3A-FF7EE23D05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0599"/>
            <a:ext cx="5045559" cy="171254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2-column with icon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C411F75-6788-47F4-9D8B-6D1716F8EC0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6" y="4245579"/>
            <a:ext cx="2278585" cy="198975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B962768-3C7E-49E5-AC1D-7730E96FE84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309417" y="4245579"/>
            <a:ext cx="2278585" cy="198975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A84CF3E9-1E0B-46B7-BF52-271009164E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63D291-DE41-4BB4-9E4C-30D49C50E58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63904" y="300736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DA18A8E-48CB-4C25-A5F2-E849DDAE33A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320148" y="300736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4" name="Content Placeholder 4">
            <a:extLst>
              <a:ext uri="{FF2B5EF4-FFF2-40B4-BE49-F238E27FC236}">
                <a16:creationId xmlns:a16="http://schemas.microsoft.com/office/drawing/2014/main" id="{1C4A4C9F-D416-40E3-B8EA-2BD12E0C07DC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056" y="761515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C3060A7-90CE-441E-9DA5-205EE2CEF93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4" y="6390603"/>
            <a:ext cx="382947" cy="93184"/>
          </a:xfrm>
          <a:prstGeom prst="rect">
            <a:avLst/>
          </a:prstGeom>
        </p:spPr>
      </p:pic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CA9374F8-EA98-413F-93D6-9F08CC6F089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2" name="Footer Placeholder 3">
            <a:extLst>
              <a:ext uri="{FF2B5EF4-FFF2-40B4-BE49-F238E27FC236}">
                <a16:creationId xmlns:a16="http://schemas.microsoft.com/office/drawing/2014/main" id="{DD9EF6ED-0BDB-4440-A26F-732B6445888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9257084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-Colo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20F9E4-16CA-4B30-ADCC-BD4809B439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0FB953B-93BA-45FD-AD0D-5A607DEF5ABD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24559135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20F9E4-16CA-4B30-ADCC-BD4809B439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0FB953B-93BA-45FD-AD0D-5A607DEF5ABD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5526503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20F9E4-16CA-4B30-ADCC-BD4809B439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0FB953B-93BA-45FD-AD0D-5A607DEF5ABD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6345207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5-Color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A20F9E4-16CA-4B30-ADCC-BD4809B43944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4" name="Slide Number Placeholder 5">
            <a:extLst>
              <a:ext uri="{FF2B5EF4-FFF2-40B4-BE49-F238E27FC236}">
                <a16:creationId xmlns:a16="http://schemas.microsoft.com/office/drawing/2014/main" id="{50FB953B-93BA-45FD-AD0D-5A607DEF5ABD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86436348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42420" y="6349600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92773B-7150-44D2-AFDB-DE60A8A0F625}"/>
              </a:ext>
            </a:extLst>
          </p:cNvPr>
          <p:cNvSpPr/>
          <p:nvPr/>
        </p:nvSpPr>
        <p:spPr>
          <a:xfrm>
            <a:off x="304800" y="6414274"/>
            <a:ext cx="2819400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BEBFBF78-0E90-472B-B2BB-48C8ECC3854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639586" y="2209800"/>
            <a:ext cx="2912831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83977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6" y="6431692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pic>
        <p:nvPicPr>
          <p:cNvPr id="5" name="Picture 4" descr="Logo&#10;&#10;Description automatically generated">
            <a:extLst>
              <a:ext uri="{FF2B5EF4-FFF2-40B4-BE49-F238E27FC236}">
                <a16:creationId xmlns:a16="http://schemas.microsoft.com/office/drawing/2014/main" id="{B8EB6A92-1A18-4242-B37B-061D783A1E0A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33354" y="6061499"/>
            <a:ext cx="1633196" cy="499323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979071DA-63B2-46A2-892F-B272FF3B2408}"/>
              </a:ext>
            </a:extLst>
          </p:cNvPr>
          <p:cNvSpPr/>
          <p:nvPr/>
        </p:nvSpPr>
        <p:spPr>
          <a:xfrm>
            <a:off x="525453" y="6410479"/>
            <a:ext cx="503249" cy="1503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</p:spTree>
    <p:extLst>
      <p:ext uri="{BB962C8B-B14F-4D97-AF65-F5344CB8AC3E}">
        <p14:creationId xmlns:p14="http://schemas.microsoft.com/office/powerpoint/2010/main" val="239354876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 Placeholder 3"/>
          <p:cNvSpPr>
            <a:spLocks noGrp="1"/>
          </p:cNvSpPr>
          <p:nvPr>
            <p:ph type="body" sz="quarter" idx="10" hasCustomPrompt="1"/>
          </p:nvPr>
        </p:nvSpPr>
        <p:spPr>
          <a:xfrm>
            <a:off x="616401" y="1602317"/>
            <a:ext cx="11036459" cy="4519083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304760" indent="-228573">
              <a:lnSpc>
                <a:spcPct val="95000"/>
              </a:lnSpc>
              <a:spcBef>
                <a:spcPts val="1480"/>
              </a:spcBef>
              <a:buClr>
                <a:schemeClr val="tx1"/>
              </a:buClr>
              <a:buSzPct val="80000"/>
              <a:buFont typeface="Arial"/>
              <a:buChar char="•"/>
              <a:defRPr sz="26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1pPr>
            <a:lvl2pPr marL="609523" indent="-220106">
              <a:lnSpc>
                <a:spcPct val="95000"/>
              </a:lnSpc>
              <a:spcBef>
                <a:spcPts val="600"/>
              </a:spcBef>
              <a:buClr>
                <a:schemeClr val="tx1"/>
              </a:buClr>
              <a:buSzPct val="80000"/>
              <a:buFont typeface="Arial"/>
              <a:buChar char="•"/>
              <a:defRPr sz="24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2pPr>
            <a:lvl3pPr marL="914286" indent="-146031">
              <a:buClr>
                <a:schemeClr val="tx1"/>
              </a:buClr>
              <a:buSzPct val="80000"/>
              <a:buFont typeface="Arial"/>
              <a:buChar char="•"/>
              <a:defRPr sz="2133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3pPr>
            <a:lvl4pPr marL="1214562" indent="-228526">
              <a:buClr>
                <a:schemeClr val="tx1"/>
              </a:buClr>
              <a:buSzPct val="80000"/>
              <a:buFont typeface="Arial"/>
              <a:buChar char="•"/>
              <a:defRPr sz="1867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4pPr>
            <a:lvl5pPr marL="1443087" indent="-224293">
              <a:buClr>
                <a:schemeClr val="tx1"/>
              </a:buClr>
              <a:buSzPct val="80000"/>
              <a:buFont typeface="Arial"/>
              <a:buChar char="•"/>
              <a:defRPr sz="1600" b="0" i="0">
                <a:solidFill>
                  <a:schemeClr val="tx1"/>
                </a:solidFill>
                <a:latin typeface="+mn-lt"/>
                <a:ea typeface="CiscoSansTT Thin" charset="0"/>
                <a:cs typeface="CiscoSansTT Thin" charset="0"/>
              </a:defRPr>
            </a:lvl5pPr>
          </a:lstStyle>
          <a:p>
            <a:pPr lvl="0"/>
            <a:r>
              <a:rPr lang="en-GB"/>
              <a:t>First level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US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90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24" tIns="45712" rIns="91424" bIns="45712" numCol="1" anchor="ctr" anchorCtr="0" compatLnSpc="1">
            <a:prstTxWarp prst="textNoShape">
              <a:avLst/>
            </a:prstTxWarp>
          </a:bodyPr>
          <a:lstStyle>
            <a:lvl1pPr>
              <a:defRPr sz="3733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63962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 with ico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D1EB964-31F1-4CBE-82A3-C0D6A156FC9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5390428" cy="155926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pc="-240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3-column with icons</a:t>
            </a:r>
          </a:p>
        </p:txBody>
      </p:sp>
      <p:sp>
        <p:nvSpPr>
          <p:cNvPr id="43" name="Slide Number Placeholder 4">
            <a:extLst>
              <a:ext uri="{FF2B5EF4-FFF2-40B4-BE49-F238E27FC236}">
                <a16:creationId xmlns:a16="http://schemas.microsoft.com/office/drawing/2014/main" id="{EF211203-217C-43EA-B455-2829537E92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2DD9E95C-54D7-4CDC-9398-06EA3EF4C2BF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63904" y="34290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5308B72D-42DD-4AFC-86F7-A60C430A65F0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4348112" y="34290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92FBA143-4C75-4705-B518-3C3BEB4DB59D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8125288" y="3429001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BBFFB3BB-96C3-43AE-AE37-B552C0F815FA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1" y="3783515"/>
            <a:ext cx="3383963" cy="590756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-80" dirty="0">
                <a:latin typeface="CiscoSansTT Medium" panose="020B0503020201020303" pitchFamily="34" charset="0"/>
                <a:cs typeface="CiscoSansTT Medium" panose="020B0503020201020303" pitchFamily="34" charset="0"/>
              </a:defRPr>
            </a:lvl1pPr>
          </a:lstStyle>
          <a:p>
            <a:pPr marL="302668" lvl="0" indent="-302668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557260CF-2100-49E9-84E8-B0D7AFADA565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4348112" y="3782746"/>
            <a:ext cx="3383963" cy="5968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-80" dirty="0">
                <a:latin typeface="CiscoSansTT Medium" panose="020B0503020201020303" pitchFamily="34" charset="0"/>
                <a:cs typeface="CiscoSansTT Medium" panose="020B0503020201020303" pitchFamily="34" charset="0"/>
              </a:defRPr>
            </a:lvl1pPr>
          </a:lstStyle>
          <a:p>
            <a:pPr marL="302668" lvl="0" indent="-302668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25" name="Text Placeholder 3">
            <a:extLst>
              <a:ext uri="{FF2B5EF4-FFF2-40B4-BE49-F238E27FC236}">
                <a16:creationId xmlns:a16="http://schemas.microsoft.com/office/drawing/2014/main" id="{0E159BC0-6118-41FB-BD15-D9B76E35ED35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8125288" y="3778300"/>
            <a:ext cx="3383963" cy="596887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-80" dirty="0">
                <a:latin typeface="CiscoSansTT Medium" panose="020B0503020201020303" pitchFamily="34" charset="0"/>
                <a:cs typeface="CiscoSansTT Medium" panose="020B0503020201020303" pitchFamily="34" charset="0"/>
              </a:defRPr>
            </a:lvl1pPr>
          </a:lstStyle>
          <a:p>
            <a:pPr marL="302668" lvl="0" indent="-302668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72CDBFEA-91A7-4FE4-AAE2-321927A46CED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563901" y="4605093"/>
            <a:ext cx="3383963" cy="1617249"/>
          </a:xfrm>
        </p:spPr>
        <p:txBody>
          <a:bodyPr>
            <a:noAutofit/>
          </a:bodyPr>
          <a:lstStyle>
            <a:lvl1pPr marL="228589" indent="-228589">
              <a:buFont typeface="Arial" panose="020B0604020202020204" pitchFamily="34" charset="0"/>
              <a:buChar char="•"/>
              <a:defRPr sz="1333"/>
            </a:lvl1pPr>
            <a:lvl2pPr marL="378865" indent="-152392">
              <a:defRPr sz="1067"/>
            </a:lvl2pPr>
            <a:lvl3pPr marL="687883" indent="-232822">
              <a:defRPr sz="800"/>
            </a:lvl3pPr>
            <a:lvl4pPr marL="916470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61CBFE74-247B-4E42-8A8C-4D5F9D2997F3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348112" y="4605093"/>
            <a:ext cx="3383963" cy="1617249"/>
          </a:xfrm>
        </p:spPr>
        <p:txBody>
          <a:bodyPr>
            <a:noAutofit/>
          </a:bodyPr>
          <a:lstStyle>
            <a:lvl1pPr marL="228589" indent="-228589">
              <a:buFont typeface="Arial" panose="020B0604020202020204" pitchFamily="34" charset="0"/>
              <a:buChar char="•"/>
              <a:defRPr sz="1333"/>
            </a:lvl1pPr>
            <a:lvl2pPr marL="378865" indent="-152392">
              <a:defRPr sz="1067"/>
            </a:lvl2pPr>
            <a:lvl3pPr marL="687883" indent="-232822">
              <a:defRPr sz="800"/>
            </a:lvl3pPr>
            <a:lvl4pPr marL="916470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CD5C99F-F57F-4957-BA17-CF590173E3FE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8125285" y="4605093"/>
            <a:ext cx="3383963" cy="1617249"/>
          </a:xfrm>
        </p:spPr>
        <p:txBody>
          <a:bodyPr>
            <a:noAutofit/>
          </a:bodyPr>
          <a:lstStyle>
            <a:lvl1pPr marL="228589" indent="-228589">
              <a:buFont typeface="Arial" panose="020B0604020202020204" pitchFamily="34" charset="0"/>
              <a:buChar char="•"/>
              <a:defRPr sz="1333"/>
            </a:lvl1pPr>
            <a:lvl2pPr marL="378865" indent="-152392">
              <a:defRPr sz="1067"/>
            </a:lvl2pPr>
            <a:lvl3pPr marL="687883" indent="-232822">
              <a:defRPr sz="800"/>
            </a:lvl3pPr>
            <a:lvl4pPr marL="916470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B415BF8F-879F-4E1A-A7D8-9D683393FD0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6" name="Footer Placeholder 3">
            <a:extLst>
              <a:ext uri="{FF2B5EF4-FFF2-40B4-BE49-F238E27FC236}">
                <a16:creationId xmlns:a16="http://schemas.microsoft.com/office/drawing/2014/main" id="{3534F201-EBA0-46A0-B1E7-7AF9F7C4981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3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22633010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ictur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Content Placeholder 4">
            <a:extLst>
              <a:ext uri="{FF2B5EF4-FFF2-40B4-BE49-F238E27FC236}">
                <a16:creationId xmlns:a16="http://schemas.microsoft.com/office/drawing/2014/main" id="{9CE094B7-A2CC-4860-A57D-F142C2E63FC6}"/>
              </a:ext>
            </a:extLst>
          </p:cNvPr>
          <p:cNvSpPr>
            <a:spLocks noGrp="1"/>
          </p:cNvSpPr>
          <p:nvPr>
            <p:ph sz="quarter" idx="47"/>
          </p:nvPr>
        </p:nvSpPr>
        <p:spPr>
          <a:xfrm>
            <a:off x="577124" y="4041159"/>
            <a:ext cx="3465576" cy="2169141"/>
          </a:xfrm>
        </p:spPr>
        <p:txBody>
          <a:bodyPr/>
          <a:lstStyle>
            <a:lvl3pPr marL="346075" indent="-171450">
              <a:buFont typeface="Arial" panose="020B0604020202020204" pitchFamily="34" charset="0"/>
              <a:buChar char="•"/>
              <a:defRPr/>
            </a:lvl3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:a16="http://schemas.microsoft.com/office/drawing/2014/main" id="{E2DCECB4-BB48-48B5-A871-A080DE20BDFF}"/>
              </a:ext>
            </a:extLst>
          </p:cNvPr>
          <p:cNvSpPr>
            <a:spLocks noGrp="1"/>
          </p:cNvSpPr>
          <p:nvPr>
            <p:ph sz="quarter" idx="48"/>
          </p:nvPr>
        </p:nvSpPr>
        <p:spPr>
          <a:xfrm>
            <a:off x="4381499" y="4041159"/>
            <a:ext cx="3467099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9" name="Content Placeholder 4">
            <a:extLst>
              <a:ext uri="{FF2B5EF4-FFF2-40B4-BE49-F238E27FC236}">
                <a16:creationId xmlns:a16="http://schemas.microsoft.com/office/drawing/2014/main" id="{868F585C-1E6D-44C6-9295-9866846056CD}"/>
              </a:ext>
            </a:extLst>
          </p:cNvPr>
          <p:cNvSpPr>
            <a:spLocks noGrp="1"/>
          </p:cNvSpPr>
          <p:nvPr>
            <p:ph sz="quarter" idx="50"/>
          </p:nvPr>
        </p:nvSpPr>
        <p:spPr>
          <a:xfrm>
            <a:off x="8153400" y="4038600"/>
            <a:ext cx="3467100" cy="21691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95A1EBBB-1490-4A58-9FEB-3DAB9E66019A}"/>
              </a:ext>
            </a:extLst>
          </p:cNvPr>
          <p:cNvSpPr>
            <a:spLocks noGrp="1"/>
          </p:cNvSpPr>
          <p:nvPr>
            <p:ph type="body" sz="half" idx="51" hasCustomPrompt="1"/>
          </p:nvPr>
        </p:nvSpPr>
        <p:spPr>
          <a:xfrm>
            <a:off x="577124" y="3429000"/>
            <a:ext cx="3465576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2" name="Text Placeholder 3">
            <a:extLst>
              <a:ext uri="{FF2B5EF4-FFF2-40B4-BE49-F238E27FC236}">
                <a16:creationId xmlns:a16="http://schemas.microsoft.com/office/drawing/2014/main" id="{6C65CC39-4D00-45CB-AE15-8C3D3E976756}"/>
              </a:ext>
            </a:extLst>
          </p:cNvPr>
          <p:cNvSpPr>
            <a:spLocks noGrp="1"/>
          </p:cNvSpPr>
          <p:nvPr>
            <p:ph type="body" sz="half" idx="49" hasCustomPrompt="1"/>
          </p:nvPr>
        </p:nvSpPr>
        <p:spPr>
          <a:xfrm>
            <a:off x="4381500" y="3429000"/>
            <a:ext cx="3467099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E9291D51-BC1A-4ED4-8278-30B67F7C4AA7}"/>
              </a:ext>
            </a:extLst>
          </p:cNvPr>
          <p:cNvSpPr>
            <a:spLocks noGrp="1"/>
          </p:cNvSpPr>
          <p:nvPr>
            <p:ph type="body" sz="half" idx="52" hasCustomPrompt="1"/>
          </p:nvPr>
        </p:nvSpPr>
        <p:spPr>
          <a:xfrm>
            <a:off x="8153400" y="3426441"/>
            <a:ext cx="3467100" cy="557784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1800" b="0" i="0" kern="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pPr marL="0" lvl="0" indent="0" algn="l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</a:pPr>
            <a:r>
              <a:rPr lang="en-US"/>
              <a:t>Click to edit text style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42E7DBE-A450-4BC3-A3EC-3A1EE7839F6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794344F4-D05A-E24F-A679-CB39B058DB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21084CAD-AB1E-47FC-A2EF-2D347CCE071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5885748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column with pho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Picture Placeholder 2">
            <a:extLst>
              <a:ext uri="{FF2B5EF4-FFF2-40B4-BE49-F238E27FC236}">
                <a16:creationId xmlns:a16="http://schemas.microsoft.com/office/drawing/2014/main" id="{480C16A7-AC87-3041-BFCA-5BAE80992967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563903" y="2518229"/>
            <a:ext cx="2552092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8AFA0CDB-F372-1847-ACE3-8F2552F32E0C}"/>
              </a:ext>
            </a:extLst>
          </p:cNvPr>
          <p:cNvSpPr>
            <a:spLocks noGrp="1"/>
          </p:cNvSpPr>
          <p:nvPr>
            <p:ph type="pic" sz="quarter" idx="27" hasCustomPrompt="1"/>
          </p:nvPr>
        </p:nvSpPr>
        <p:spPr>
          <a:xfrm>
            <a:off x="3401446" y="2518229"/>
            <a:ext cx="2552092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2CEDA4E7-FEF8-A844-BD5D-9125501BED2E}"/>
              </a:ext>
            </a:extLst>
          </p:cNvPr>
          <p:cNvSpPr>
            <a:spLocks noGrp="1"/>
          </p:cNvSpPr>
          <p:nvPr>
            <p:ph type="pic" sz="quarter" idx="28" hasCustomPrompt="1"/>
          </p:nvPr>
        </p:nvSpPr>
        <p:spPr>
          <a:xfrm>
            <a:off x="6246246" y="2518229"/>
            <a:ext cx="2552092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30" name="Picture Placeholder 2">
            <a:extLst>
              <a:ext uri="{FF2B5EF4-FFF2-40B4-BE49-F238E27FC236}">
                <a16:creationId xmlns:a16="http://schemas.microsoft.com/office/drawing/2014/main" id="{0C5331F0-DC53-014A-AC10-09442296B489}"/>
              </a:ext>
            </a:extLst>
          </p:cNvPr>
          <p:cNvSpPr>
            <a:spLocks noGrp="1"/>
          </p:cNvSpPr>
          <p:nvPr>
            <p:ph type="pic" sz="quarter" idx="29" hasCustomPrompt="1"/>
          </p:nvPr>
        </p:nvSpPr>
        <p:spPr>
          <a:xfrm>
            <a:off x="9076533" y="2518229"/>
            <a:ext cx="2552092" cy="1294891"/>
          </a:xfrm>
          <a:prstGeom prst="rect">
            <a:avLst/>
          </a:prstGeo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 dirty="0">
                <a:solidFill>
                  <a:schemeClr val="tx1"/>
                </a:solidFill>
              </a:defRPr>
            </a:lvl1pPr>
          </a:lstStyle>
          <a:p>
            <a:pPr marL="0" lvl="0" indent="0" algn="ctr" defTabSz="926372">
              <a:lnSpc>
                <a:spcPct val="140000"/>
              </a:lnSpc>
              <a:buNone/>
            </a:pPr>
            <a:r>
              <a:rPr lang="en-US"/>
              <a:t>Insert image</a:t>
            </a:r>
          </a:p>
        </p:txBody>
      </p:sp>
      <p:sp>
        <p:nvSpPr>
          <p:cNvPr id="26" name="Text Placeholder 3">
            <a:extLst>
              <a:ext uri="{FF2B5EF4-FFF2-40B4-BE49-F238E27FC236}">
                <a16:creationId xmlns:a16="http://schemas.microsoft.com/office/drawing/2014/main" id="{00173D22-F802-F648-84AC-80F7536CF284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857640"/>
            <a:ext cx="2552092" cy="4363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-80" dirty="0">
                <a:latin typeface="CiscoSansTT Medium" panose="020B0503020201020303" pitchFamily="34" charset="0"/>
                <a:cs typeface="CiscoSansTT Medium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22" name="Text Placeholder 3">
            <a:extLst>
              <a:ext uri="{FF2B5EF4-FFF2-40B4-BE49-F238E27FC236}">
                <a16:creationId xmlns:a16="http://schemas.microsoft.com/office/drawing/2014/main" id="{C35F796C-3FA3-4D4C-9E57-306772BBFEB7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405578" y="3857640"/>
            <a:ext cx="2552092" cy="4363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-80" dirty="0">
                <a:latin typeface="CiscoSansTT Medium" panose="020B0503020201020303" pitchFamily="34" charset="0"/>
                <a:cs typeface="CiscoSansTT Medium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24" name="Text Placeholder 3">
            <a:extLst>
              <a:ext uri="{FF2B5EF4-FFF2-40B4-BE49-F238E27FC236}">
                <a16:creationId xmlns:a16="http://schemas.microsoft.com/office/drawing/2014/main" id="{63094BC0-195B-294A-B09B-12005D172A0C}"/>
              </a:ext>
            </a:extLst>
          </p:cNvPr>
          <p:cNvSpPr>
            <a:spLocks noGrp="1"/>
          </p:cNvSpPr>
          <p:nvPr>
            <p:ph type="body" sz="half" idx="23" hasCustomPrompt="1"/>
          </p:nvPr>
        </p:nvSpPr>
        <p:spPr>
          <a:xfrm>
            <a:off x="6247251" y="3857640"/>
            <a:ext cx="2552092" cy="4363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-80" dirty="0">
                <a:latin typeface="CiscoSansTT Medium" panose="020B0503020201020303" pitchFamily="34" charset="0"/>
                <a:cs typeface="CiscoSansTT Medium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28" name="Text Placeholder 3">
            <a:extLst>
              <a:ext uri="{FF2B5EF4-FFF2-40B4-BE49-F238E27FC236}">
                <a16:creationId xmlns:a16="http://schemas.microsoft.com/office/drawing/2014/main" id="{8A941269-22F0-1B4D-A516-00DAC2E11BFD}"/>
              </a:ext>
            </a:extLst>
          </p:cNvPr>
          <p:cNvSpPr>
            <a:spLocks noGrp="1"/>
          </p:cNvSpPr>
          <p:nvPr>
            <p:ph type="body" sz="half" idx="25" hasCustomPrompt="1"/>
          </p:nvPr>
        </p:nvSpPr>
        <p:spPr>
          <a:xfrm>
            <a:off x="9081891" y="3857640"/>
            <a:ext cx="2552092" cy="436385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marL="0" indent="0">
              <a:buNone/>
              <a:defRPr lang="en-US" sz="1867" spc="-80" dirty="0">
                <a:latin typeface="CiscoSansTT Medium" panose="020B0503020201020303" pitchFamily="34" charset="0"/>
                <a:cs typeface="CiscoSansTT Medium" panose="020B0503020201020303" pitchFamily="34" charset="0"/>
              </a:defRPr>
            </a:lvl1pPr>
          </a:lstStyle>
          <a:p>
            <a:pPr marL="302676" lvl="0" indent="-302676">
              <a:lnSpc>
                <a:spcPct val="100000"/>
              </a:lnSpc>
              <a:spcAft>
                <a:spcPts val="0"/>
              </a:spcAft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E71F9B75-2801-4E3B-A4AF-EE2F5428DF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390428" cy="1447800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spc="-240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mages</a:t>
            </a:r>
          </a:p>
        </p:txBody>
      </p:sp>
      <p:sp>
        <p:nvSpPr>
          <p:cNvPr id="40" name="Slide Number Placeholder 4">
            <a:extLst>
              <a:ext uri="{FF2B5EF4-FFF2-40B4-BE49-F238E27FC236}">
                <a16:creationId xmlns:a16="http://schemas.microsoft.com/office/drawing/2014/main" id="{C287D7C0-FDBF-4DC2-A5AD-21F027C218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B282261E-4BBB-4DDF-A272-64831DF6A48D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563902" y="4479689"/>
            <a:ext cx="2552095" cy="169843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35DF58A1-C9DA-4098-A483-3AF5EEE2823C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3413562" y="4479689"/>
            <a:ext cx="2552095" cy="169843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8506F507-8135-47B0-B749-1ECA83F7A4CC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247251" y="4479689"/>
            <a:ext cx="2552095" cy="169843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D835D938-BABF-448A-911C-81BC403D164D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9096911" y="4479689"/>
            <a:ext cx="2552095" cy="1698433"/>
          </a:xfrm>
        </p:spPr>
        <p:txBody>
          <a:bodyPr>
            <a:noAutofit/>
          </a:bodyPr>
          <a:lstStyle>
            <a:lvl1pPr marL="228594" indent="-228594">
              <a:buFont typeface="Arial" panose="020B0604020202020204" pitchFamily="34" charset="0"/>
              <a:buChar char="•"/>
              <a:defRPr sz="1333"/>
            </a:lvl1pPr>
            <a:lvl2pPr marL="378875" indent="-152396">
              <a:defRPr sz="1067"/>
            </a:lvl2pPr>
            <a:lvl3pPr marL="687900" indent="-232828">
              <a:defRPr sz="800"/>
            </a:lvl3pPr>
            <a:lvl4pPr marL="916493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491F740F-284B-4B91-944E-3E248D564475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3" name="Footer Placeholder 3">
            <a:extLst>
              <a:ext uri="{FF2B5EF4-FFF2-40B4-BE49-F238E27FC236}">
                <a16:creationId xmlns:a16="http://schemas.microsoft.com/office/drawing/2014/main" id="{45924221-968B-489A-B12E-3DB03CF53A0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3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45253792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sm column icons - Graphic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DFF45C6-46F9-8640-A5F1-11290FCEA3EC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63904" y="2988783"/>
            <a:ext cx="2257675" cy="54833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429BA22C-8830-7E4A-B1E1-AC3DC42388CA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563904" y="4868879"/>
            <a:ext cx="2257675" cy="54833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A6A5AFD9-009A-4A4C-94F4-05A23B341CF2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3270816" y="2988783"/>
            <a:ext cx="2317184" cy="54833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8930094A-C63F-1B4B-8A52-5C7320E7BE21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3270816" y="4868879"/>
            <a:ext cx="2317184" cy="548336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4C085B0A-AD7F-468E-9CC5-0FE40B937CB6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2400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19A47C88-6D77-40E6-9F1E-6FF92AB2F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5034828" cy="148263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con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86AA7C8-7D59-46CE-A267-59CE001AF21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7" y="3727090"/>
            <a:ext cx="2267119" cy="675929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Aft>
                <a:spcPts val="267"/>
              </a:spcAft>
              <a:buNone/>
              <a:defRPr sz="1200"/>
            </a:lvl1pPr>
            <a:lvl2pPr marL="378865" indent="-152392">
              <a:lnSpc>
                <a:spcPct val="120000"/>
              </a:lnSpc>
              <a:spcAft>
                <a:spcPts val="267"/>
              </a:spcAft>
              <a:defRPr sz="933"/>
            </a:lvl2pPr>
            <a:lvl3pPr marL="687883" indent="-232822">
              <a:defRPr sz="667"/>
            </a:lvl3pPr>
            <a:lvl4pPr marL="916470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D602771-5223-47EB-BA07-406BD8C6942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61124" y="3727090"/>
            <a:ext cx="2326877" cy="675929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Aft>
                <a:spcPts val="267"/>
              </a:spcAft>
              <a:buNone/>
              <a:defRPr sz="1200"/>
            </a:lvl1pPr>
            <a:lvl2pPr marL="378865" indent="-152392">
              <a:lnSpc>
                <a:spcPct val="120000"/>
              </a:lnSpc>
              <a:spcAft>
                <a:spcPts val="267"/>
              </a:spcAft>
              <a:defRPr sz="933"/>
            </a:lvl2pPr>
            <a:lvl3pPr marL="687883" indent="-232822">
              <a:defRPr sz="667"/>
            </a:lvl3pPr>
            <a:lvl4pPr marL="916470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D47C9E04-F2BD-40A7-B46E-117AEBB53AF0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63907" y="5616956"/>
            <a:ext cx="2267119" cy="675929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Aft>
                <a:spcPts val="267"/>
              </a:spcAft>
              <a:buNone/>
              <a:defRPr sz="1200"/>
            </a:lvl1pPr>
            <a:lvl2pPr marL="378865" indent="-152392">
              <a:lnSpc>
                <a:spcPct val="120000"/>
              </a:lnSpc>
              <a:spcAft>
                <a:spcPts val="267"/>
              </a:spcAft>
              <a:defRPr sz="933"/>
            </a:lvl2pPr>
            <a:lvl3pPr marL="687883" indent="-232822">
              <a:defRPr sz="667"/>
            </a:lvl3pPr>
            <a:lvl4pPr marL="916470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CE5E9F3F-438C-4859-85E0-F4A6C4DAF8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61124" y="5616956"/>
            <a:ext cx="2326877" cy="675929"/>
          </a:xfrm>
        </p:spPr>
        <p:txBody>
          <a:bodyPr>
            <a:noAutofit/>
          </a:bodyPr>
          <a:lstStyle>
            <a:lvl1pPr marL="0" indent="0">
              <a:lnSpc>
                <a:spcPct val="120000"/>
              </a:lnSpc>
              <a:spcAft>
                <a:spcPts val="267"/>
              </a:spcAft>
              <a:buNone/>
              <a:defRPr sz="1200"/>
            </a:lvl1pPr>
            <a:lvl2pPr marL="378865" indent="-152392">
              <a:lnSpc>
                <a:spcPct val="120000"/>
              </a:lnSpc>
              <a:spcAft>
                <a:spcPts val="267"/>
              </a:spcAft>
              <a:defRPr sz="933"/>
            </a:lvl2pPr>
            <a:lvl3pPr marL="687883" indent="-232822">
              <a:defRPr sz="667"/>
            </a:lvl3pPr>
            <a:lvl4pPr marL="916470" indent="0">
              <a:buNone/>
              <a:defRPr sz="400"/>
            </a:lvl4pPr>
            <a:lvl5pPr>
              <a:defRPr sz="1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7" name="Slide Number Placeholder 4">
            <a:extLst>
              <a:ext uri="{FF2B5EF4-FFF2-40B4-BE49-F238E27FC236}">
                <a16:creationId xmlns:a16="http://schemas.microsoft.com/office/drawing/2014/main" id="{89496E11-838C-4853-9266-14C470B1EB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1DD1BAC7-1730-495E-82FF-94326537FCF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63907" y="2777348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434F53B-C383-4B15-BF37-0278F10B6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71856" y="2777348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D830F54C-BE4C-4892-AF17-69FB7EE275D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63907" y="465379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743047EE-B643-4307-9434-A43A6442CEA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271856" y="465379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:a16="http://schemas.microsoft.com/office/drawing/2014/main" id="{00863BCC-B5EC-45FB-844E-7C3682179BE3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056" y="761515"/>
            <a:ext cx="5181891" cy="5334975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4D616B35-E779-4164-BE39-DCA9FA45914B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2FFC1EA4-84C2-48E3-920F-27ACCC23E3E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-2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4" y="6390603"/>
            <a:ext cx="382947" cy="93184"/>
          </a:xfrm>
          <a:prstGeom prst="rect">
            <a:avLst/>
          </a:prstGeom>
        </p:spPr>
      </p:pic>
      <p:sp>
        <p:nvSpPr>
          <p:cNvPr id="29" name="Footer Placeholder 3">
            <a:extLst>
              <a:ext uri="{FF2B5EF4-FFF2-40B4-BE49-F238E27FC236}">
                <a16:creationId xmlns:a16="http://schemas.microsoft.com/office/drawing/2014/main" id="{7ADC0998-FC91-48CB-BBA2-E75826EA354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14336357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image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786035" y="431802"/>
            <a:ext cx="5405967" cy="5201356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786035" y="5893686"/>
            <a:ext cx="4745567" cy="22771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1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ED0CF905-953D-514D-A5C8-5787B32C1E0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6048" y="2209802"/>
            <a:ext cx="5451437" cy="1955628"/>
          </a:xfrm>
          <a:prstGeom prst="rect">
            <a:avLst/>
          </a:prstGeom>
        </p:spPr>
        <p:txBody>
          <a:bodyPr lIns="0" tIns="0" rIns="0" bIns="0" anchor="ctr" anchorCtr="0"/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4267" b="0" i="0" spc="0" baseline="0">
                <a:solidFill>
                  <a:schemeClr val="tx1"/>
                </a:solidFill>
                <a:latin typeface="CiscoSansTT ExtraLight" panose="020B0303020201020303" pitchFamily="34" charset="0"/>
                <a:cs typeface="CiscoSansTT ExtraLight" panose="020B0303020201020303" pitchFamily="34" charset="0"/>
              </a:defRPr>
            </a:lvl1pPr>
          </a:lstStyle>
          <a:p>
            <a:r>
              <a:rPr lang="en-GB"/>
              <a:t>Slide copy should</a:t>
            </a:r>
            <a:br>
              <a:rPr lang="en-GB"/>
            </a:br>
            <a:r>
              <a:rPr lang="en-GB"/>
              <a:t>go here</a:t>
            </a:r>
            <a:endParaRPr lang="en-US"/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590B87F-2616-792A-8A7A-058FE3E9E64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2127" y="431800"/>
            <a:ext cx="3489235" cy="304800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None/>
              <a:defRPr sz="1300" b="0" i="0" baseline="0">
                <a:solidFill>
                  <a:schemeClr val="tx1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406371" indent="0">
              <a:buNone/>
              <a:defRPr/>
            </a:lvl2pPr>
            <a:lvl3pPr marL="569863" indent="0">
              <a:buNone/>
              <a:defRPr/>
            </a:lvl3pPr>
            <a:lvl4pPr marL="688920" indent="0">
              <a:buNone/>
              <a:defRPr/>
            </a:lvl4pPr>
            <a:lvl5pPr marL="801621" indent="0">
              <a:buNone/>
              <a:defRPr/>
            </a:lvl5pPr>
          </a:lstStyle>
          <a:p>
            <a:pPr lvl="0"/>
            <a:r>
              <a:rPr lang="en-GB"/>
              <a:t>Section title</a:t>
            </a:r>
          </a:p>
        </p:txBody>
      </p:sp>
    </p:spTree>
    <p:extLst>
      <p:ext uri="{BB962C8B-B14F-4D97-AF65-F5344CB8AC3E}">
        <p14:creationId xmlns:p14="http://schemas.microsoft.com/office/powerpoint/2010/main" val="17560155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7" pos="4275">
          <p15:clr>
            <a:srgbClr val="FBAE40"/>
          </p15:clr>
        </p15:guide>
      </p15:sldGuideLst>
    </p:ext>
  </p:extLst>
</p:sldLayout>
</file>

<file path=ppt/slideLayouts/slideLayout9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Only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ction title" descr="Section title">
            <a:extLst>
              <a:ext uri="{FF2B5EF4-FFF2-40B4-BE49-F238E27FC236}">
                <a16:creationId xmlns:a16="http://schemas.microsoft.com/office/drawing/2014/main" id="{EF09DA38-672D-0EE2-950C-353E1B6003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0"/>
            <a:ext cx="9144" cy="9144"/>
          </a:xfrm>
          <a:prstGeom prst="rect">
            <a:avLst/>
          </a:prstGeom>
        </p:spPr>
        <p:txBody>
          <a:bodyPr lIns="45720" tIns="45720" rIns="45720" bIns="45720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" b="0" i="0" baseline="0">
                <a:noFill/>
                <a:latin typeface="+mn-lt"/>
                <a:cs typeface="CiscoSansTT Light" panose="020B0503020201020303" pitchFamily="34" charset="0"/>
              </a:defRPr>
            </a:lvl1pPr>
            <a:lvl2pPr marL="406371" indent="0">
              <a:buNone/>
              <a:defRPr/>
            </a:lvl2pPr>
            <a:lvl3pPr marL="569863" indent="0">
              <a:buNone/>
              <a:defRPr/>
            </a:lvl3pPr>
            <a:lvl4pPr marL="688920" indent="0">
              <a:buNone/>
              <a:defRPr/>
            </a:lvl4pPr>
            <a:lvl5pPr marL="801621" indent="0">
              <a:buNone/>
              <a:defRPr/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48FA65F1-BAFB-6C36-2878-6CF1B8179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384079"/>
            <a:ext cx="10972800" cy="68580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4155145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E86F225C-F7F7-4528-849E-361C51FFBC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904" y="556260"/>
            <a:ext cx="11077296" cy="569387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11696DE5-6EFF-4C09-9943-5FCA93FF633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57352" y="1681908"/>
            <a:ext cx="11077296" cy="449452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8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785EB8-888E-7D14-2C5D-B37C8AF6017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17CB3F2-1C8B-4BAA-B4E7-5718FFCCDE3C}"/>
              </a:ext>
            </a:extLst>
          </p:cNvPr>
          <p:cNvSpPr txBox="1"/>
          <p:nvPr/>
        </p:nvSpPr>
        <p:spPr>
          <a:xfrm>
            <a:off x="7658100" y="165354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20000"/>
              </a:lnSpc>
            </a:pP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25256032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8D1B80E-B3A9-3CA5-F714-B99C16D36790}"/>
              </a:ext>
            </a:extLst>
          </p:cNvPr>
          <p:cNvSpPr/>
          <p:nvPr/>
        </p:nvSpPr>
        <p:spPr>
          <a:xfrm>
            <a:off x="9144000" y="6156960"/>
            <a:ext cx="2727960" cy="54864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5720" rIns="45720" rtlCol="0" anchor="ctr"/>
          <a:lstStyle/>
          <a:p>
            <a:pPr algn="ctr"/>
            <a:endParaRPr lang="en-US"/>
          </a:p>
        </p:txBody>
      </p:sp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2C94DA5F-CCF7-A048-8A5D-EE8276E901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3" y="431800"/>
            <a:ext cx="6096000" cy="6045200"/>
          </a:xfrm>
          <a:prstGeom prst="rect">
            <a:avLst/>
          </a:prstGeom>
          <a:solidFill>
            <a:schemeClr val="bg2">
              <a:alpha val="15000"/>
            </a:schemeClr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B8ED364C-BAF2-9F2F-E224-E59C48A7EF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55904" y="541933"/>
            <a:ext cx="4572000" cy="30480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Font typeface="Arial" panose="020B0604020202020204" pitchFamily="34" charset="0"/>
              <a:buNone/>
              <a:defRPr sz="1400" b="0" i="0" baseline="0">
                <a:solidFill>
                  <a:srgbClr val="00BCF5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406371" indent="0">
              <a:buNone/>
              <a:defRPr/>
            </a:lvl2pPr>
            <a:lvl3pPr marL="569863" indent="0">
              <a:buNone/>
              <a:defRPr/>
            </a:lvl3pPr>
            <a:lvl4pPr marL="688920" indent="0">
              <a:buNone/>
              <a:defRPr/>
            </a:lvl4pPr>
            <a:lvl5pPr marL="801621" indent="0">
              <a:buNone/>
              <a:defRPr/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B93CE8B-2A39-4C51-DEFC-338F8C1A90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5904" y="2389491"/>
            <a:ext cx="4594524" cy="166878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 sz="40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84F55AE-6CED-968C-7353-F50B3DF1E536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770878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567">
          <p15:clr>
            <a:srgbClr val="FBAE40"/>
          </p15:clr>
        </p15:guide>
      </p15:sldGuideLst>
    </p:ext>
  </p:extLst>
</p:sldLayout>
</file>

<file path=ppt/slideLayouts/slideLayout9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 with screenshot, no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555904" y="2204562"/>
            <a:ext cx="4599905" cy="569387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4000" b="0" i="0" spc="-120" baseline="0">
                <a:latin typeface="CiscoSansTT Medium" panose="020B0503020201020303" pitchFamily="34" charset="0"/>
                <a:cs typeface="CiscoSansTT Medium" panose="020B0503020201020303" pitchFamily="34" charset="0"/>
              </a:defRPr>
            </a:lvl1pPr>
          </a:lstStyle>
          <a:p>
            <a:r>
              <a:rPr lang="en-US"/>
              <a:t>Slide Title</a:t>
            </a:r>
            <a:endParaRPr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2D871F-B242-44BA-3DE6-A98C539043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5904" y="2987040"/>
            <a:ext cx="4599905" cy="2997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100"/>
            </a:lvl4pPr>
            <a:lvl5pPr>
              <a:defRPr sz="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0A06BC-8190-2960-C7CA-7935B0BCBC0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854488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ullets with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555904" y="2204562"/>
            <a:ext cx="4599905" cy="569387"/>
          </a:xfrm>
          <a:prstGeom prst="rect">
            <a:avLst/>
          </a:prstGeom>
        </p:spPr>
        <p:txBody>
          <a:bodyPr wrap="square" lIns="0" tIns="0" rIns="0" bIns="0" anchor="b" anchorCtr="0">
            <a:spAutoFit/>
          </a:bodyPr>
          <a:lstStyle>
            <a:lvl1pPr algn="l">
              <a:defRPr sz="4000" b="0" i="0" spc="-120" baseline="0">
                <a:latin typeface="CiscoSansTT Medium" panose="020B0503020201020303" pitchFamily="34" charset="0"/>
                <a:cs typeface="CiscoSansTT Medium" panose="020B0503020201020303" pitchFamily="34" charset="0"/>
              </a:defRPr>
            </a:lvl1pPr>
          </a:lstStyle>
          <a:p>
            <a:r>
              <a:rPr lang="en-US"/>
              <a:t>Slide Title</a:t>
            </a:r>
            <a:endParaRPr/>
          </a:p>
        </p:txBody>
      </p:sp>
      <p:sp>
        <p:nvSpPr>
          <p:cNvPr id="32" name="正文级别 1…"/>
          <p:cNvSpPr txBox="1">
            <a:spLocks noGrp="1"/>
          </p:cNvSpPr>
          <p:nvPr>
            <p:ph type="body" idx="1" hasCustomPrompt="1"/>
          </p:nvPr>
        </p:nvSpPr>
        <p:spPr>
          <a:xfrm>
            <a:off x="555904" y="2930984"/>
            <a:ext cx="4599905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>
              <a:buNone/>
              <a:defRPr sz="2000" b="0" i="0" spc="-100" baseline="0">
                <a:solidFill>
                  <a:srgbClr val="00BCF5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304800" indent="0" algn="ctr">
              <a:buNone/>
              <a:defRPr sz="2000"/>
            </a:lvl2pPr>
            <a:lvl3pPr marL="609600" indent="0" algn="ctr">
              <a:buNone/>
              <a:defRPr sz="2000"/>
            </a:lvl3pPr>
            <a:lvl4pPr marL="914400" indent="0" algn="ctr">
              <a:buNone/>
              <a:defRPr sz="2000"/>
            </a:lvl4pPr>
            <a:lvl5pPr marL="1219200" indent="0" algn="ctr">
              <a:buNone/>
              <a:defRPr sz="2000"/>
            </a:lvl5pPr>
          </a:lstStyle>
          <a:p>
            <a:r>
              <a:rPr lang="en-US"/>
              <a:t>Caption</a:t>
            </a:r>
            <a:endParaRPr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D2D871F-B242-44BA-3DE6-A98C53904395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55904" y="3429000"/>
            <a:ext cx="4599905" cy="2997200"/>
          </a:xfrm>
        </p:spPr>
        <p:txBody>
          <a:bodyPr/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100"/>
            </a:lvl4pPr>
            <a:lvl5pPr>
              <a:defRPr sz="7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0A06BC-8190-2960-C7CA-7935B0BCBC0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9529509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screensho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555904" y="3144307"/>
            <a:ext cx="4599905" cy="5693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algn="l">
              <a:defRPr sz="4000" b="0" i="0" spc="-120" baseline="0">
                <a:latin typeface="CiscoSansTT Medium" panose="020B0503020201020303" pitchFamily="34" charset="0"/>
                <a:cs typeface="CiscoSansTT Medium" panose="020B0503020201020303" pitchFamily="34" charset="0"/>
              </a:defRPr>
            </a:lvl1pPr>
          </a:lstStyle>
          <a:p>
            <a:r>
              <a:rPr lang="en-US"/>
              <a:t>Slide Title</a:t>
            </a:r>
            <a:endParaRPr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180A06BC-8190-2960-C7CA-7935B0BCBC05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38784516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E1C715D-9112-4A01-AD63-361439BFB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541933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E43F6E-A8D0-4155-BD27-8561034BB2B8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41706351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48.xml><?xml version="1.0" encoding="utf-8"?>
<p:sldLayout xmlns:a="http://schemas.openxmlformats.org/drawingml/2006/main" xmlns:r="http://schemas.openxmlformats.org/officeDocument/2006/relationships" xmlns:p="http://schemas.openxmlformats.org/presentationml/2006/main" type="tx" preserve="1">
  <p:cSld name="titl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Slide Title"/>
          <p:cNvSpPr txBox="1">
            <a:spLocks noGrp="1"/>
          </p:cNvSpPr>
          <p:nvPr>
            <p:ph type="title" hasCustomPrompt="1"/>
          </p:nvPr>
        </p:nvSpPr>
        <p:spPr>
          <a:xfrm>
            <a:off x="555904" y="570402"/>
            <a:ext cx="11077296" cy="569387"/>
          </a:xfrm>
          <a:prstGeom prst="rect">
            <a:avLst/>
          </a:prstGeom>
        </p:spPr>
        <p:txBody>
          <a:bodyPr wrap="square" lIns="0" tIns="0" rIns="0" bIns="0" anchor="ctr" anchorCtr="0">
            <a:spAutoFit/>
          </a:bodyPr>
          <a:lstStyle>
            <a:lvl1pPr algn="ctr">
              <a:defRPr sz="4000" b="0" i="0" spc="-120" baseline="0">
                <a:latin typeface="CiscoSansTT Medium" panose="020B0503020201020303" pitchFamily="34" charset="0"/>
                <a:cs typeface="CiscoSansTT Medium" panose="020B0503020201020303" pitchFamily="34" charset="0"/>
              </a:defRPr>
            </a:lvl1pPr>
          </a:lstStyle>
          <a:p>
            <a:r>
              <a:rPr lang="en-US"/>
              <a:t>Slide Title</a:t>
            </a:r>
            <a:endParaRPr/>
          </a:p>
        </p:txBody>
      </p:sp>
      <p:sp>
        <p:nvSpPr>
          <p:cNvPr id="32" name="正文级别 1…"/>
          <p:cNvSpPr txBox="1">
            <a:spLocks noGrp="1"/>
          </p:cNvSpPr>
          <p:nvPr>
            <p:ph type="body" idx="1" hasCustomPrompt="1"/>
          </p:nvPr>
        </p:nvSpPr>
        <p:spPr>
          <a:xfrm>
            <a:off x="555904" y="1142866"/>
            <a:ext cx="11077296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 spc="-100" baseline="0">
                <a:solidFill>
                  <a:srgbClr val="00BCF5"/>
                </a:solidFill>
              </a:defRPr>
            </a:lvl1pPr>
            <a:lvl2pPr marL="304800" indent="0" algn="ctr">
              <a:buNone/>
              <a:defRPr sz="2000"/>
            </a:lvl2pPr>
            <a:lvl3pPr marL="609600" indent="0" algn="ctr">
              <a:buNone/>
              <a:defRPr sz="2000"/>
            </a:lvl3pPr>
            <a:lvl4pPr marL="914400" indent="0" algn="ctr">
              <a:buNone/>
              <a:defRPr sz="2000"/>
            </a:lvl4pPr>
            <a:lvl5pPr marL="1219200" indent="0" algn="ctr">
              <a:buNone/>
              <a:defRPr sz="2000"/>
            </a:lvl5pPr>
          </a:lstStyle>
          <a:p>
            <a:r>
              <a:rPr lang="en-US"/>
              <a:t>Caption</a:t>
            </a:r>
            <a:endParaRPr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FCFD2167-ACD6-18D8-49F4-35CCB6076E47}"/>
              </a:ext>
            </a:extLst>
          </p:cNvPr>
          <p:cNvSpPr txBox="1"/>
          <p:nvPr/>
        </p:nvSpPr>
        <p:spPr>
          <a:xfrm>
            <a:off x="4511040" y="792480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20000"/>
              </a:lnSpc>
            </a:pPr>
            <a:endParaRPr lang="en-US" sz="1600"/>
          </a:p>
        </p:txBody>
      </p:sp>
    </p:spTree>
    <p:extLst>
      <p:ext uri="{BB962C8B-B14F-4D97-AF65-F5344CB8AC3E}">
        <p14:creationId xmlns:p14="http://schemas.microsoft.com/office/powerpoint/2010/main" val="157263006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with Sub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8EE2313-2646-4E0B-B6B4-BA07574D2F8A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571500" y="1154462"/>
            <a:ext cx="11043376" cy="307777"/>
          </a:xfrm>
        </p:spPr>
        <p:txBody>
          <a:bodyPr>
            <a:spAutoFit/>
          </a:bodyPr>
          <a:lstStyle>
            <a:lvl1pPr marL="0" indent="0">
              <a:buFont typeface="Arial" panose="020B0604020202020204" pitchFamily="34" charset="0"/>
              <a:buNone/>
              <a:defRPr sz="2000" b="0" i="0" spc="-100" baseline="0">
                <a:solidFill>
                  <a:srgbClr val="00BCF5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0" indent="0">
              <a:buNone/>
              <a:defRPr/>
            </a:lvl2pPr>
            <a:lvl3pPr marL="228600" indent="0">
              <a:buNone/>
              <a:defRPr/>
            </a:lvl3pPr>
            <a:lvl4pPr marL="406400" indent="0">
              <a:buNone/>
              <a:defRPr/>
            </a:lvl4pPr>
            <a:lvl5pPr marL="57150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572B255-D144-453C-90FA-BB07F680CF0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7" name="Title Placeholder 1">
            <a:extLst>
              <a:ext uri="{FF2B5EF4-FFF2-40B4-BE49-F238E27FC236}">
                <a16:creationId xmlns:a16="http://schemas.microsoft.com/office/drawing/2014/main" id="{4D9DF569-2B30-EE4C-8D21-F21B97793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541933"/>
            <a:ext cx="11049000" cy="553998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2401366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with transparent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>
                <a:solidFill>
                  <a:sysClr val="windowText" lastClr="00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BA091B5-A806-4305-BC24-7E50D3D4B3A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0" y="2870201"/>
            <a:ext cx="5029200" cy="342228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  <a:p>
            <a:pPr marL="228589" lvl="3" indent="-228589"/>
            <a:r>
              <a:rPr lang="en-US"/>
              <a:t>Four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848DCA2-1B24-46EE-95C8-6D3E57E0DD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034827" cy="168467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99F7D69-A9F4-4F01-BFAC-42E7473B3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E7FC8E3-F8D5-4DC5-9A71-8969BF710071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85E86296-46B5-4176-82D9-9548F258FF3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5378131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>
            <a:extLst>
              <a:ext uri="{FF2B5EF4-FFF2-40B4-BE49-F238E27FC236}">
                <a16:creationId xmlns:a16="http://schemas.microsoft.com/office/drawing/2014/main" id="{98C1C862-6F14-47C3-885D-12D6E1A99AA2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66225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olo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4">
            <a:extLst>
              <a:ext uri="{FF2B5EF4-FFF2-40B4-BE49-F238E27FC236}">
                <a16:creationId xmlns:a16="http://schemas.microsoft.com/office/drawing/2014/main" id="{810C81B9-7CCA-4D12-920B-B5DCB07545E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8ECCB6B-46C4-4E71-97ED-219163FCE9B9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4621989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-Closing Log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ED16B0B4-3520-4FD1-A485-FDE64BA8BD31}"/>
              </a:ext>
            </a:extLst>
          </p:cNvPr>
          <p:cNvSpPr/>
          <p:nvPr/>
        </p:nvSpPr>
        <p:spPr>
          <a:xfrm>
            <a:off x="11219935" y="6431691"/>
            <a:ext cx="400565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E92773B-7150-44D2-AFDB-DE60A8A0F625}"/>
              </a:ext>
            </a:extLst>
          </p:cNvPr>
          <p:cNvSpPr/>
          <p:nvPr/>
        </p:nvSpPr>
        <p:spPr>
          <a:xfrm>
            <a:off x="304800" y="6414273"/>
            <a:ext cx="2819400" cy="179173"/>
          </a:xfrm>
          <a:prstGeom prst="rect">
            <a:avLst/>
          </a:prstGeom>
          <a:solidFill>
            <a:srgbClr val="12121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Picture 6" descr="Logo, company name&#10;&#10;Description automatically generated">
            <a:extLst>
              <a:ext uri="{FF2B5EF4-FFF2-40B4-BE49-F238E27FC236}">
                <a16:creationId xmlns:a16="http://schemas.microsoft.com/office/drawing/2014/main" id="{BEBFBF78-0E90-472B-B2BB-48C8ECC3854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39585" y="2209800"/>
            <a:ext cx="2912830" cy="2133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76266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473C8124-BA09-4AFB-BB26-FEFD291E1A72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rgbClr val="1E1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sz="2432"/>
          </a:p>
        </p:txBody>
      </p:sp>
      <p:sp>
        <p:nvSpPr>
          <p:cNvPr id="13" name="Content Placeholder 4">
            <a:extLst>
              <a:ext uri="{FF2B5EF4-FFF2-40B4-BE49-F238E27FC236}">
                <a16:creationId xmlns:a16="http://schemas.microsoft.com/office/drawing/2014/main" id="{1E1BB935-C530-47D2-883E-00828E3A8FC8}"/>
              </a:ext>
            </a:extLst>
          </p:cNvPr>
          <p:cNvSpPr>
            <a:spLocks noGrp="1"/>
          </p:cNvSpPr>
          <p:nvPr>
            <p:ph sz="quarter" idx="21" hasCustomPrompt="1"/>
          </p:nvPr>
        </p:nvSpPr>
        <p:spPr>
          <a:xfrm>
            <a:off x="6553200" y="609601"/>
            <a:ext cx="5067300" cy="5600700"/>
          </a:xfrm>
        </p:spPr>
        <p:txBody>
          <a:bodyPr lIns="182880" tIns="182880" rIns="182880" bIns="182880">
            <a:noAutofit/>
          </a:bodyPr>
          <a:lstStyle>
            <a:lvl1pPr marL="0" indent="0" algn="ctr">
              <a:buNone/>
              <a:defRPr sz="1867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Insert chart or graphic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D970870-8847-48D6-ACCA-B0F7D662F2EC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 marL="346075" indent="-171450">
              <a:buFont typeface="Arial" panose="020B0604020202020204" pitchFamily="34" charset="0"/>
              <a:buChar char="•"/>
              <a:defRPr sz="1200"/>
            </a:lvl3pPr>
            <a:lvl4pPr marL="514350" indent="-171450">
              <a:buFont typeface="Arial" panose="020B0604020202020204" pitchFamily="34" charset="0"/>
              <a:buChar char="•"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8CEBD18-98E9-4568-A90A-5715A834E2B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7300" cy="11079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7" name="Slide Number Placeholder 5">
            <a:extLst>
              <a:ext uri="{FF2B5EF4-FFF2-40B4-BE49-F238E27FC236}">
                <a16:creationId xmlns:a16="http://schemas.microsoft.com/office/drawing/2014/main" id="{938F8A1A-3A97-4C8E-9550-2C62BC10A83F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3706877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9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44873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hdr="0" dt="0"/>
</p:sldLayout>
</file>

<file path=ppt/slideLayouts/slideLayout9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-Quot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6A164E9-1234-4BC2-B8E7-F3047AC35998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59BFEE4A-F2C6-4F21-8071-313D1B3C613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3429000" y="4648200"/>
            <a:ext cx="7239000" cy="247760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400" b="0" i="0" spc="0" baseline="0">
                <a:solidFill>
                  <a:schemeClr val="tx1"/>
                </a:solidFill>
                <a:latin typeface="CiscoSansTT Medium" panose="020B0903020201020303" pitchFamily="34" charset="0"/>
                <a:cs typeface="CiscoSansTT Medium" panose="020B09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Insert name here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2361C734-A636-4E0E-A708-B9C530351863}"/>
              </a:ext>
            </a:extLst>
          </p:cNvPr>
          <p:cNvSpPr>
            <a:spLocks noGrp="1"/>
          </p:cNvSpPr>
          <p:nvPr>
            <p:ph type="body" sz="half" idx="12" hasCustomPrompt="1"/>
          </p:nvPr>
        </p:nvSpPr>
        <p:spPr>
          <a:xfrm>
            <a:off x="3429000" y="4948301"/>
            <a:ext cx="7239000" cy="196913"/>
          </a:xfrm>
          <a:prstGeom prst="rect">
            <a:avLst/>
          </a:prstGeom>
        </p:spPr>
        <p:txBody>
          <a:bodyPr wrap="square" lIns="0" rIns="0">
            <a:spAutoFit/>
          </a:bodyPr>
          <a:lstStyle>
            <a:lvl1pPr marL="0" indent="0">
              <a:buNone/>
              <a:defRPr sz="1200" b="0" i="0" spc="0" baseline="0">
                <a:solidFill>
                  <a:schemeClr val="tx1"/>
                </a:solidFill>
                <a:latin typeface="+mj-lt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Job title, company, location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EDDA5770-9471-B746-BDC8-3306A091203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180521" y="2057400"/>
            <a:ext cx="7239000" cy="2438400"/>
          </a:xfrm>
        </p:spPr>
        <p:txBody>
          <a:bodyPr anchor="t" anchorCtr="0">
            <a:normAutofit/>
          </a:bodyPr>
          <a:lstStyle>
            <a:lvl1pPr marL="228600" indent="-457200">
              <a:lnSpc>
                <a:spcPct val="80000"/>
              </a:lnSpc>
              <a:buNone/>
              <a:defRPr sz="4000" spc="0">
                <a:latin typeface="+mj-lt"/>
              </a:defRPr>
            </a:lvl1pPr>
            <a:lvl2pPr marL="302676" indent="0">
              <a:buNone/>
              <a:defRPr sz="4000"/>
            </a:lvl2pPr>
          </a:lstStyle>
          <a:p>
            <a:pPr lvl="0"/>
            <a:r>
              <a:rPr lang="en-US"/>
              <a:t>Click to add quotation</a:t>
            </a:r>
          </a:p>
        </p:txBody>
      </p:sp>
      <p:sp>
        <p:nvSpPr>
          <p:cNvPr id="12" name="Slide Number Placeholder 5">
            <a:extLst>
              <a:ext uri="{FF2B5EF4-FFF2-40B4-BE49-F238E27FC236}">
                <a16:creationId xmlns:a16="http://schemas.microsoft.com/office/drawing/2014/main" id="{C2453D8B-1785-4D30-B87D-91AEE8A23A98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768252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eft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8D6DF483-DD51-444D-AF16-AF31E72FDD4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1500" y="1905000"/>
            <a:ext cx="50673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 marL="514350" indent="-171450">
              <a:buFont typeface="Arial" panose="020B0604020202020204" pitchFamily="34" charset="0"/>
              <a:buChar char="•"/>
              <a:defRPr sz="1000"/>
            </a:lvl4pPr>
            <a:lvl5pPr>
              <a:defRPr sz="533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50BAC715-F543-452A-80B1-3A07B10B21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067300" cy="997196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36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5F48862-22C1-482F-B821-3D8CC682DAB1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>
                <a:ln>
                  <a:noFill/>
                </a:ln>
                <a:solidFill>
                  <a:srgbClr val="414244"/>
                </a:solidFill>
                <a:effectLst/>
                <a:uLnTx/>
                <a:uFillTx/>
                <a:latin typeface="CiscoSansTT Light"/>
                <a:ea typeface="ＭＳ Ｐゴシック" charset="0"/>
                <a:cs typeface="+mn-cs"/>
              </a:rPr>
              <a:t>© 2023 Cisco and/or its affiliates. All rights reserved. Cisco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8524910-4FFE-49EA-99DE-65BFB724546B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26372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A7D7A393-7AAB-4C35-B2E9-5B44BBD349B3}" type="slidenum">
              <a:rPr kumimoji="0" lang="en-US" sz="800" b="0" i="0" u="none" strike="noStrike" kern="1200" cap="none" spc="0" normalizeH="0" baseline="0" noProof="0" smtClean="0">
                <a:ln>
                  <a:noFill/>
                </a:ln>
                <a:solidFill>
                  <a:srgbClr val="414244"/>
                </a:solidFill>
                <a:effectLst/>
                <a:uLnTx/>
                <a:uFillTx/>
                <a:latin typeface="CiscoSansTT Light"/>
                <a:ea typeface="+mn-ea"/>
                <a:cs typeface="+mn-cs"/>
              </a:rPr>
              <a:pPr marL="0" marR="0" lvl="0" indent="0" algn="r" defTabSz="926372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800" b="0" i="0" u="none" strike="noStrike" kern="1200" cap="none" spc="0" normalizeH="0" baseline="0" noProof="0">
              <a:ln>
                <a:noFill/>
              </a:ln>
              <a:solidFill>
                <a:srgbClr val="414244"/>
              </a:solidFill>
              <a:effectLst/>
              <a:uLnTx/>
              <a:uFillTx/>
              <a:latin typeface="CiscoSansTT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100128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3" pos="3552">
          <p15:clr>
            <a:srgbClr val="A4A3A4"/>
          </p15:clr>
        </p15:guide>
        <p15:guide id="4" pos="4128">
          <p15:clr>
            <a:srgbClr val="A4A3A4"/>
          </p15:clr>
        </p15:guide>
      </p15:sldGuideLst>
    </p:ext>
  </p:extLst>
</p:sldLayout>
</file>

<file path=ppt/slideLayouts/slideLayout9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31B612A0-3EA5-FC80-F513-4D6E4F71126D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8855525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 with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2DF9BBDA-0080-9D4C-8B45-AD17279D9D53}"/>
              </a:ext>
            </a:extLst>
          </p:cNvPr>
          <p:cNvSpPr>
            <a:spLocks noGrp="1"/>
          </p:cNvSpPr>
          <p:nvPr>
            <p:ph type="pic" sz="quarter" idx="22" hasCustomPrompt="1"/>
          </p:nvPr>
        </p:nvSpPr>
        <p:spPr>
          <a:xfrm>
            <a:off x="3429000" y="0"/>
            <a:ext cx="8762999" cy="68580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ctr" anchorCtr="0">
            <a:normAutofit/>
          </a:bodyPr>
          <a:lstStyle>
            <a:lvl1pPr marL="0" indent="0" algn="ctr" defTabSz="882171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1000"/>
              </a:spcAft>
              <a:buFont typeface="Arial" panose="020B0604020202020204" pitchFamily="34" charset="0"/>
              <a:buNone/>
              <a:defRPr lang="en-US" sz="1600" b="0" i="0" kern="1200" spc="0" baseline="0" dirty="0">
                <a:solidFill>
                  <a:schemeClr val="tx1"/>
                </a:solidFill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Drag &amp; drop your photo here </a:t>
            </a:r>
            <a:br>
              <a:rPr lang="en-US"/>
            </a:br>
            <a:r>
              <a:rPr lang="en-US"/>
              <a:t>or click or tap icon </a:t>
            </a:r>
            <a:br>
              <a:rPr lang="en-US"/>
            </a:br>
            <a:r>
              <a:rPr lang="en-US"/>
              <a:t>below to insert</a:t>
            </a:r>
          </a:p>
          <a:p>
            <a:endParaRPr lang="en-US"/>
          </a:p>
          <a:p>
            <a:endParaRPr lang="en-US"/>
          </a:p>
          <a:p>
            <a:endParaRPr lang="en-US"/>
          </a:p>
          <a:p>
            <a:endParaRPr lang="en-US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E53D584C-A8BE-4DAF-B32F-D1B11EBFCF39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571499" y="4891977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66B9D699-AF59-48ED-A3DE-B1F21CCE4483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571499" y="5486401"/>
            <a:ext cx="2552700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8501264-73B3-4EA4-BF9F-47923C9D6B29}"/>
              </a:ext>
            </a:extLst>
          </p:cNvPr>
          <p:cNvSpPr>
            <a:spLocks noGrp="1"/>
          </p:cNvSpPr>
          <p:nvPr>
            <p:ph type="body" sz="quarter" idx="67"/>
          </p:nvPr>
        </p:nvSpPr>
        <p:spPr>
          <a:xfrm>
            <a:off x="571498" y="3631820"/>
            <a:ext cx="2552701" cy="723900"/>
          </a:xfrm>
        </p:spPr>
        <p:txBody>
          <a:bodyPr/>
          <a:lstStyle>
            <a:lvl1pPr>
              <a:spcAft>
                <a:spcPts val="300"/>
              </a:spcAft>
              <a:defRPr sz="1200"/>
            </a:lvl1pPr>
            <a:lvl2pPr marL="173038" indent="-173038">
              <a:spcAft>
                <a:spcPts val="300"/>
              </a:spcAft>
              <a:defRPr sz="1100"/>
            </a:lvl2pPr>
            <a:lvl3pPr marL="346075" indent="-173038">
              <a:spcAft>
                <a:spcPts val="300"/>
              </a:spcAft>
              <a:defRPr sz="1050"/>
            </a:lvl3pPr>
            <a:lvl4pPr marL="457200" indent="-111125">
              <a:spcAft>
                <a:spcPts val="300"/>
              </a:spcAft>
              <a:defRPr sz="600"/>
            </a:lvl4pPr>
            <a:lvl5pPr marL="574675" indent="-117475">
              <a:spcAft>
                <a:spcPts val="300"/>
              </a:spcAft>
              <a:defRPr sz="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5BFF3D98-5023-435C-89E8-DE6C777DC9BF}"/>
              </a:ext>
            </a:extLst>
          </p:cNvPr>
          <p:cNvSpPr>
            <a:spLocks noGrp="1"/>
          </p:cNvSpPr>
          <p:nvPr>
            <p:ph type="body" sz="quarter" idx="68"/>
          </p:nvPr>
        </p:nvSpPr>
        <p:spPr>
          <a:xfrm>
            <a:off x="571498" y="3037396"/>
            <a:ext cx="2552701" cy="492443"/>
          </a:xfrm>
        </p:spPr>
        <p:txBody>
          <a:bodyPr wrap="square" anchor="b" anchorCtr="0">
            <a:spAutoFit/>
          </a:bodyPr>
          <a:lstStyle>
            <a:lvl1pPr>
              <a:defRPr>
                <a:latin typeface="+mj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2F1A913C-478C-4159-AD61-19314F8B1D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2552699" cy="2057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 lvl="0" algn="l" defTabSz="882171" rtl="0" eaLnBrk="1" latinLnBrk="0" hangingPunct="1">
              <a:lnSpc>
                <a:spcPct val="90000"/>
              </a:lnSpc>
              <a:spcBef>
                <a:spcPct val="0"/>
              </a:spcBef>
              <a:buNone/>
            </a:pPr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19258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Left 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4C42D79D-196D-79B2-C9D9-9E420F6F73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2013" y="2941508"/>
            <a:ext cx="10972800" cy="1504200"/>
          </a:xfrm>
          <a:prstGeom prst="rect">
            <a:avLst/>
          </a:prstGeom>
          <a:noFill/>
        </p:spPr>
        <p:txBody>
          <a:bodyPr lIns="45720" tIns="45720" rIns="45720" bIns="45720"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400" b="0" i="0" spc="0" baseline="0">
                <a:solidFill>
                  <a:schemeClr val="accent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</a:t>
            </a:r>
            <a:endParaRPr lang="en-US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8D946DB3-26D2-2EE1-728C-7D32C4930F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2013" y="4533638"/>
            <a:ext cx="10972800" cy="398668"/>
          </a:xfrm>
          <a:prstGeom prst="rect">
            <a:avLst/>
          </a:prstGeom>
          <a:noFill/>
        </p:spPr>
        <p:txBody>
          <a:bodyPr lIns="45720" tIns="45720" rIns="45720" bIns="4572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2400" b="0" i="0" baseline="0">
                <a:solidFill>
                  <a:schemeClr val="accent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07CA8F8-C47B-50F4-9C65-C46111F86B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2013" y="5150448"/>
            <a:ext cx="10972800" cy="548640"/>
          </a:xfrm>
          <a:prstGeom prst="rect">
            <a:avLst/>
          </a:prstGeom>
          <a:noFill/>
        </p:spPr>
        <p:txBody>
          <a:bodyPr lIns="45720" tIns="45720" rIns="45720" bIns="4572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57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, Speaker title </a:t>
            </a:r>
            <a:br>
              <a:rPr lang="en-GB"/>
            </a:br>
            <a:r>
              <a:rPr lang="en-GB"/>
              <a:t>Department</a:t>
            </a:r>
          </a:p>
        </p:txBody>
      </p:sp>
      <p:pic>
        <p:nvPicPr>
          <p:cNvPr id="25" name="Picture 7">
            <a:extLst>
              <a:ext uri="{FF2B5EF4-FFF2-40B4-BE49-F238E27FC236}">
                <a16:creationId xmlns:a16="http://schemas.microsoft.com/office/drawing/2014/main" id="{C5A29C15-48D7-6644-9164-6F819B3D7D8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09603" y="431800"/>
            <a:ext cx="714359" cy="375341"/>
          </a:xfrm>
          <a:prstGeom prst="rect">
            <a:avLst/>
          </a:prstGeom>
        </p:spPr>
      </p:pic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5B2559ED-95F1-F66B-5A2F-A212CE3F2F8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2013" y="5824731"/>
            <a:ext cx="10972800" cy="287339"/>
          </a:xfrm>
          <a:prstGeom prst="rect">
            <a:avLst/>
          </a:prstGeom>
        </p:spPr>
        <p:txBody>
          <a:bodyPr lIns="45720" rIns="45720"/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8619892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 with photo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C8C1DAE-07C6-4799-AB2A-6BC4035F1F94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0" y="0"/>
            <a:ext cx="6096000" cy="6858000"/>
          </a:xfrm>
          <a:solidFill>
            <a:srgbClr val="F2F2F2"/>
          </a:solidFill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Content Placeholder 6">
            <a:extLst>
              <a:ext uri="{FF2B5EF4-FFF2-40B4-BE49-F238E27FC236}">
                <a16:creationId xmlns:a16="http://schemas.microsoft.com/office/drawing/2014/main" id="{EFB02FA9-F74D-409A-AE50-03692123A909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6479178" y="2870202"/>
            <a:ext cx="5154188" cy="360679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  <a:lvl4pPr>
              <a:defRPr lang="en-US" sz="400"/>
            </a:lvl4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  <a:p>
            <a:pPr marL="228589" lvl="3" indent="-228589"/>
            <a:r>
              <a:rPr lang="en-US"/>
              <a:t>Fourth level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A66571F9-8F5F-4F9C-B69D-8194767FDE8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479177" y="990600"/>
            <a:ext cx="5154025" cy="160803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2" name="Slide Number Placeholder 4">
            <a:extLst>
              <a:ext uri="{FF2B5EF4-FFF2-40B4-BE49-F238E27FC236}">
                <a16:creationId xmlns:a16="http://schemas.microsoft.com/office/drawing/2014/main" id="{357B425C-8918-4CBA-983D-64802070691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7771699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Left Sky 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4C42D79D-196D-79B2-C9D9-9E420F6F73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2013" y="2941508"/>
            <a:ext cx="10972800" cy="1504200"/>
          </a:xfrm>
          <a:prstGeom prst="rect">
            <a:avLst/>
          </a:prstGeom>
          <a:noFill/>
        </p:spPr>
        <p:txBody>
          <a:bodyPr lIns="45720" tIns="45720" rIns="45720" bIns="45720"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4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</a:t>
            </a:r>
            <a:endParaRPr lang="en-US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8D946DB3-26D2-2EE1-728C-7D32C4930F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2013" y="4533638"/>
            <a:ext cx="10972800" cy="398668"/>
          </a:xfrm>
          <a:prstGeom prst="rect">
            <a:avLst/>
          </a:prstGeom>
          <a:noFill/>
        </p:spPr>
        <p:txBody>
          <a:bodyPr lIns="45720" tIns="45720" rIns="45720" bIns="4572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2400" b="0" i="0" baseline="0">
                <a:solidFill>
                  <a:schemeClr val="bg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07CA8F8-C47B-50F4-9C65-C46111F86B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2013" y="5150448"/>
            <a:ext cx="10972800" cy="548640"/>
          </a:xfrm>
          <a:prstGeom prst="rect">
            <a:avLst/>
          </a:prstGeom>
          <a:noFill/>
        </p:spPr>
        <p:txBody>
          <a:bodyPr lIns="45720" tIns="45720" rIns="45720" bIns="4572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57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, Speaker title </a:t>
            </a:r>
            <a:br>
              <a:rPr lang="en-GB"/>
            </a:br>
            <a:r>
              <a:rPr lang="en-GB"/>
              <a:t>Department</a:t>
            </a:r>
          </a:p>
        </p:txBody>
      </p:sp>
      <p:pic>
        <p:nvPicPr>
          <p:cNvPr id="25" name="Picture 7">
            <a:extLst>
              <a:ext uri="{FF2B5EF4-FFF2-40B4-BE49-F238E27FC236}">
                <a16:creationId xmlns:a16="http://schemas.microsoft.com/office/drawing/2014/main" id="{C5A29C15-48D7-6644-9164-6F819B3D7D8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09603" y="431800"/>
            <a:ext cx="714359" cy="375341"/>
          </a:xfrm>
          <a:prstGeom prst="rect">
            <a:avLst/>
          </a:prstGeom>
        </p:spPr>
      </p:pic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5B2559ED-95F1-F66B-5A2F-A212CE3F2F8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2013" y="5824731"/>
            <a:ext cx="10972800" cy="287339"/>
          </a:xfrm>
          <a:prstGeom prst="rect">
            <a:avLst/>
          </a:prstGeom>
        </p:spPr>
        <p:txBody>
          <a:bodyPr lIns="45720" rIns="45720"/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68472724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Left Photo 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4C42D79D-196D-79B2-C9D9-9E420F6F73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2013" y="2941508"/>
            <a:ext cx="7223760" cy="1504200"/>
          </a:xfrm>
          <a:prstGeom prst="rect">
            <a:avLst/>
          </a:prstGeom>
          <a:noFill/>
        </p:spPr>
        <p:txBody>
          <a:bodyPr lIns="45720" tIns="45720" rIns="45720" bIns="45720"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400" b="0" i="0" spc="0" baseline="0">
                <a:solidFill>
                  <a:schemeClr val="accent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</a:t>
            </a:r>
            <a:endParaRPr lang="en-US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8D946DB3-26D2-2EE1-728C-7D32C4930F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2013" y="4533638"/>
            <a:ext cx="7223760" cy="398668"/>
          </a:xfrm>
          <a:prstGeom prst="rect">
            <a:avLst/>
          </a:prstGeom>
          <a:noFill/>
        </p:spPr>
        <p:txBody>
          <a:bodyPr lIns="45720" tIns="45720" rIns="45720" bIns="4572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2400" b="0" i="0" baseline="0">
                <a:solidFill>
                  <a:schemeClr val="accent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07CA8F8-C47B-50F4-9C65-C46111F86B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2013" y="5150448"/>
            <a:ext cx="7223760" cy="548640"/>
          </a:xfrm>
          <a:prstGeom prst="rect">
            <a:avLst/>
          </a:prstGeom>
          <a:noFill/>
        </p:spPr>
        <p:txBody>
          <a:bodyPr lIns="45720" tIns="45720" rIns="45720" bIns="4572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57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, Speaker title </a:t>
            </a:r>
            <a:br>
              <a:rPr lang="en-GB"/>
            </a:br>
            <a:r>
              <a:rPr lang="en-GB"/>
              <a:t>Department</a:t>
            </a:r>
          </a:p>
        </p:txBody>
      </p:sp>
      <p:pic>
        <p:nvPicPr>
          <p:cNvPr id="25" name="Picture 7">
            <a:extLst>
              <a:ext uri="{FF2B5EF4-FFF2-40B4-BE49-F238E27FC236}">
                <a16:creationId xmlns:a16="http://schemas.microsoft.com/office/drawing/2014/main" id="{C5A29C15-48D7-6644-9164-6F819B3D7D8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09603" y="431800"/>
            <a:ext cx="714359" cy="375341"/>
          </a:xfrm>
          <a:prstGeom prst="rect">
            <a:avLst/>
          </a:prstGeom>
        </p:spPr>
      </p:pic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5B2559ED-95F1-F66B-5A2F-A212CE3F2F8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2013" y="5824731"/>
            <a:ext cx="7223760" cy="287339"/>
          </a:xfrm>
          <a:prstGeom prst="rect">
            <a:avLst/>
          </a:prstGeom>
        </p:spPr>
        <p:txBody>
          <a:bodyPr lIns="45720" rIns="45720"/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bg2"/>
                </a:solidFill>
                <a:latin typeface="+mn-lt"/>
              </a:defRPr>
            </a:lvl1pPr>
          </a:lstStyle>
          <a:p>
            <a:r>
              <a:rPr lang="en-GB"/>
              <a:t>Date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3142FB2B-DAA9-0877-DC48-2611FC3FC41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186061" y="0"/>
            <a:ext cx="4005943" cy="6858000"/>
          </a:xfrm>
          <a:prstGeom prst="rect">
            <a:avLst/>
          </a:prstGeom>
          <a:solidFill>
            <a:schemeClr val="accent4">
              <a:alpha val="25000"/>
            </a:schemeClr>
          </a:solidFill>
        </p:spPr>
        <p:txBody>
          <a:bodyPr vert="horz" lIns="91420" tIns="45710" rIns="91420" bIns="45710" anchor="ctr"/>
          <a:lstStyle>
            <a:lvl1pPr marL="0" indent="0" algn="ctr">
              <a:buNone/>
              <a:defRPr sz="1200" b="0" i="0" baseline="0">
                <a:solidFill>
                  <a:schemeClr val="bg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0949065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Left Photo 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4C42D79D-196D-79B2-C9D9-9E420F6F738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12013" y="2941508"/>
            <a:ext cx="7223760" cy="1504200"/>
          </a:xfrm>
          <a:prstGeom prst="rect">
            <a:avLst/>
          </a:prstGeom>
          <a:noFill/>
        </p:spPr>
        <p:txBody>
          <a:bodyPr lIns="45720" tIns="45720" rIns="45720" bIns="45720" anchor="b" anchorCtr="0"/>
          <a:lstStyle>
            <a:lvl1pPr marL="0" indent="0" algn="l">
              <a:lnSpc>
                <a:spcPct val="90000"/>
              </a:lnSpc>
              <a:buFont typeface="Arial" panose="020B0604020202020204" pitchFamily="34" charset="0"/>
              <a:buNone/>
              <a:defRPr sz="5400" b="0" i="0" spc="0" baseline="0">
                <a:solidFill>
                  <a:schemeClr val="bg1"/>
                </a:solidFill>
                <a:latin typeface="+mj-lt"/>
                <a:cs typeface="CiscoSansTT ExtraLight"/>
              </a:defRPr>
            </a:lvl1pPr>
          </a:lstStyle>
          <a:p>
            <a:r>
              <a:rPr lang="en-GB"/>
              <a:t>Presentation title</a:t>
            </a:r>
            <a:endParaRPr lang="en-US"/>
          </a:p>
        </p:txBody>
      </p:sp>
      <p:sp>
        <p:nvSpPr>
          <p:cNvPr id="8" name="Subtitle">
            <a:extLst>
              <a:ext uri="{FF2B5EF4-FFF2-40B4-BE49-F238E27FC236}">
                <a16:creationId xmlns:a16="http://schemas.microsoft.com/office/drawing/2014/main" id="{8D946DB3-26D2-2EE1-728C-7D32C4930F2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12013" y="4533638"/>
            <a:ext cx="7223760" cy="398668"/>
          </a:xfrm>
          <a:prstGeom prst="rect">
            <a:avLst/>
          </a:prstGeom>
          <a:noFill/>
        </p:spPr>
        <p:txBody>
          <a:bodyPr lIns="45720" tIns="45720" rIns="45720" bIns="45720">
            <a:noAutofit/>
          </a:bodyPr>
          <a:lstStyle>
            <a:lvl1pPr marL="0" indent="0" algn="l">
              <a:buFont typeface="Arial" panose="020B0604020202020204" pitchFamily="34" charset="0"/>
              <a:buNone/>
              <a:defRPr sz="2400" b="0" i="0" baseline="0">
                <a:solidFill>
                  <a:schemeClr val="bg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E07CA8F8-C47B-50F4-9C65-C46111F86B8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12013" y="5150448"/>
            <a:ext cx="7223760" cy="548640"/>
          </a:xfrm>
          <a:prstGeom prst="rect">
            <a:avLst/>
          </a:prstGeom>
          <a:noFill/>
        </p:spPr>
        <p:txBody>
          <a:bodyPr lIns="45720" tIns="45720" rIns="45720" bIns="45720" anchor="t" anchorCtr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600" b="0" i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57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name, Speaker title </a:t>
            </a:r>
            <a:br>
              <a:rPr lang="en-GB"/>
            </a:br>
            <a:r>
              <a:rPr lang="en-GB"/>
              <a:t>Department</a:t>
            </a:r>
          </a:p>
        </p:txBody>
      </p:sp>
      <p:pic>
        <p:nvPicPr>
          <p:cNvPr id="25" name="Picture 7">
            <a:extLst>
              <a:ext uri="{FF2B5EF4-FFF2-40B4-BE49-F238E27FC236}">
                <a16:creationId xmlns:a16="http://schemas.microsoft.com/office/drawing/2014/main" id="{C5A29C15-48D7-6644-9164-6F819B3D7D84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609603" y="431800"/>
            <a:ext cx="714359" cy="375341"/>
          </a:xfrm>
          <a:prstGeom prst="rect">
            <a:avLst/>
          </a:prstGeom>
        </p:spPr>
      </p:pic>
      <p:sp>
        <p:nvSpPr>
          <p:cNvPr id="5" name="Content Placeholder 3">
            <a:extLst>
              <a:ext uri="{FF2B5EF4-FFF2-40B4-BE49-F238E27FC236}">
                <a16:creationId xmlns:a16="http://schemas.microsoft.com/office/drawing/2014/main" id="{5B2559ED-95F1-F66B-5A2F-A212CE3F2F86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612013" y="5824731"/>
            <a:ext cx="7223760" cy="287339"/>
          </a:xfrm>
          <a:prstGeom prst="rect">
            <a:avLst/>
          </a:prstGeom>
        </p:spPr>
        <p:txBody>
          <a:bodyPr lIns="45720" rIns="45720"/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en-GB"/>
              <a:t>Date</a:t>
            </a:r>
          </a:p>
        </p:txBody>
      </p:sp>
      <p:sp>
        <p:nvSpPr>
          <p:cNvPr id="2" name="Picture Placeholder 2">
            <a:extLst>
              <a:ext uri="{FF2B5EF4-FFF2-40B4-BE49-F238E27FC236}">
                <a16:creationId xmlns:a16="http://schemas.microsoft.com/office/drawing/2014/main" id="{3142FB2B-DAA9-0877-DC48-2611FC3FC41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8186061" y="0"/>
            <a:ext cx="4005943" cy="6858000"/>
          </a:xfrm>
          <a:prstGeom prst="rect">
            <a:avLst/>
          </a:prstGeom>
          <a:solidFill>
            <a:schemeClr val="accent4">
              <a:alpha val="25000"/>
            </a:schemeClr>
          </a:solidFill>
        </p:spPr>
        <p:txBody>
          <a:bodyPr vert="horz" lIns="91420" tIns="45710" rIns="91420" bIns="45710" anchor="ctr"/>
          <a:lstStyle>
            <a:lvl1pPr marL="0" indent="0" algn="ctr">
              <a:buNone/>
              <a:defRPr sz="1200" b="0" i="0" baseline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3144769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gue 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30E683ED-333E-71AE-8D5B-04FB014DEDA7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5929" y="2789672"/>
            <a:ext cx="10232136" cy="637377"/>
          </a:xfrm>
          <a:prstGeom prst="rect">
            <a:avLst/>
          </a:prstGeom>
        </p:spPr>
        <p:txBody>
          <a:bodyPr lIns="45720" tIns="45720" rIns="45720" bIns="45720" anchor="b"/>
          <a:lstStyle>
            <a:lvl1pPr marL="0" indent="0" algn="l">
              <a:lnSpc>
                <a:spcPts val="4800"/>
              </a:lnSpc>
              <a:buFont typeface="Arial" panose="020B0604020202020204" pitchFamily="34" charset="0"/>
              <a:buNone/>
              <a:defRPr sz="4400" b="0" i="0" spc="0" baseline="0">
                <a:solidFill>
                  <a:schemeClr val="accent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/>
              <a:t>Segue slid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5982921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ansition 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62D482-EDEF-0534-A336-804F44744A7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341120" y="2772055"/>
            <a:ext cx="10241280" cy="640080"/>
          </a:xfrm>
          <a:prstGeom prst="rect">
            <a:avLst/>
          </a:prstGeom>
        </p:spPr>
        <p:txBody>
          <a:bodyPr lIns="45720" rIns="45720" anchor="ctr"/>
          <a:lstStyle>
            <a:lvl1pPr marL="0" indent="0" algn="r">
              <a:lnSpc>
                <a:spcPts val="4800"/>
              </a:lnSpc>
              <a:buFont typeface="Arial" panose="020B0604020202020204" pitchFamily="34" charset="0"/>
              <a:buNone/>
              <a:defRPr sz="4400" b="0" i="0" spc="0" baseline="0">
                <a:solidFill>
                  <a:schemeClr val="accent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/>
              <a:t>Transition slid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7000790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ubtitle 2">
            <a:extLst>
              <a:ext uri="{FF2B5EF4-FFF2-40B4-BE49-F238E27FC236}">
                <a16:creationId xmlns:a16="http://schemas.microsoft.com/office/drawing/2014/main" id="{055E4C37-FAD6-B449-9189-A035C0C9E8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609601" y="5658221"/>
            <a:ext cx="10972800" cy="465891"/>
          </a:xfrm>
          <a:prstGeom prst="rect">
            <a:avLst/>
          </a:prstGeom>
        </p:spPr>
        <p:txBody>
          <a:bodyPr lIns="45720" tIns="45710" rIns="45720" bIns="45710" anchor="t" anchorCtr="0">
            <a:noAutofit/>
          </a:bodyPr>
          <a:lstStyle>
            <a:lvl1pPr marL="0" indent="0" algn="ctr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  <a:defRPr sz="1400" b="0" i="0">
                <a:solidFill>
                  <a:schemeClr val="bg2"/>
                </a:solidFill>
                <a:latin typeface="+mn-lt"/>
                <a:cs typeface="CiscoSansTT" panose="020B0503020201020303" pitchFamily="34" charset="0"/>
              </a:defRPr>
            </a:lvl1pPr>
            <a:lvl2pPr marL="4571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5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6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7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92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0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GB"/>
              <a:t>Speaker role</a:t>
            </a:r>
            <a:endParaRPr lang="en-US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FEADEB85-EFB9-A048-BE6B-F1473C49995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5233079"/>
            <a:ext cx="10972800" cy="398668"/>
          </a:xfrm>
          <a:prstGeom prst="rect">
            <a:avLst/>
          </a:prstGeom>
        </p:spPr>
        <p:txBody>
          <a:bodyPr lIns="45720" tIns="45710" rIns="45720" bIns="45710">
            <a:noAutofit/>
          </a:bodyPr>
          <a:lstStyle>
            <a:lvl1pPr marL="0" indent="0" algn="ctr">
              <a:buFont typeface="Arial" panose="020B0604020202020204" pitchFamily="34" charset="0"/>
              <a:buNone/>
              <a:defRPr sz="2400" b="0" i="0" baseline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Speaker nam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86E3EA5B-6C70-8F4D-9385-EC53B25066C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99521" y="1398876"/>
            <a:ext cx="10376024" cy="3311089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ts val="4800"/>
              </a:lnSpc>
              <a:buFont typeface="Arial" panose="020B0604020202020204" pitchFamily="34" charset="0"/>
              <a:buNone/>
              <a:defRPr sz="4000" b="0" i="0" spc="0" baseline="0">
                <a:solidFill>
                  <a:schemeClr val="bg2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/>
              <a:t>As the adoption of multi-cloud strategy grows, Ulla </a:t>
            </a:r>
            <a:r>
              <a:rPr lang="en-GB" err="1"/>
              <a:t>sitiora</a:t>
            </a:r>
            <a:r>
              <a:rPr lang="en-GB"/>
              <a:t> </a:t>
            </a:r>
            <a:r>
              <a:rPr lang="en-GB" err="1"/>
              <a:t>turest</a:t>
            </a:r>
            <a:r>
              <a:rPr lang="en-GB"/>
              <a:t> </a:t>
            </a:r>
            <a:r>
              <a:rPr lang="en-GB" err="1"/>
              <a:t>experibus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pa </a:t>
            </a:r>
            <a:r>
              <a:rPr lang="en-GB" err="1"/>
              <a:t>dolor</a:t>
            </a:r>
            <a:r>
              <a:rPr lang="en-GB"/>
              <a:t> a </a:t>
            </a:r>
            <a:r>
              <a:rPr lang="en-GB" err="1"/>
              <a:t>conestia</a:t>
            </a:r>
            <a:r>
              <a:rPr lang="en-GB"/>
              <a:t> vent </a:t>
            </a:r>
            <a:r>
              <a:rPr lang="en-GB" err="1"/>
              <a:t>eosse</a:t>
            </a:r>
            <a:r>
              <a:rPr lang="en-GB"/>
              <a:t> non </a:t>
            </a:r>
            <a:r>
              <a:rPr lang="en-GB" err="1"/>
              <a:t>consequ</a:t>
            </a:r>
            <a:r>
              <a:rPr lang="en-GB"/>
              <a:t> </a:t>
            </a:r>
            <a:r>
              <a:rPr lang="en-GB" err="1"/>
              <a:t>aturit</a:t>
            </a:r>
            <a:r>
              <a:rPr lang="en-GB"/>
              <a:t> </a:t>
            </a:r>
            <a:r>
              <a:rPr lang="en-GB" err="1"/>
              <a:t>faccum</a:t>
            </a:r>
            <a:r>
              <a:rPr lang="en-GB"/>
              <a:t> qui </a:t>
            </a:r>
            <a:r>
              <a:rPr lang="en-GB" err="1"/>
              <a:t>dolor</a:t>
            </a:r>
            <a:r>
              <a:rPr lang="en-GB"/>
              <a:t> a </a:t>
            </a:r>
            <a:r>
              <a:rPr lang="en-GB" err="1"/>
              <a:t>num</a:t>
            </a:r>
            <a:endParaRPr lang="en-GB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E18B2BC-5B8F-6442-A3B3-AB5D063112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341976" y="733891"/>
            <a:ext cx="1508048" cy="836396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7191B82D-853E-F074-193C-5B7F13F89D29}"/>
              </a:ext>
            </a:extLst>
          </p:cNvPr>
          <p:cNvCxnSpPr>
            <a:cxnSpLocks/>
          </p:cNvCxnSpPr>
          <p:nvPr/>
        </p:nvCxnSpPr>
        <p:spPr>
          <a:xfrm>
            <a:off x="4545878" y="4934857"/>
            <a:ext cx="310025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420143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0520C842-0F32-695C-C13C-22709486A20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1967" y="1549401"/>
            <a:ext cx="5166360" cy="660401"/>
          </a:xfrm>
          <a:prstGeom prst="rect">
            <a:avLst/>
          </a:prstGeom>
        </p:spPr>
        <p:txBody>
          <a:bodyPr lIns="45720" tIns="45720" rIns="45720" bIns="45720" anchor="b">
            <a:noAutofit/>
          </a:bodyPr>
          <a:lstStyle>
            <a:lvl1pPr marL="0" indent="0" algn="l">
              <a:lnSpc>
                <a:spcPct val="100000"/>
              </a:lnSpc>
              <a:buFont typeface="Arial" panose="020B0604020202020204" pitchFamily="34" charset="0"/>
              <a:buNone/>
              <a:defRPr sz="3200" b="0" i="0" spc="0" baseline="0">
                <a:solidFill>
                  <a:schemeClr val="accent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/>
              <a:t>Heading</a:t>
            </a:r>
            <a:endParaRPr lang="en-US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68D6516-732F-28D1-A6A6-F2DE6AD69BE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1964" y="2565400"/>
            <a:ext cx="5166360" cy="274320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marR="0" indent="0" algn="l" defTabSz="912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bore</a:t>
            </a:r>
            <a:r>
              <a:rPr lang="en-GB"/>
              <a:t> et dolore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et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et dolore.</a:t>
            </a:r>
            <a:endParaRPr lang="en-GB"/>
          </a:p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6333318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35059BF6-2F19-7F49-9CBE-82197BDDFC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410938" y="2382519"/>
            <a:ext cx="5169260" cy="36576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i="0" baseline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A8B70A03-DFE5-BAFE-E792-E9F9971D5DDA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21966" y="2382520"/>
            <a:ext cx="5169260" cy="36576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i="0" baseline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2F8DA8E-89D4-2754-2F23-8BC1A882CC64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23679" y="2932588"/>
            <a:ext cx="5166360" cy="146304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 et dolore. </a:t>
            </a:r>
          </a:p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.</a:t>
            </a:r>
          </a:p>
          <a:p>
            <a:pPr lvl="0"/>
            <a:endParaRPr lang="en-GB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0AC6832F-2D70-B8EC-0B06-A53E021306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99977" y="2932588"/>
            <a:ext cx="5166360" cy="146304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 et dolore. </a:t>
            </a:r>
          </a:p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.</a:t>
            </a:r>
          </a:p>
          <a:p>
            <a:pPr lvl="0"/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AEA1A354-0871-A2E1-F013-7080A6D3E53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1967" y="1549401"/>
            <a:ext cx="5166360" cy="660401"/>
          </a:xfrm>
          <a:prstGeom prst="rect">
            <a:avLst/>
          </a:prstGeom>
        </p:spPr>
        <p:txBody>
          <a:bodyPr lIns="45720" tIns="45720" rIns="45720" bIns="4572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 spc="0" baseline="0">
                <a:solidFill>
                  <a:schemeClr val="accent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/>
              <a:t>Heading</a:t>
            </a:r>
            <a:endParaRPr lang="en-US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6C8EA024-D9FE-B723-2F3F-890E3F4517D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07661" y="1551433"/>
            <a:ext cx="5165819" cy="658368"/>
          </a:xfrm>
          <a:prstGeom prst="rect">
            <a:avLst/>
          </a:prstGeom>
        </p:spPr>
        <p:txBody>
          <a:bodyPr lIns="45720" tIns="45720" rIns="45720" bIns="4572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3200" b="0" i="0">
                <a:solidFill>
                  <a:schemeClr val="accent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02041990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B27A1D91-B0C5-82DE-7D46-53E481769C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1967" y="2382520"/>
            <a:ext cx="3489235" cy="36576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i="0" baseline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45F39481-2908-3822-701D-5FF87E1F03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093165" y="2382520"/>
            <a:ext cx="3489235" cy="36576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i="0" baseline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3BD0ABDF-0D5E-A765-9F69-3BC9541847C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362645" y="2382520"/>
            <a:ext cx="3489235" cy="36576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600" b="0" i="0" baseline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3EB9F6D8-47DF-1F5B-55DF-071309C37FDE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362645" y="1549400"/>
            <a:ext cx="3489236" cy="660403"/>
          </a:xfrm>
          <a:prstGeom prst="rect">
            <a:avLst/>
          </a:prstGeom>
        </p:spPr>
        <p:txBody>
          <a:bodyPr lIns="45720" tIns="45720" rIns="45720" bIns="4572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 i="0">
                <a:solidFill>
                  <a:schemeClr val="accent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31" name="Text Placeholder 6">
            <a:extLst>
              <a:ext uri="{FF2B5EF4-FFF2-40B4-BE49-F238E27FC236}">
                <a16:creationId xmlns:a16="http://schemas.microsoft.com/office/drawing/2014/main" id="{1B9F0F59-8C07-4391-070A-F127239E51B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93165" y="1549400"/>
            <a:ext cx="3489763" cy="660403"/>
          </a:xfrm>
          <a:prstGeom prst="rect">
            <a:avLst/>
          </a:prstGeom>
        </p:spPr>
        <p:txBody>
          <a:bodyPr lIns="45720" tIns="45720" rIns="45720" bIns="4572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 i="0">
                <a:solidFill>
                  <a:schemeClr val="accent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90CFD439-E346-0E67-C9C2-132C9C4EAD4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1967" y="2932240"/>
            <a:ext cx="3489235" cy="182880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 et dolore. </a:t>
            </a:r>
          </a:p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et dolore.</a:t>
            </a:r>
          </a:p>
          <a:p>
            <a:pPr lvl="0"/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44CB3C8-42AF-C48C-331D-14C6776D22E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093165" y="2932240"/>
            <a:ext cx="3489235" cy="182880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 et dolore. </a:t>
            </a:r>
          </a:p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et dolore.</a:t>
            </a:r>
          </a:p>
          <a:p>
            <a:pPr lvl="0"/>
            <a:endParaRPr lang="en-GB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995EC4FE-BFD0-FE57-EEA5-41CE445414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62645" y="2932240"/>
            <a:ext cx="3489235" cy="182880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 et dolore. </a:t>
            </a:r>
          </a:p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et dolore.</a:t>
            </a:r>
          </a:p>
          <a:p>
            <a:pPr lvl="0"/>
            <a:endParaRPr lang="en-GB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75EF17F4-A551-A381-6DF1-CED9B14FF852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621967" y="1549401"/>
            <a:ext cx="3493008" cy="660401"/>
          </a:xfrm>
          <a:prstGeom prst="rect">
            <a:avLst/>
          </a:prstGeom>
        </p:spPr>
        <p:txBody>
          <a:bodyPr lIns="45720" tIns="45720" rIns="45720" bIns="45720" anchor="b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3200" b="0" i="0" spc="0" baseline="0">
                <a:solidFill>
                  <a:schemeClr val="accent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/>
              <a:t>Head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06412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lumn w Icons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E02DD01B-53E6-C542-A933-2D42DD0D2C6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2127" y="1252073"/>
            <a:ext cx="1024772" cy="957729"/>
          </a:xfrm>
          <a:prstGeom prst="rect">
            <a:avLst/>
          </a:prstGeom>
          <a:noFill/>
        </p:spPr>
        <p:txBody>
          <a:bodyPr vert="horz" lIns="91420" tIns="45710" rIns="91420" bIns="45710" anchor="ctr"/>
          <a:lstStyle>
            <a:lvl1pPr marL="0" indent="0" algn="ctr">
              <a:buNone/>
              <a:defRPr sz="1200" b="0" i="0" baseline="0">
                <a:solidFill>
                  <a:schemeClr val="bg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to add marketing icon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17EBF19C-49E3-D24F-8832-1A12184F668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3679" y="3668309"/>
            <a:ext cx="5166360" cy="146304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 et dolore. </a:t>
            </a:r>
          </a:p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.</a:t>
            </a:r>
          </a:p>
          <a:p>
            <a:pPr lvl="0"/>
            <a:endParaRPr lang="en-GB"/>
          </a:p>
        </p:txBody>
      </p:sp>
      <p:sp>
        <p:nvSpPr>
          <p:cNvPr id="26" name="Text Placeholder 6">
            <a:extLst>
              <a:ext uri="{FF2B5EF4-FFF2-40B4-BE49-F238E27FC236}">
                <a16:creationId xmlns:a16="http://schemas.microsoft.com/office/drawing/2014/main" id="{3148D23F-4FB0-0283-D700-8A06DCABC281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390621" y="2763200"/>
            <a:ext cx="5166360" cy="658368"/>
          </a:xfrm>
          <a:prstGeom prst="rect">
            <a:avLst/>
          </a:prstGeom>
        </p:spPr>
        <p:txBody>
          <a:bodyPr lIns="45720" tIns="45720" rIns="45720" bIns="4572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 i="0">
                <a:solidFill>
                  <a:schemeClr val="accent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27" name="Picture Placeholder 2">
            <a:extLst>
              <a:ext uri="{FF2B5EF4-FFF2-40B4-BE49-F238E27FC236}">
                <a16:creationId xmlns:a16="http://schemas.microsoft.com/office/drawing/2014/main" id="{C5C6BDEC-E33F-4C34-5403-6A238AB80D5E}"/>
              </a:ext>
            </a:extLst>
          </p:cNvPr>
          <p:cNvSpPr>
            <a:spLocks noGrp="1"/>
          </p:cNvSpPr>
          <p:nvPr>
            <p:ph type="pic" sz="quarter" idx="26" hasCustomPrompt="1"/>
          </p:nvPr>
        </p:nvSpPr>
        <p:spPr>
          <a:xfrm>
            <a:off x="6399979" y="1252073"/>
            <a:ext cx="1024772" cy="957729"/>
          </a:xfrm>
          <a:prstGeom prst="rect">
            <a:avLst/>
          </a:prstGeom>
          <a:noFill/>
        </p:spPr>
        <p:txBody>
          <a:bodyPr vert="horz" lIns="91420" tIns="45710" rIns="91420" bIns="45710" anchor="ctr"/>
          <a:lstStyle>
            <a:lvl1pPr marL="0" indent="0" algn="ctr">
              <a:buNone/>
              <a:defRPr sz="1200" b="0" i="0" baseline="0">
                <a:solidFill>
                  <a:schemeClr val="bg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to add marketing icon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2136F578-A3CF-9005-0901-E724D7D5226F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399977" y="3668309"/>
            <a:ext cx="5166360" cy="146304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 et dolore. </a:t>
            </a:r>
          </a:p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.</a:t>
            </a:r>
          </a:p>
          <a:p>
            <a:pPr lvl="0"/>
            <a:endParaRPr lang="en-GB"/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ADFE46B3-A8B5-C645-B495-DA6D531805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621757" y="2763200"/>
            <a:ext cx="5166360" cy="658368"/>
          </a:xfrm>
          <a:prstGeom prst="rect">
            <a:avLst/>
          </a:prstGeom>
        </p:spPr>
        <p:txBody>
          <a:bodyPr lIns="45720" tIns="45720" rIns="45720" bIns="4572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 i="0">
                <a:solidFill>
                  <a:schemeClr val="accent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23818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 column with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2">
            <a:extLst>
              <a:ext uri="{FF2B5EF4-FFF2-40B4-BE49-F238E27FC236}">
                <a16:creationId xmlns:a16="http://schemas.microsoft.com/office/drawing/2014/main" id="{A3358592-959E-4456-B08C-B18561ACD90E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rgbClr val="F2F2F2"/>
          </a:solidFill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867566B7-7005-4688-80F7-DA1BD8DAD9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4" y="990600"/>
            <a:ext cx="5034828" cy="1461733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10A1CBFF-FEB1-426F-8ABF-7C8FF483E898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7" y="2800678"/>
            <a:ext cx="2321893" cy="77593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1" name="Text Placeholder 3">
            <a:extLst>
              <a:ext uri="{FF2B5EF4-FFF2-40B4-BE49-F238E27FC236}">
                <a16:creationId xmlns:a16="http://schemas.microsoft.com/office/drawing/2014/main" id="{1E2F20EC-16BD-48F7-86D9-438E0739413D}"/>
              </a:ext>
            </a:extLst>
          </p:cNvPr>
          <p:cNvSpPr>
            <a:spLocks noGrp="1"/>
          </p:cNvSpPr>
          <p:nvPr>
            <p:ph type="body" sz="half" idx="21" hasCustomPrompt="1"/>
          </p:nvPr>
        </p:nvSpPr>
        <p:spPr>
          <a:xfrm>
            <a:off x="3266108" y="2800678"/>
            <a:ext cx="2321893" cy="77593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261A4FF-001F-46B0-B50B-76B7ADF0DBF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7" y="3684027"/>
            <a:ext cx="2321893" cy="25383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5DC8C8FE-D77A-44F7-8C57-F06010945CF5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66108" y="3684027"/>
            <a:ext cx="2321893" cy="2538316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24" name="Slide Number Placeholder 4">
            <a:extLst>
              <a:ext uri="{FF2B5EF4-FFF2-40B4-BE49-F238E27FC236}">
                <a16:creationId xmlns:a16="http://schemas.microsoft.com/office/drawing/2014/main" id="{AC2492A7-148D-4E60-BDC4-A6493F242C6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1DA0D3C-E618-4E74-AE1A-D790FB5661A6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2" name="Footer Placeholder 3">
            <a:extLst>
              <a:ext uri="{FF2B5EF4-FFF2-40B4-BE49-F238E27FC236}">
                <a16:creationId xmlns:a16="http://schemas.microsoft.com/office/drawing/2014/main" id="{1208D92E-CD7A-49C0-A704-73CF645867F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323141961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Column w Icon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96CA1346-1D62-4F41-BA11-B3EEBA6B5192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4340227" y="2763200"/>
            <a:ext cx="3511549" cy="665803"/>
          </a:xfrm>
          <a:prstGeom prst="rect">
            <a:avLst/>
          </a:prstGeom>
        </p:spPr>
        <p:txBody>
          <a:bodyPr lIns="45720" tIns="45720" rIns="45720" bIns="4572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 i="0">
                <a:solidFill>
                  <a:schemeClr val="accent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53E5B521-5917-164E-BF18-105160A01CA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076848" y="2763200"/>
            <a:ext cx="3511549" cy="665803"/>
          </a:xfrm>
          <a:prstGeom prst="rect">
            <a:avLst/>
          </a:prstGeom>
        </p:spPr>
        <p:txBody>
          <a:bodyPr lIns="45720" tIns="45720" rIns="45720" bIns="4572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 i="0">
                <a:solidFill>
                  <a:schemeClr val="accent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/>
              <a:t>Heading</a:t>
            </a:r>
          </a:p>
        </p:txBody>
      </p:sp>
      <p:sp>
        <p:nvSpPr>
          <p:cNvPr id="20" name="Picture Placeholder 2">
            <a:extLst>
              <a:ext uri="{FF2B5EF4-FFF2-40B4-BE49-F238E27FC236}">
                <a16:creationId xmlns:a16="http://schemas.microsoft.com/office/drawing/2014/main" id="{8143D29F-44CB-0E44-8852-5377E5E8F518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4359395" y="1252073"/>
            <a:ext cx="1024772" cy="957729"/>
          </a:xfrm>
          <a:prstGeom prst="rect">
            <a:avLst/>
          </a:prstGeom>
          <a:noFill/>
        </p:spPr>
        <p:txBody>
          <a:bodyPr vert="horz" lIns="91420" tIns="45710" rIns="91420" bIns="45710" anchor="ctr"/>
          <a:lstStyle>
            <a:lvl1pPr marL="0" indent="0" algn="ctr">
              <a:buNone/>
              <a:defRPr sz="1200" b="0" i="0" baseline="0">
                <a:solidFill>
                  <a:schemeClr val="bg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to add marketing icon</a:t>
            </a:r>
          </a:p>
        </p:txBody>
      </p:sp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E02DD01B-53E6-C542-A933-2D42DD0D2C62}"/>
              </a:ext>
            </a:extLst>
          </p:cNvPr>
          <p:cNvSpPr>
            <a:spLocks noGrp="1"/>
          </p:cNvSpPr>
          <p:nvPr>
            <p:ph type="pic" sz="quarter" idx="24" hasCustomPrompt="1"/>
          </p:nvPr>
        </p:nvSpPr>
        <p:spPr>
          <a:xfrm>
            <a:off x="632127" y="1252073"/>
            <a:ext cx="1024772" cy="957729"/>
          </a:xfrm>
          <a:prstGeom prst="rect">
            <a:avLst/>
          </a:prstGeom>
          <a:noFill/>
        </p:spPr>
        <p:txBody>
          <a:bodyPr vert="horz" lIns="91420" tIns="45710" rIns="91420" bIns="45710" anchor="ctr"/>
          <a:lstStyle>
            <a:lvl1pPr marL="0" indent="0" algn="ctr">
              <a:buNone/>
              <a:defRPr sz="1200" b="0" i="0" baseline="0">
                <a:solidFill>
                  <a:schemeClr val="bg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to add marketing icon</a:t>
            </a:r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EE6224FA-C881-7942-88CA-85C557540C4C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8086662" y="1252073"/>
            <a:ext cx="1024772" cy="957729"/>
          </a:xfrm>
          <a:prstGeom prst="rect">
            <a:avLst/>
          </a:prstGeom>
          <a:noFill/>
        </p:spPr>
        <p:txBody>
          <a:bodyPr vert="horz" lIns="91420" tIns="45710" rIns="91420" bIns="45710" anchor="ctr"/>
          <a:lstStyle>
            <a:lvl1pPr marL="0" indent="0" algn="ctr">
              <a:buNone/>
              <a:defRPr sz="1200" b="0" i="0" baseline="0">
                <a:solidFill>
                  <a:schemeClr val="bg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to add marketing icon</a:t>
            </a:r>
          </a:p>
        </p:txBody>
      </p:sp>
      <p:sp>
        <p:nvSpPr>
          <p:cNvPr id="2" name="Text Placeholder 2">
            <a:extLst>
              <a:ext uri="{FF2B5EF4-FFF2-40B4-BE49-F238E27FC236}">
                <a16:creationId xmlns:a16="http://schemas.microsoft.com/office/drawing/2014/main" id="{66A53209-57D8-0C80-F7FB-B1A028923F8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2125" y="3675743"/>
            <a:ext cx="3489235" cy="164592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 et dolore. </a:t>
            </a:r>
          </a:p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et dolore.</a:t>
            </a:r>
          </a:p>
          <a:p>
            <a:pPr lvl="0"/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7B629FA-854C-9FDB-35AE-257C4F46B331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4350253" y="3675743"/>
            <a:ext cx="3489235" cy="164592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 et dolore. </a:t>
            </a:r>
          </a:p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et dolore.</a:t>
            </a:r>
          </a:p>
          <a:p>
            <a:pPr lvl="0"/>
            <a:endParaRPr lang="en-GB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A86DDF84-07E1-9F30-2A61-508622F128A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8102969" y="3675743"/>
            <a:ext cx="3489235" cy="1645920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 et dolore. </a:t>
            </a:r>
          </a:p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et dolore.</a:t>
            </a:r>
          </a:p>
          <a:p>
            <a:pPr lvl="0"/>
            <a:endParaRPr lang="en-GB"/>
          </a:p>
        </p:txBody>
      </p:sp>
      <p:sp>
        <p:nvSpPr>
          <p:cNvPr id="5" name="Text Placeholder 6">
            <a:extLst>
              <a:ext uri="{FF2B5EF4-FFF2-40B4-BE49-F238E27FC236}">
                <a16:creationId xmlns:a16="http://schemas.microsoft.com/office/drawing/2014/main" id="{4F16851C-FF16-C8FD-C1A2-97DC62B0B3A0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21759" y="2755765"/>
            <a:ext cx="3493008" cy="665803"/>
          </a:xfrm>
          <a:prstGeom prst="rect">
            <a:avLst/>
          </a:prstGeom>
        </p:spPr>
        <p:txBody>
          <a:bodyPr lIns="45720" tIns="45720" rIns="45720" bIns="45720"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3200" b="0" i="0">
                <a:solidFill>
                  <a:schemeClr val="accent1"/>
                </a:solidFill>
                <a:latin typeface="+mj-lt"/>
                <a:cs typeface="CiscoSansTT ExtraLight" panose="020B0303020201020303" pitchFamily="34" charset="0"/>
              </a:defRPr>
            </a:lvl1pPr>
          </a:lstStyle>
          <a:p>
            <a:r>
              <a:rPr lang="en-GB"/>
              <a:t>Heading</a:t>
            </a:r>
          </a:p>
        </p:txBody>
      </p:sp>
    </p:spTree>
    <p:extLst>
      <p:ext uri="{BB962C8B-B14F-4D97-AF65-F5344CB8AC3E}">
        <p14:creationId xmlns:p14="http://schemas.microsoft.com/office/powerpoint/2010/main" val="308021902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467AAB6B-16FE-95C2-6E58-2E5FC7150AA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3" y="384079"/>
            <a:ext cx="10972800" cy="68580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275254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w Section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0C30067D-BDB2-4ED3-9FF2-9A7F7110FF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5928" y="392612"/>
            <a:ext cx="5486400" cy="30480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baseline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6A362478-34D6-842A-DADB-69D0E694994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3" y="722735"/>
            <a:ext cx="10972800" cy="68580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6644924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w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A584BCD8-4E60-DFC8-29A4-3BFD44FDB3F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3" y="384079"/>
            <a:ext cx="10972800" cy="68580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AD7487D1-1623-CCE2-CEFB-F5648D1A437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5991457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w 2 Bulle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2" descr="Section title">
            <a:extLst>
              <a:ext uri="{FF2B5EF4-FFF2-40B4-BE49-F238E27FC236}">
                <a16:creationId xmlns:a16="http://schemas.microsoft.com/office/drawing/2014/main" id="{0B8FE018-3611-D52D-6AC1-37B5B6BECD5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5928" y="392612"/>
            <a:ext cx="5486400" cy="30480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baseline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0F119481-ACDD-57F7-7858-66E3120A9D1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3" y="722735"/>
            <a:ext cx="10972800" cy="68580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BC97880-0676-CEF3-919A-02D28F226AC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601" y="1619249"/>
            <a:ext cx="5211763" cy="451485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D7691CA3-8502-339A-3BA5-6244A8389DE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71700" y="1619249"/>
            <a:ext cx="5211763" cy="4514851"/>
          </a:xfrm>
        </p:spPr>
        <p:txBody>
          <a:bodyPr/>
          <a:lstStyle>
            <a:lvl1pPr>
              <a:defRPr>
                <a:solidFill>
                  <a:schemeClr val="bg2"/>
                </a:solidFill>
              </a:defRPr>
            </a:lvl1pPr>
            <a:lvl2pPr>
              <a:defRPr>
                <a:solidFill>
                  <a:schemeClr val="bg2"/>
                </a:solidFill>
              </a:defRPr>
            </a:lvl2pPr>
            <a:lvl3pPr>
              <a:defRPr>
                <a:solidFill>
                  <a:schemeClr val="bg2"/>
                </a:solidFill>
              </a:defRPr>
            </a:lvl3pPr>
            <a:lvl4pPr>
              <a:defRPr>
                <a:solidFill>
                  <a:schemeClr val="bg2"/>
                </a:solidFill>
              </a:defRPr>
            </a:lvl4pPr>
            <a:lvl5pPr>
              <a:defRPr>
                <a:solidFill>
                  <a:schemeClr val="bg2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3756306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Midnight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b="0" i="0">
              <a:solidFill>
                <a:srgbClr val="0D274D"/>
              </a:solidFill>
              <a:latin typeface="CiscoSansTT ExtraLight" panose="020B0303020201020303" pitchFamily="34" charset="0"/>
            </a:endParaRPr>
          </a:p>
        </p:txBody>
      </p:sp>
      <p:sp>
        <p:nvSpPr>
          <p:cNvPr id="6" name="Text Placeholder 2">
            <a:extLst>
              <a:ext uri="{FF2B5EF4-FFF2-40B4-BE49-F238E27FC236}">
                <a16:creationId xmlns:a16="http://schemas.microsoft.com/office/drawing/2014/main" id="{128A24FB-C90E-8608-90DD-14467743B56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21964" y="2565400"/>
            <a:ext cx="4572000" cy="2743200"/>
          </a:xfrm>
          <a:prstGeom prst="rect">
            <a:avLst/>
          </a:prstGeom>
        </p:spPr>
        <p:txBody>
          <a:bodyPr lIns="45720" tIns="45720" rIns="45720" bIns="45720"/>
          <a:lstStyle>
            <a:lvl1pPr marL="0" marR="0" indent="0" algn="l" defTabSz="912253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600" b="0" i="0" baseline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</a:t>
            </a:r>
            <a:r>
              <a:rPr lang="en-GB" err="1"/>
              <a:t>labore</a:t>
            </a:r>
            <a:r>
              <a:rPr lang="en-GB"/>
              <a:t> et dolore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et dolore.</a:t>
            </a:r>
          </a:p>
          <a:p>
            <a:pPr lvl="0"/>
            <a:r>
              <a:rPr lang="en-US"/>
              <a:t>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</a:t>
            </a:r>
            <a:r>
              <a:rPr lang="en-US" err="1"/>
              <a:t>ut</a:t>
            </a:r>
            <a:r>
              <a:rPr lang="en-US"/>
              <a:t> labore et dolore. Lorem ipsum dolor sit </a:t>
            </a:r>
            <a:r>
              <a:rPr lang="en-US" err="1"/>
              <a:t>amet</a:t>
            </a:r>
            <a:r>
              <a:rPr lang="en-US"/>
              <a:t>, </a:t>
            </a:r>
            <a:r>
              <a:rPr lang="en-US" err="1"/>
              <a:t>consectetur</a:t>
            </a:r>
            <a:r>
              <a:rPr lang="en-US"/>
              <a:t> </a:t>
            </a:r>
            <a:r>
              <a:rPr lang="en-US" err="1"/>
              <a:t>adipiscing</a:t>
            </a:r>
            <a:r>
              <a:rPr lang="en-US"/>
              <a:t> </a:t>
            </a:r>
            <a:r>
              <a:rPr lang="en-US" err="1"/>
              <a:t>elit</a:t>
            </a:r>
            <a:r>
              <a:rPr lang="en-US"/>
              <a:t>, sed do </a:t>
            </a:r>
            <a:r>
              <a:rPr lang="en-US" err="1"/>
              <a:t>eiusmod</a:t>
            </a:r>
            <a:r>
              <a:rPr lang="en-US"/>
              <a:t> </a:t>
            </a:r>
            <a:r>
              <a:rPr lang="en-US" err="1"/>
              <a:t>tempor</a:t>
            </a:r>
            <a:r>
              <a:rPr lang="en-US"/>
              <a:t> </a:t>
            </a:r>
            <a:r>
              <a:rPr lang="en-US" err="1"/>
              <a:t>incididunt</a:t>
            </a:r>
            <a:r>
              <a:rPr lang="en-US"/>
              <a:t> et dolore.</a:t>
            </a:r>
            <a:endParaRPr lang="en-GB"/>
          </a:p>
          <a:p>
            <a:pPr lvl="0"/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96A67E-A1D7-9527-29EB-EF2FEEA57DB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2125" y="431800"/>
            <a:ext cx="4572000" cy="30480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Font typeface="Arial" panose="020B0604020202020204" pitchFamily="34" charset="0"/>
              <a:buNone/>
              <a:defRPr sz="1400" b="0" i="0" baseline="0">
                <a:solidFill>
                  <a:schemeClr val="bg2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58130C6-64C1-4324-51CC-4C096C9929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1582397"/>
            <a:ext cx="4594524" cy="634577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1304434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760">
          <p15:clr>
            <a:srgbClr val="FBAE40"/>
          </p15:clr>
        </p15:guide>
        <p15:guide id="2" pos="1920">
          <p15:clr>
            <a:srgbClr val="FBAE40"/>
          </p15:clr>
        </p15:guide>
      </p15:sldGuideLst>
    </p:ext>
  </p:extLst>
</p:sldLayout>
</file>

<file path=ppt/slideLayouts/slideLayout9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Midnight 1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6085212" y="0"/>
            <a:ext cx="6106789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b="0" i="0">
              <a:solidFill>
                <a:srgbClr val="0D274D"/>
              </a:solidFill>
              <a:latin typeface="CiscoSansTT ExtraLight" panose="020B0303020201020303" pitchFamily="34" charset="0"/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2F330DC-D569-243E-8D0F-B65621C3C28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2389491"/>
            <a:ext cx="4594524" cy="166878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711386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760">
          <p15:clr>
            <a:srgbClr val="FBAE40"/>
          </p15:clr>
        </p15:guide>
        <p15:guide id="2" pos="1920">
          <p15:clr>
            <a:srgbClr val="FBAE40"/>
          </p15:clr>
        </p15:guide>
      </p15:sldGuideLst>
    </p:ext>
  </p:extLst>
</p:sldLayout>
</file>

<file path=ppt/slideLayouts/slideLayout9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Midnight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F336399-B83B-D450-D7E9-D04E0D0AE3D1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67" b="0" i="0">
              <a:solidFill>
                <a:srgbClr val="0D274D"/>
              </a:solidFill>
              <a:latin typeface="CiscoSansTT ExtraLight" panose="020B0303020201020303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7C7D05B-CC63-FBAA-768B-D092C4B242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22911" y="736602"/>
            <a:ext cx="4842181" cy="5384799"/>
          </a:xfrm>
          <a:prstGeom prst="rect">
            <a:avLst/>
          </a:prstGeom>
        </p:spPr>
        <p:txBody>
          <a:bodyPr lIns="45720" tIns="45720" rIns="45720" bIns="45720" anchor="ctr"/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140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 et dolore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.</a:t>
            </a:r>
          </a:p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 et dolore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.</a:t>
            </a:r>
          </a:p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 et dolore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.</a:t>
            </a:r>
          </a:p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 et dolore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.</a:t>
            </a:r>
          </a:p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 et dolore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.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B356B89E-D2D7-929C-273F-CBC73FF73B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2389491"/>
            <a:ext cx="4594524" cy="166878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3274318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760">
          <p15:clr>
            <a:srgbClr val="FBAE40"/>
          </p15:clr>
        </p15:guide>
        <p15:guide id="2" pos="1920">
          <p15:clr>
            <a:srgbClr val="FBAE40"/>
          </p15:clr>
        </p15:guide>
      </p15:sldGuideLst>
    </p:ext>
  </p:extLst>
</p:sldLayout>
</file>

<file path=ppt/slideLayouts/slideLayout9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Midnight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185D6C4-923D-0A37-5765-F4FFA48FC1C2}"/>
              </a:ext>
            </a:extLst>
          </p:cNvPr>
          <p:cNvSpPr/>
          <p:nvPr/>
        </p:nvSpPr>
        <p:spPr>
          <a:xfrm>
            <a:off x="6096000" y="0"/>
            <a:ext cx="6096000" cy="6858000"/>
          </a:xfrm>
          <a:prstGeom prst="rect">
            <a:avLst/>
          </a:prstGeom>
          <a:solidFill>
            <a:schemeClr val="bg2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68"/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15B3E190-93EE-235A-0F6B-07C04E09A1D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720840" y="746203"/>
            <a:ext cx="4846320" cy="365760"/>
          </a:xfrm>
          <a:prstGeom prst="rect">
            <a:avLst/>
          </a:prstGeom>
        </p:spPr>
        <p:txBody>
          <a:bodyPr lIns="45720" tIns="45720" rIns="45720" bIns="4572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618BC08B-D219-8756-C142-C4584D727A2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720840" y="2605600"/>
            <a:ext cx="4846320" cy="365760"/>
          </a:xfrm>
          <a:prstGeom prst="rect">
            <a:avLst/>
          </a:prstGeom>
        </p:spPr>
        <p:txBody>
          <a:bodyPr lIns="45720" tIns="45720" rIns="45720" bIns="4572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04803960-9A60-1EDC-E465-98985D436CDA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720840" y="4464997"/>
            <a:ext cx="4846320" cy="365760"/>
          </a:xfrm>
          <a:prstGeom prst="rect">
            <a:avLst/>
          </a:prstGeom>
        </p:spPr>
        <p:txBody>
          <a:bodyPr lIns="45720" tIns="45720" rIns="45720" bIns="45720" anchor="ctr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Subtitle</a:t>
            </a:r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FF220C6C-65CC-3070-48A3-52BC6CD2323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720840" y="1246523"/>
            <a:ext cx="4846320" cy="1097280"/>
          </a:xfrm>
          <a:prstGeom prst="rect">
            <a:avLst/>
          </a:prstGeom>
        </p:spPr>
        <p:txBody>
          <a:bodyPr lIns="45720" tIns="45720" rIns="45720" bIns="45720"/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 et dolore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.</a:t>
            </a:r>
          </a:p>
          <a:p>
            <a:pPr lvl="0"/>
            <a:endParaRPr lang="en-GB"/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995A9DA7-0C91-35C3-D416-9F0304263448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6720840" y="3105920"/>
            <a:ext cx="4846320" cy="1097280"/>
          </a:xfrm>
          <a:prstGeom prst="rect">
            <a:avLst/>
          </a:prstGeom>
        </p:spPr>
        <p:txBody>
          <a:bodyPr lIns="45720" tIns="45720" rIns="45720" bIns="45720"/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 et dolore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.</a:t>
            </a:r>
          </a:p>
          <a:p>
            <a:pPr lvl="0"/>
            <a:endParaRPr lang="en-GB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E6DF162A-E518-4D2F-E1D4-46E7A06FEE65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6720840" y="4965316"/>
            <a:ext cx="4846320" cy="1097280"/>
          </a:xfrm>
          <a:prstGeom prst="rect">
            <a:avLst/>
          </a:prstGeom>
        </p:spPr>
        <p:txBody>
          <a:bodyPr lIns="45720" tIns="45720" rIns="45720" bIns="45720"/>
          <a:lstStyle>
            <a:lvl1pPr marL="0" marR="0" indent="0" algn="l" defTabSz="912253" rtl="0" eaLnBrk="1" fontAlgn="base" latinLnBrk="0" hangingPunct="1">
              <a:lnSpc>
                <a:spcPct val="95000"/>
              </a:lnSpc>
              <a:spcBef>
                <a:spcPts val="0"/>
              </a:spcBef>
              <a:spcAft>
                <a:spcPts val="0"/>
              </a:spcAft>
              <a:buClr>
                <a:schemeClr val="tx2"/>
              </a:buClr>
              <a:buSzPct val="90000"/>
              <a:buFont typeface="Arial" panose="020B0604020202020204" pitchFamily="34" charset="0"/>
              <a:buNone/>
              <a:tabLst/>
              <a:defRPr sz="1400" b="0" i="0" baseline="0">
                <a:solidFill>
                  <a:schemeClr val="tx1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 et dolore. Lorem ipsum </a:t>
            </a:r>
            <a:r>
              <a:rPr lang="en-GB" err="1"/>
              <a:t>dolor</a:t>
            </a:r>
            <a:r>
              <a:rPr lang="en-GB"/>
              <a:t> sit </a:t>
            </a:r>
            <a:r>
              <a:rPr lang="en-GB" err="1"/>
              <a:t>amet</a:t>
            </a:r>
            <a:r>
              <a:rPr lang="en-GB"/>
              <a:t>, </a:t>
            </a:r>
            <a:r>
              <a:rPr lang="en-GB" err="1"/>
              <a:t>consectetur</a:t>
            </a:r>
            <a:r>
              <a:rPr lang="en-GB"/>
              <a:t> </a:t>
            </a:r>
            <a:r>
              <a:rPr lang="en-GB" err="1"/>
              <a:t>adipiscing</a:t>
            </a:r>
            <a:r>
              <a:rPr lang="en-GB"/>
              <a:t> </a:t>
            </a:r>
            <a:r>
              <a:rPr lang="en-GB" err="1"/>
              <a:t>elit</a:t>
            </a:r>
            <a:r>
              <a:rPr lang="en-GB"/>
              <a:t>, </a:t>
            </a:r>
            <a:r>
              <a:rPr lang="en-GB" err="1"/>
              <a:t>sed</a:t>
            </a:r>
            <a:r>
              <a:rPr lang="en-GB"/>
              <a:t> do </a:t>
            </a:r>
            <a:r>
              <a:rPr lang="en-GB" err="1"/>
              <a:t>eiusmod</a:t>
            </a:r>
            <a:r>
              <a:rPr lang="en-GB"/>
              <a:t> </a:t>
            </a:r>
            <a:r>
              <a:rPr lang="en-GB" err="1"/>
              <a:t>tempor</a:t>
            </a:r>
            <a:r>
              <a:rPr lang="en-GB"/>
              <a:t> </a:t>
            </a:r>
            <a:r>
              <a:rPr lang="en-GB" err="1"/>
              <a:t>incididunt</a:t>
            </a:r>
            <a:r>
              <a:rPr lang="en-GB"/>
              <a:t> </a:t>
            </a:r>
            <a:r>
              <a:rPr lang="en-GB" err="1"/>
              <a:t>ut</a:t>
            </a:r>
            <a:r>
              <a:rPr lang="en-GB"/>
              <a:t> labore.</a:t>
            </a:r>
          </a:p>
          <a:p>
            <a:pPr lvl="0"/>
            <a:endParaRPr lang="en-GB"/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74DE6FCA-9477-3080-6D9A-BF19D908821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2125" y="431800"/>
            <a:ext cx="4572000" cy="30480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Font typeface="Arial" panose="020B0604020202020204" pitchFamily="34" charset="0"/>
              <a:buNone/>
              <a:defRPr sz="1400" b="0" i="0" baseline="0">
                <a:solidFill>
                  <a:schemeClr val="bg2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16" name="Title Placeholder 1">
            <a:extLst>
              <a:ext uri="{FF2B5EF4-FFF2-40B4-BE49-F238E27FC236}">
                <a16:creationId xmlns:a16="http://schemas.microsoft.com/office/drawing/2014/main" id="{3EA95E83-5C21-97F4-1503-23FF4926ADC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2389491"/>
            <a:ext cx="4594524" cy="166878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5862945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5760">
          <p15:clr>
            <a:srgbClr val="FBAE40"/>
          </p15:clr>
        </p15:guide>
        <p15:guide id="2" pos="1920">
          <p15:clr>
            <a:srgbClr val="FBAE40"/>
          </p15:clr>
        </p15:guide>
      </p15:sldGuideLst>
    </p:ext>
  </p:extLst>
</p:sldLayout>
</file>

<file path=ppt/slideLayouts/slideLayout9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/>
          <p:cNvSpPr>
            <a:spLocks noGrp="1"/>
          </p:cNvSpPr>
          <p:nvPr>
            <p:ph type="pic" sz="quarter" idx="10"/>
          </p:nvPr>
        </p:nvSpPr>
        <p:spPr>
          <a:xfrm>
            <a:off x="6786037" y="431803"/>
            <a:ext cx="5405967" cy="5201356"/>
          </a:xfrm>
          <a:prstGeom prst="rect">
            <a:avLst/>
          </a:prstGeom>
          <a:solidFill>
            <a:schemeClr val="bg2">
              <a:alpha val="15000"/>
            </a:schemeClr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 hasCustomPrompt="1"/>
          </p:nvPr>
        </p:nvSpPr>
        <p:spPr>
          <a:xfrm>
            <a:off x="6786037" y="5893687"/>
            <a:ext cx="4745567" cy="36576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None/>
              <a:defRPr sz="1600">
                <a:solidFill>
                  <a:schemeClr val="bg2"/>
                </a:solidFill>
              </a:defRPr>
            </a:lvl1pPr>
          </a:lstStyle>
          <a:p>
            <a:pPr lvl="0"/>
            <a:r>
              <a:rPr lang="en-US"/>
              <a:t>Photo caption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6662FEFF-3E75-8C00-6245-672DD6C1DD9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2125" y="431800"/>
            <a:ext cx="4572000" cy="30480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Font typeface="Arial" panose="020B0604020202020204" pitchFamily="34" charset="0"/>
              <a:buNone/>
              <a:defRPr sz="1400" b="0" i="0" baseline="0">
                <a:solidFill>
                  <a:schemeClr val="bg2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3EB68504-08D0-FA7F-F0B3-182F7E2A367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2389491"/>
            <a:ext cx="4594524" cy="166878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557835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7" pos="427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sm column icons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2">
            <a:extLst>
              <a:ext uri="{FF2B5EF4-FFF2-40B4-BE49-F238E27FC236}">
                <a16:creationId xmlns:a16="http://schemas.microsoft.com/office/drawing/2014/main" id="{BE8071A5-D2DE-4A93-921A-785E22F45F37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6096000" y="0"/>
            <a:ext cx="6096000" cy="6858000"/>
          </a:xfrm>
          <a:solidFill>
            <a:srgbClr val="F2F2F2"/>
          </a:solidFill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9" name="Text Placeholder 3">
            <a:extLst>
              <a:ext uri="{FF2B5EF4-FFF2-40B4-BE49-F238E27FC236}">
                <a16:creationId xmlns:a16="http://schemas.microsoft.com/office/drawing/2014/main" id="{E98C8BEA-B15D-4061-953B-D90FCE37158F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563905" y="3700088"/>
            <a:ext cx="2322323" cy="59269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DB00627B-8E9E-451B-8924-7096742DBBB8}"/>
              </a:ext>
            </a:extLst>
          </p:cNvPr>
          <p:cNvSpPr>
            <a:spLocks noGrp="1"/>
          </p:cNvSpPr>
          <p:nvPr>
            <p:ph type="body" sz="half" idx="22" hasCustomPrompt="1"/>
          </p:nvPr>
        </p:nvSpPr>
        <p:spPr>
          <a:xfrm>
            <a:off x="3276412" y="3700088"/>
            <a:ext cx="2322323" cy="592699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3" name="Title Placeholder 1">
            <a:extLst>
              <a:ext uri="{FF2B5EF4-FFF2-40B4-BE49-F238E27FC236}">
                <a16:creationId xmlns:a16="http://schemas.microsoft.com/office/drawing/2014/main" id="{71D6F508-837A-4CD5-AC3A-FF7EE23D058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3" y="990600"/>
            <a:ext cx="5045560" cy="1566237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2-column with icons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6C411F75-6788-47F4-9D8B-6D1716F8EC07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5" y="4371432"/>
            <a:ext cx="2322323" cy="185090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7B962768-3C7E-49E5-AC1D-7730E96FE84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65680" y="4371432"/>
            <a:ext cx="2322323" cy="1850909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/>
            </a:lvl1pPr>
            <a:lvl2pPr>
              <a:defRPr lang="en-US" sz="1067"/>
            </a:lvl2pPr>
            <a:lvl3pPr>
              <a:defRPr lang="en-US" sz="800"/>
            </a:lvl3pPr>
          </a:lstStyle>
          <a:p>
            <a:pPr marL="228589" lvl="0" indent="-228589"/>
            <a:r>
              <a:rPr lang="en-US"/>
              <a:t>Click to edit Master text styles</a:t>
            </a:r>
          </a:p>
          <a:p>
            <a:pPr marL="228589" lvl="1" indent="-228589"/>
            <a:r>
              <a:rPr lang="en-US"/>
              <a:t>Second level</a:t>
            </a:r>
          </a:p>
          <a:p>
            <a:pPr marL="228589" lvl="2" indent="-228589"/>
            <a:r>
              <a:rPr lang="en-US"/>
              <a:t>Third level</a:t>
            </a:r>
          </a:p>
        </p:txBody>
      </p:sp>
      <p:sp>
        <p:nvSpPr>
          <p:cNvPr id="18" name="Slide Number Placeholder 4">
            <a:extLst>
              <a:ext uri="{FF2B5EF4-FFF2-40B4-BE49-F238E27FC236}">
                <a16:creationId xmlns:a16="http://schemas.microsoft.com/office/drawing/2014/main" id="{A84CF3E9-1E0B-46B7-BF52-271009164E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F63D291-DE41-4BB4-9E4C-30D49C50E581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563904" y="3350788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DDA18A8E-48CB-4C25-A5F2-E849DDAE33A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76411" y="3350788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CC49583F-365C-4C9E-81DD-9046A0055A5E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14" name="Footer Placeholder 3">
            <a:extLst>
              <a:ext uri="{FF2B5EF4-FFF2-40B4-BE49-F238E27FC236}">
                <a16:creationId xmlns:a16="http://schemas.microsoft.com/office/drawing/2014/main" id="{551AB8E0-3E63-4511-8C72-DE00D1124D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70906199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6">
            <a:extLst>
              <a:ext uri="{FF2B5EF4-FFF2-40B4-BE49-F238E27FC236}">
                <a16:creationId xmlns:a16="http://schemas.microsoft.com/office/drawing/2014/main" id="{2C94DA5F-CCF7-A048-8A5D-EE8276E9014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3" y="431800"/>
            <a:ext cx="6096000" cy="6045200"/>
          </a:xfrm>
          <a:prstGeom prst="rect">
            <a:avLst/>
          </a:prstGeom>
          <a:solidFill>
            <a:schemeClr val="bg2">
              <a:alpha val="15000"/>
            </a:schemeClr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B8ED364C-BAF2-9F2F-E224-E59C48A7EF9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2125" y="431800"/>
            <a:ext cx="4572000" cy="30480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Font typeface="Arial" panose="020B0604020202020204" pitchFamily="34" charset="0"/>
              <a:buNone/>
              <a:defRPr sz="1400" b="0" i="0" baseline="0">
                <a:solidFill>
                  <a:schemeClr val="bg2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B93CE8B-2A39-4C51-DEFC-338F8C1A90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2389491"/>
            <a:ext cx="4594524" cy="166878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94212632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567">
          <p15:clr>
            <a:srgbClr val="FBAE40"/>
          </p15:clr>
        </p15:guide>
      </p15:sldGuideLst>
    </p:ext>
  </p:extLst>
</p:sldLayout>
</file>

<file path=ppt/slideLayouts/slideLayout9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hoto Captio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2">
            <a:extLst>
              <a:ext uri="{FF2B5EF4-FFF2-40B4-BE49-F238E27FC236}">
                <a16:creationId xmlns:a16="http://schemas.microsoft.com/office/drawing/2014/main" id="{EF1594EA-D397-6C41-A885-CC4BB73C61CA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4324904"/>
          </a:xfrm>
          <a:prstGeom prst="rect">
            <a:avLst/>
          </a:prstGeom>
          <a:solidFill>
            <a:schemeClr val="bg2">
              <a:alpha val="15000"/>
            </a:schemeClr>
          </a:solidFill>
        </p:spPr>
        <p:txBody>
          <a:bodyPr vert="horz" lIns="91420" tIns="45710" rIns="91420" bIns="45710" anchor="ctr"/>
          <a:lstStyle>
            <a:lvl1pPr marL="0" indent="0" algn="ctr">
              <a:buNone/>
              <a:defRPr sz="1800" b="0" i="0" baseline="0">
                <a:solidFill>
                  <a:schemeClr val="bg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to add picture</a:t>
            </a:r>
          </a:p>
        </p:txBody>
      </p:sp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6D6B94F4-618A-F016-8EBA-95840E9A8D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4333956"/>
            <a:ext cx="10972800" cy="182880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 algn="ctr"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9777751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Phot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45C13F8A-9C96-BC4F-A27C-6AF68C9B9A84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" y="0"/>
            <a:ext cx="12192000" cy="5992432"/>
          </a:xfrm>
          <a:prstGeom prst="rect">
            <a:avLst/>
          </a:prstGeom>
          <a:solidFill>
            <a:schemeClr val="bg2">
              <a:alpha val="15000"/>
            </a:schemeClr>
          </a:solidFill>
        </p:spPr>
        <p:txBody>
          <a:bodyPr vert="horz" lIns="91420" tIns="45710" rIns="91420" bIns="45710" anchor="ctr"/>
          <a:lstStyle>
            <a:lvl1pPr marL="0" indent="0" algn="ctr">
              <a:buNone/>
              <a:defRPr sz="1800" b="0" i="0" baseline="0">
                <a:solidFill>
                  <a:schemeClr val="bg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219316890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8303824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alf Page 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/>
          <p:cNvSpPr>
            <a:spLocks noGrp="1"/>
          </p:cNvSpPr>
          <p:nvPr>
            <p:ph type="chart" sz="quarter" idx="10"/>
          </p:nvPr>
        </p:nvSpPr>
        <p:spPr>
          <a:xfrm>
            <a:off x="6786037" y="431805"/>
            <a:ext cx="4796367" cy="5702297"/>
          </a:xfrm>
          <a:prstGeom prst="rect">
            <a:avLst/>
          </a:prstGeom>
          <a:solidFill>
            <a:schemeClr val="bg2">
              <a:alpha val="15000"/>
            </a:schemeClr>
          </a:solidFill>
        </p:spPr>
        <p:txBody>
          <a:bodyPr anchor="ctr" anchorCtr="0"/>
          <a:lstStyle>
            <a:lvl1pPr marL="0" indent="0" algn="ctr">
              <a:buNone/>
              <a:defRPr>
                <a:solidFill>
                  <a:schemeClr val="bg2"/>
                </a:solidFill>
              </a:defRPr>
            </a:lvl1pPr>
          </a:lstStyle>
          <a:p>
            <a:r>
              <a:rPr lang="en-US"/>
              <a:t>Click icon to add chart</a:t>
            </a:r>
          </a:p>
        </p:txBody>
      </p:sp>
      <p:sp>
        <p:nvSpPr>
          <p:cNvPr id="4" name="Text Placeholder 2">
            <a:extLst>
              <a:ext uri="{FF2B5EF4-FFF2-40B4-BE49-F238E27FC236}">
                <a16:creationId xmlns:a16="http://schemas.microsoft.com/office/drawing/2014/main" id="{38CA122E-84F3-46AD-9E51-F9AF1BE6DC8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2125" y="431800"/>
            <a:ext cx="4572000" cy="30480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buFont typeface="Arial" panose="020B0604020202020204" pitchFamily="34" charset="0"/>
              <a:buNone/>
              <a:defRPr sz="1400" b="0" i="0" baseline="0">
                <a:solidFill>
                  <a:schemeClr val="bg2"/>
                </a:solidFill>
                <a:latin typeface="CiscoSansTT Light" panose="020B0503020201020303" pitchFamily="34" charset="0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Section title</a:t>
            </a:r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052B211B-517D-A64F-A54C-62D02B79A0F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2" y="2389491"/>
            <a:ext cx="4594524" cy="166878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 sz="44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4488001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>
        <p15:guide id="4" pos="3567">
          <p15:clr>
            <a:srgbClr val="FBAE40"/>
          </p15:clr>
        </p15:guide>
      </p15:sldGuideLst>
    </p:ext>
  </p:extLst>
</p:sldLayout>
</file>

<file path=ppt/slideLayouts/slideLayout9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w Tab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able Placeholder 11">
            <a:extLst>
              <a:ext uri="{FF2B5EF4-FFF2-40B4-BE49-F238E27FC236}">
                <a16:creationId xmlns:a16="http://schemas.microsoft.com/office/drawing/2014/main" id="{C83B223E-030E-74D0-B6FA-BEC3DA7BD3FA}"/>
              </a:ext>
            </a:extLst>
          </p:cNvPr>
          <p:cNvSpPr>
            <a:spLocks noGrp="1"/>
          </p:cNvSpPr>
          <p:nvPr>
            <p:ph type="tbl" sz="quarter" idx="12"/>
          </p:nvPr>
        </p:nvSpPr>
        <p:spPr>
          <a:xfrm>
            <a:off x="621103" y="1409701"/>
            <a:ext cx="10974395" cy="3932321"/>
          </a:xfrm>
          <a:prstGeom prst="rect">
            <a:avLst/>
          </a:prstGeom>
        </p:spPr>
        <p:txBody>
          <a:bodyPr lIns="45720" tIns="45720" rIns="45720" bIns="4572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aseline="0">
                <a:solidFill>
                  <a:schemeClr val="bg2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  <a:endParaRPr lang="en-GB" noProof="0"/>
          </a:p>
        </p:txBody>
      </p:sp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89B8D9E7-EAC8-4A5C-4139-BA396711F0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5" y="5586423"/>
            <a:ext cx="5463875" cy="36576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i="0" baseline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Table caption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6095535F-B15D-4674-AA8E-3E7F5789B25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3" y="384079"/>
            <a:ext cx="10972800" cy="68580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0825746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 w Char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48CE7DB6-039C-AC58-5C90-9B19A4AA26C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5" y="5586423"/>
            <a:ext cx="5463875" cy="365760"/>
          </a:xfrm>
          <a:prstGeom prst="rect">
            <a:avLst/>
          </a:prstGeom>
        </p:spPr>
        <p:txBody>
          <a:bodyPr lIns="45720" tIns="45720" rIns="45720" bIns="45720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600" b="0" i="0" baseline="0">
                <a:solidFill>
                  <a:schemeClr val="bg2"/>
                </a:solidFill>
                <a:latin typeface="+mn-lt"/>
                <a:cs typeface="CiscoSansTT Light" panose="020B0503020201020303" pitchFamily="34" charset="0"/>
              </a:defRPr>
            </a:lvl1pPr>
            <a:lvl2pPr marL="406361" indent="0">
              <a:buNone/>
              <a:defRPr/>
            </a:lvl2pPr>
            <a:lvl3pPr marL="569848" indent="0">
              <a:buNone/>
              <a:defRPr/>
            </a:lvl3pPr>
            <a:lvl4pPr marL="688903" indent="0">
              <a:buNone/>
              <a:defRPr/>
            </a:lvl4pPr>
            <a:lvl5pPr marL="801601" indent="0">
              <a:buNone/>
              <a:defRPr/>
            </a:lvl5pPr>
          </a:lstStyle>
          <a:p>
            <a:pPr lvl="0"/>
            <a:r>
              <a:rPr lang="en-GB"/>
              <a:t>Chart caption</a:t>
            </a:r>
          </a:p>
        </p:txBody>
      </p:sp>
      <p:sp>
        <p:nvSpPr>
          <p:cNvPr id="14" name="Chart Placeholder 2">
            <a:extLst>
              <a:ext uri="{FF2B5EF4-FFF2-40B4-BE49-F238E27FC236}">
                <a16:creationId xmlns:a16="http://schemas.microsoft.com/office/drawing/2014/main" id="{BD75F8AD-CDF4-CE28-1C24-08F6FA9598D3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632125" y="1409701"/>
            <a:ext cx="10960608" cy="3937003"/>
          </a:xfrm>
          <a:prstGeom prst="rect">
            <a:avLst/>
          </a:prstGeom>
        </p:spPr>
        <p:txBody>
          <a:bodyPr vert="horz" lIns="45720" tIns="45720" rIns="45720" bIns="45720">
            <a:noAutofit/>
          </a:bodyPr>
          <a:lstStyle>
            <a:lvl1pPr marL="0" indent="0" algn="ctr">
              <a:lnSpc>
                <a:spcPct val="100000"/>
              </a:lnSpc>
              <a:spcBef>
                <a:spcPts val="0"/>
              </a:spcBef>
              <a:buNone/>
              <a:defRPr sz="2400" b="0" i="0">
                <a:solidFill>
                  <a:schemeClr val="bg2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5" name="Title Placeholder 1">
            <a:extLst>
              <a:ext uri="{FF2B5EF4-FFF2-40B4-BE49-F238E27FC236}">
                <a16:creationId xmlns:a16="http://schemas.microsoft.com/office/drawing/2014/main" id="{EC8E4F24-1DD2-9F21-154D-07CBBFFD69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3" y="384079"/>
            <a:ext cx="10972800" cy="68580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955222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Midn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26AD5A65-A7EB-424E-8ADF-62E6668815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038771" y="2921000"/>
            <a:ext cx="2114461" cy="874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480802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k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phic 3">
            <a:extLst>
              <a:ext uri="{FF2B5EF4-FFF2-40B4-BE49-F238E27FC236}">
                <a16:creationId xmlns:a16="http://schemas.microsoft.com/office/drawing/2014/main" id="{26AD5A65-A7EB-424E-8ADF-62E6668815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/>
          <a:stretch/>
        </p:blipFill>
        <p:spPr>
          <a:xfrm>
            <a:off x="5038771" y="2921000"/>
            <a:ext cx="2114461" cy="8749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1902685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E1C715D-9112-4A01-AD63-361439BFB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4985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Slide Number Placeholder 5">
            <a:extLst>
              <a:ext uri="{FF2B5EF4-FFF2-40B4-BE49-F238E27FC236}">
                <a16:creationId xmlns:a16="http://schemas.microsoft.com/office/drawing/2014/main" id="{9A02B8EA-12A2-4673-BF3F-8D4FB8234D27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184137003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4 sm column icons - Graphic 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">
            <a:extLst>
              <a:ext uri="{FF2B5EF4-FFF2-40B4-BE49-F238E27FC236}">
                <a16:creationId xmlns:a16="http://schemas.microsoft.com/office/drawing/2014/main" id="{2965406F-4919-4C06-802B-3D3899E60FA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rgbClr val="F2F2F2"/>
          </a:solidFill>
        </p:spPr>
        <p:txBody>
          <a:bodyPr>
            <a:noAutofit/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23" name="Text Placeholder 3">
            <a:extLst>
              <a:ext uri="{FF2B5EF4-FFF2-40B4-BE49-F238E27FC236}">
                <a16:creationId xmlns:a16="http://schemas.microsoft.com/office/drawing/2014/main" id="{ADFF45C6-46F9-8640-A5F1-11290FCEA3EC}"/>
              </a:ext>
            </a:extLst>
          </p:cNvPr>
          <p:cNvSpPr>
            <a:spLocks noGrp="1"/>
          </p:cNvSpPr>
          <p:nvPr>
            <p:ph type="body" sz="half" idx="24" hasCustomPrompt="1"/>
          </p:nvPr>
        </p:nvSpPr>
        <p:spPr>
          <a:xfrm>
            <a:off x="563903" y="3034588"/>
            <a:ext cx="2317184" cy="58876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1" name="Text Placeholder 3">
            <a:extLst>
              <a:ext uri="{FF2B5EF4-FFF2-40B4-BE49-F238E27FC236}">
                <a16:creationId xmlns:a16="http://schemas.microsoft.com/office/drawing/2014/main" id="{429BA22C-8830-7E4A-B1E1-AC3DC42388CA}"/>
              </a:ext>
            </a:extLst>
          </p:cNvPr>
          <p:cNvSpPr>
            <a:spLocks noGrp="1"/>
          </p:cNvSpPr>
          <p:nvPr>
            <p:ph type="body" sz="half" idx="36" hasCustomPrompt="1"/>
          </p:nvPr>
        </p:nvSpPr>
        <p:spPr>
          <a:xfrm>
            <a:off x="563903" y="4932949"/>
            <a:ext cx="2317184" cy="58876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39" name="Text Placeholder 3">
            <a:extLst>
              <a:ext uri="{FF2B5EF4-FFF2-40B4-BE49-F238E27FC236}">
                <a16:creationId xmlns:a16="http://schemas.microsoft.com/office/drawing/2014/main" id="{A6A5AFD9-009A-4A4C-94F4-05A23B341CF2}"/>
              </a:ext>
            </a:extLst>
          </p:cNvPr>
          <p:cNvSpPr>
            <a:spLocks noGrp="1"/>
          </p:cNvSpPr>
          <p:nvPr>
            <p:ph type="body" sz="half" idx="41" hasCustomPrompt="1"/>
          </p:nvPr>
        </p:nvSpPr>
        <p:spPr>
          <a:xfrm>
            <a:off x="3270816" y="3034588"/>
            <a:ext cx="2317184" cy="58876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42" name="Text Placeholder 3">
            <a:extLst>
              <a:ext uri="{FF2B5EF4-FFF2-40B4-BE49-F238E27FC236}">
                <a16:creationId xmlns:a16="http://schemas.microsoft.com/office/drawing/2014/main" id="{8930094A-C63F-1B4B-8A52-5C7320E7BE21}"/>
              </a:ext>
            </a:extLst>
          </p:cNvPr>
          <p:cNvSpPr>
            <a:spLocks noGrp="1"/>
          </p:cNvSpPr>
          <p:nvPr>
            <p:ph type="body" sz="half" idx="44" hasCustomPrompt="1"/>
          </p:nvPr>
        </p:nvSpPr>
        <p:spPr>
          <a:xfrm>
            <a:off x="3270816" y="4932949"/>
            <a:ext cx="2317184" cy="588768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>
              <a:defRPr lang="en-US" sz="2133" dirty="0">
                <a:latin typeface="+mj-lt"/>
              </a:defRPr>
            </a:lvl1pPr>
          </a:lstStyle>
          <a:p>
            <a:pPr marL="0" lvl="0" indent="0">
              <a:buNone/>
            </a:pPr>
            <a:r>
              <a:rPr lang="en-US"/>
              <a:t>Subtitle</a:t>
            </a:r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19A47C88-6D77-40E6-9F1E-6FF92AB2F8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5" y="990600"/>
            <a:ext cx="5034828" cy="1496568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Headline here </a:t>
            </a:r>
            <a:br>
              <a:rPr lang="en-US"/>
            </a:br>
            <a:r>
              <a:rPr lang="en-US"/>
              <a:t>4-column with icons</a:t>
            </a:r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986AA7C8-7D59-46CE-A267-59CE001AF214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563907" y="3727090"/>
            <a:ext cx="2326877" cy="67592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1333" dirty="0"/>
            </a:lvl1pPr>
            <a:lvl2pPr>
              <a:lnSpc>
                <a:spcPct val="100000"/>
              </a:lnSpc>
              <a:defRPr lang="en-US" sz="1067" dirty="0"/>
            </a:lvl2pPr>
          </a:lstStyle>
          <a:p>
            <a:pPr marL="0" lvl="0" indent="0">
              <a:lnSpc>
                <a:spcPct val="120000"/>
              </a:lnSpc>
              <a:spcAft>
                <a:spcPts val="267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6D602771-5223-47EB-BA07-406BD8C69428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261124" y="3727090"/>
            <a:ext cx="2326877" cy="67592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1333" dirty="0"/>
            </a:lvl1pPr>
            <a:lvl2pPr>
              <a:lnSpc>
                <a:spcPct val="100000"/>
              </a:lnSpc>
              <a:defRPr lang="en-US" sz="1067" dirty="0"/>
            </a:lvl2pPr>
          </a:lstStyle>
          <a:p>
            <a:pPr marL="0" lvl="0" indent="0">
              <a:lnSpc>
                <a:spcPct val="120000"/>
              </a:lnSpc>
              <a:spcAft>
                <a:spcPts val="267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D47C9E04-F2BD-40A7-B46E-117AEBB53AF0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563907" y="5616956"/>
            <a:ext cx="2326877" cy="67592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1333" dirty="0"/>
            </a:lvl1pPr>
            <a:lvl2pPr>
              <a:lnSpc>
                <a:spcPct val="100000"/>
              </a:lnSpc>
              <a:defRPr lang="en-US" sz="1067" dirty="0"/>
            </a:lvl2pPr>
          </a:lstStyle>
          <a:p>
            <a:pPr marL="0" lvl="0" indent="0">
              <a:lnSpc>
                <a:spcPct val="120000"/>
              </a:lnSpc>
              <a:spcAft>
                <a:spcPts val="267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CE5E9F3F-438C-4859-85E0-F4A6C4DAF8D7}"/>
              </a:ext>
            </a:extLst>
          </p:cNvPr>
          <p:cNvSpPr>
            <a:spLocks noGrp="1"/>
          </p:cNvSpPr>
          <p:nvPr>
            <p:ph type="body" sz="quarter" idx="47"/>
          </p:nvPr>
        </p:nvSpPr>
        <p:spPr>
          <a:xfrm>
            <a:off x="3261124" y="5616956"/>
            <a:ext cx="2326877" cy="675929"/>
          </a:xfrm>
        </p:spPr>
        <p:txBody>
          <a:bodyPr vert="horz" lIns="0" tIns="0" rIns="0" bIns="0" rtlCol="0">
            <a:noAutofit/>
          </a:bodyPr>
          <a:lstStyle>
            <a:lvl1pPr>
              <a:lnSpc>
                <a:spcPct val="100000"/>
              </a:lnSpc>
              <a:defRPr lang="en-US" sz="1333" dirty="0"/>
            </a:lvl1pPr>
            <a:lvl2pPr>
              <a:lnSpc>
                <a:spcPct val="100000"/>
              </a:lnSpc>
              <a:defRPr lang="en-US" sz="1067" dirty="0"/>
            </a:lvl2pPr>
          </a:lstStyle>
          <a:p>
            <a:pPr marL="0" lvl="0" indent="0">
              <a:lnSpc>
                <a:spcPct val="120000"/>
              </a:lnSpc>
              <a:spcAft>
                <a:spcPts val="267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37" name="Slide Number Placeholder 4">
            <a:extLst>
              <a:ext uri="{FF2B5EF4-FFF2-40B4-BE49-F238E27FC236}">
                <a16:creationId xmlns:a16="http://schemas.microsoft.com/office/drawing/2014/main" id="{89496E11-838C-4853-9266-14C470B1EBB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1DD1BAC7-1730-495E-82FF-94326537FCF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563907" y="268893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8434F53B-C383-4B15-BF37-0278F10B6C4A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3271856" y="2688936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D830F54C-BE4C-4892-AF17-69FB7EE275D7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563907" y="4583649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48" name="Text Placeholder 2">
            <a:extLst>
              <a:ext uri="{FF2B5EF4-FFF2-40B4-BE49-F238E27FC236}">
                <a16:creationId xmlns:a16="http://schemas.microsoft.com/office/drawing/2014/main" id="{743047EE-B643-4307-9434-A43A6442CEA0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3271856" y="4583649"/>
            <a:ext cx="1204685" cy="349299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067">
                <a:solidFill>
                  <a:schemeClr val="tx1">
                    <a:lumMod val="25000"/>
                    <a:lumOff val="75000"/>
                  </a:schemeClr>
                </a:solidFill>
              </a:defRPr>
            </a:lvl1pPr>
          </a:lstStyle>
          <a:p>
            <a:pPr lvl="0"/>
            <a:r>
              <a:rPr lang="en-US"/>
              <a:t>Paste icon here &amp; delete this box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036F33AF-48EA-421B-91FF-4AD7EDD725A9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20" name="Footer Placeholder 3">
            <a:extLst>
              <a:ext uri="{FF2B5EF4-FFF2-40B4-BE49-F238E27FC236}">
                <a16:creationId xmlns:a16="http://schemas.microsoft.com/office/drawing/2014/main" id="{EE29C994-41DB-4E88-8A93-3D10E1A8BA1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</p:spTree>
    <p:extLst>
      <p:ext uri="{BB962C8B-B14F-4D97-AF65-F5344CB8AC3E}">
        <p14:creationId xmlns:p14="http://schemas.microsoft.com/office/powerpoint/2010/main" val="133296987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1879891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Slide Number Placeholder 4">
            <a:extLst>
              <a:ext uri="{FF2B5EF4-FFF2-40B4-BE49-F238E27FC236}">
                <a16:creationId xmlns:a16="http://schemas.microsoft.com/office/drawing/2014/main" id="{B4490E3A-EE7B-48AF-BD6B-46266697BF9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7E1C715D-9112-4A01-AD63-361439BFBD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954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AE43F6E-A8D0-4155-BD27-8561034BB2B8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1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361816777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2">
            <a:extLst>
              <a:ext uri="{FF2B5EF4-FFF2-40B4-BE49-F238E27FC236}">
                <a16:creationId xmlns:a16="http://schemas.microsoft.com/office/drawing/2014/main" id="{905BFD70-60D5-4954-9D81-85903F6F14BB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6000" y="0"/>
            <a:ext cx="6096000" cy="6858000"/>
          </a:xfrm>
          <a:solidFill>
            <a:schemeClr val="bg2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 anchorCtr="0">
            <a:normAutofit/>
          </a:bodyPr>
          <a:lstStyle>
            <a:lvl1pPr>
              <a:defRPr lang="en-US" sz="1824" kern="1200">
                <a:solidFill>
                  <a:schemeClr val="tx1"/>
                </a:solidFill>
              </a:defRPr>
            </a:lvl1pPr>
          </a:lstStyle>
          <a:p>
            <a:pPr marL="0" lvl="0" indent="0" algn="ctr" defTabSz="926326">
              <a:lnSpc>
                <a:spcPct val="140000"/>
              </a:lnSpc>
              <a:buNone/>
            </a:pPr>
            <a:r>
              <a:rPr lang="en-US"/>
              <a:t>Click icon to add pictur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BA091B5-A806-4305-BC24-7E50D3D4B3AA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58801" y="2870201"/>
            <a:ext cx="5029200" cy="3422280"/>
          </a:xfrm>
        </p:spPr>
        <p:txBody>
          <a:bodyPr vert="horz" lIns="0" tIns="0" rIns="0" bIns="0" rtlCol="0">
            <a:noAutofit/>
          </a:bodyPr>
          <a:lstStyle>
            <a:lvl1pPr>
              <a:defRPr lang="en-US" sz="1333" dirty="0"/>
            </a:lvl1pPr>
            <a:lvl2pPr>
              <a:defRPr lang="en-US" sz="1067" dirty="0"/>
            </a:lvl2pPr>
            <a:lvl3pPr>
              <a:defRPr lang="en-US" sz="800" dirty="0"/>
            </a:lvl3pPr>
            <a:lvl4pPr>
              <a:defRPr lang="en-US" sz="400" dirty="0"/>
            </a:lvl4pPr>
          </a:lstStyle>
          <a:p>
            <a:pPr marL="228584" lvl="0" indent="-228584"/>
            <a:r>
              <a:rPr lang="en-US"/>
              <a:t>Click to edit Master text styles</a:t>
            </a:r>
          </a:p>
          <a:p>
            <a:pPr marL="228584" lvl="1" indent="-228584"/>
            <a:r>
              <a:rPr lang="en-US"/>
              <a:t>Second level</a:t>
            </a:r>
          </a:p>
          <a:p>
            <a:pPr marL="228584" lvl="2" indent="-228584"/>
            <a:r>
              <a:rPr lang="en-US"/>
              <a:t>Third level</a:t>
            </a:r>
          </a:p>
          <a:p>
            <a:pPr marL="228584" lvl="3" indent="-228584"/>
            <a:r>
              <a:rPr lang="en-US"/>
              <a:t>Fourth level</a:t>
            </a:r>
          </a:p>
        </p:txBody>
      </p:sp>
      <p:sp>
        <p:nvSpPr>
          <p:cNvPr id="8" name="Title Placeholder 1">
            <a:extLst>
              <a:ext uri="{FF2B5EF4-FFF2-40B4-BE49-F238E27FC236}">
                <a16:creationId xmlns:a16="http://schemas.microsoft.com/office/drawing/2014/main" id="{7848DCA2-1B24-46EE-95C8-6D3E57E0DD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3176" y="990601"/>
            <a:ext cx="5034827" cy="1684675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>
            <a:lvl1pPr>
              <a:defRPr lang="en-US" dirty="0"/>
            </a:lvl1pPr>
          </a:lstStyle>
          <a:p>
            <a:pPr lvl="0"/>
            <a:r>
              <a:rPr lang="en-US"/>
              <a:t>Summary headline here 2-column</a:t>
            </a:r>
          </a:p>
        </p:txBody>
      </p:sp>
      <p:sp>
        <p:nvSpPr>
          <p:cNvPr id="11" name="Slide Number Placeholder 4">
            <a:extLst>
              <a:ext uri="{FF2B5EF4-FFF2-40B4-BE49-F238E27FC236}">
                <a16:creationId xmlns:a16="http://schemas.microsoft.com/office/drawing/2014/main" id="{D99F7D69-A9F4-4F01-BFAC-42E7473B36A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fld id="{4FBA21EC-AAEF-294C-876E-4C525D7D09F2}" type="slidenum">
              <a:rPr lang="nb-NO" smtClean="0"/>
              <a:t>‹#›</a:t>
            </a:fld>
            <a:endParaRPr lang="nb-NO"/>
          </a:p>
        </p:txBody>
      </p:sp>
      <p:sp>
        <p:nvSpPr>
          <p:cNvPr id="13" name="Text Placeholder 2">
            <a:extLst>
              <a:ext uri="{FF2B5EF4-FFF2-40B4-BE49-F238E27FC236}">
                <a16:creationId xmlns:a16="http://schemas.microsoft.com/office/drawing/2014/main" id="{470E4E8C-5C8A-4A5C-9CB6-21983AE4806A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558800" y="339201"/>
            <a:ext cx="5384800" cy="267256"/>
          </a:xfrm>
        </p:spPr>
        <p:txBody>
          <a:bodyPr>
            <a:noAutofit/>
          </a:bodyPr>
          <a:lstStyle>
            <a:lvl1pPr marL="0" indent="0">
              <a:buNone/>
              <a:defRPr sz="800"/>
            </a:lvl1pPr>
          </a:lstStyle>
          <a:p>
            <a:pPr lvl="0"/>
            <a:r>
              <a:rPr lang="en-US"/>
              <a:t>Presentation title or header if needed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174B9545-8347-4FBE-AFB1-341783CD09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2815016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wo Column, Title &amp; Bulle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BDC1BA0-9AAE-4457-AB7A-2225418D15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2663" y="1905001"/>
            <a:ext cx="5372100" cy="292388"/>
          </a:xfrm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20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A87F35FC-680E-4287-99BA-ED6DF9E6085D}"/>
              </a:ext>
            </a:extLst>
          </p:cNvPr>
          <p:cNvSpPr>
            <a:spLocks noGrp="1"/>
          </p:cNvSpPr>
          <p:nvPr>
            <p:ph type="body" idx="57"/>
          </p:nvPr>
        </p:nvSpPr>
        <p:spPr>
          <a:xfrm>
            <a:off x="6249563" y="1905001"/>
            <a:ext cx="5372100" cy="307777"/>
          </a:xfrm>
        </p:spPr>
        <p:txBody>
          <a:bodyPr vert="horz" wrap="square" lIns="0" tIns="0" rIns="0" bIns="0" rtlCol="0" anchor="t" anchorCtr="0">
            <a:noAutofit/>
          </a:bodyPr>
          <a:lstStyle>
            <a:lvl1pPr>
              <a:defRPr lang="en-US" sz="2000" dirty="0">
                <a:latin typeface="+mj-lt"/>
                <a:cs typeface="CiscoSansTT" panose="020B0503020201020303" pitchFamily="34" charset="0"/>
              </a:defRPr>
            </a:lvl1pPr>
          </a:lstStyle>
          <a:p>
            <a:pPr lvl="0">
              <a:spcAft>
                <a:spcPts val="0"/>
              </a:spcAft>
              <a:buNone/>
            </a:pPr>
            <a:r>
              <a:rPr lang="en-US"/>
              <a:t>Click to edit Master text style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AE451DCD-2B8C-4BF9-8D85-AA8F5ABE2826}"/>
              </a:ext>
            </a:extLst>
          </p:cNvPr>
          <p:cNvSpPr>
            <a:spLocks noGrp="1"/>
          </p:cNvSpPr>
          <p:nvPr>
            <p:ph sz="half" idx="58"/>
          </p:nvPr>
        </p:nvSpPr>
        <p:spPr>
          <a:xfrm>
            <a:off x="571501" y="2369054"/>
            <a:ext cx="5372100" cy="3841249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>
              <a:defRPr sz="6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1" name="Content Placeholder 3">
            <a:extLst>
              <a:ext uri="{FF2B5EF4-FFF2-40B4-BE49-F238E27FC236}">
                <a16:creationId xmlns:a16="http://schemas.microsoft.com/office/drawing/2014/main" id="{5F39D5E2-4E9E-4B26-9E69-7D77328E4C9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249563" y="2369053"/>
            <a:ext cx="5372100" cy="3841249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000"/>
            </a:lvl4pPr>
            <a:lvl5pPr marL="746107" indent="-174621">
              <a:defRPr lang="en-US" sz="600" b="0" i="0" kern="1200" spc="0" baseline="0" dirty="0">
                <a:solidFill>
                  <a:schemeClr val="tx1"/>
                </a:solidFill>
                <a:latin typeface="CiscoSansTT Light" panose="020B0503020201020303" pitchFamily="34" charset="0"/>
                <a:ea typeface="+mn-ea"/>
                <a:cs typeface="+mn-cs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BC2285B0-0824-4973-8F1D-C24F2784A9C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498599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0C254480-49EA-44F8-91E6-0FCF9F498DC6}"/>
              </a:ext>
            </a:extLst>
          </p:cNvPr>
          <p:cNvSpPr txBox="1"/>
          <p:nvPr/>
        </p:nvSpPr>
        <p:spPr>
          <a:xfrm>
            <a:off x="3429000" y="6437290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4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2 Cisco and/or its affiliates. All rights reserved. Cisco Confidential</a:t>
            </a:r>
          </a:p>
        </p:txBody>
      </p:sp>
      <p:sp>
        <p:nvSpPr>
          <p:cNvPr id="14" name="Slide Number Placeholder 5">
            <a:extLst>
              <a:ext uri="{FF2B5EF4-FFF2-40B4-BE49-F238E27FC236}">
                <a16:creationId xmlns:a16="http://schemas.microsoft.com/office/drawing/2014/main" id="{4D5DBBD6-CA78-4551-B263-2F8BFC4E781A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580301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99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 " type="blank" preserve="1">
  <p:cSld name="Blank ">
    <p:spTree>
      <p:nvGrpSpPr>
        <p:cNvPr id="1" name="Shape 14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6152953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motionBackground.png" descr="motionBackground.png">
            <a:extLst>
              <a:ext uri="{FF2B5EF4-FFF2-40B4-BE49-F238E27FC236}">
                <a16:creationId xmlns:a16="http://schemas.microsoft.com/office/drawing/2014/main" id="{78DF38C2-DD38-D688-AD6A-02C6A68188C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5165" y="1"/>
            <a:ext cx="12197167" cy="6858000"/>
          </a:xfrm>
          <a:prstGeom prst="rect">
            <a:avLst/>
          </a:prstGeom>
          <a:ln w="12700">
            <a:miter lim="400000"/>
          </a:ln>
        </p:spPr>
      </p:pic>
    </p:spTree>
    <p:extLst>
      <p:ext uri="{BB962C8B-B14F-4D97-AF65-F5344CB8AC3E}">
        <p14:creationId xmlns:p14="http://schemas.microsoft.com/office/powerpoint/2010/main" val="204807079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FDF76D63-26E7-E9D6-E764-45985E5E3B4B}"/>
              </a:ext>
            </a:extLst>
          </p:cNvPr>
          <p:cNvGrpSpPr/>
          <p:nvPr/>
        </p:nvGrpSpPr>
        <p:grpSpPr>
          <a:xfrm>
            <a:off x="0" y="5991170"/>
            <a:ext cx="12190733" cy="840735"/>
            <a:chOff x="0" y="5991169"/>
            <a:chExt cx="12190733" cy="840735"/>
          </a:xfrm>
        </p:grpSpPr>
        <p:sp>
          <p:nvSpPr>
            <p:cNvPr id="8" name="Freeform: Shape 7">
              <a:extLst>
                <a:ext uri="{FF2B5EF4-FFF2-40B4-BE49-F238E27FC236}">
                  <a16:creationId xmlns:a16="http://schemas.microsoft.com/office/drawing/2014/main" id="{4EA5F178-F031-6B1E-B392-3802058A0465}"/>
                </a:ext>
              </a:extLst>
            </p:cNvPr>
            <p:cNvSpPr/>
            <p:nvPr/>
          </p:nvSpPr>
          <p:spPr>
            <a:xfrm>
              <a:off x="0" y="6087834"/>
              <a:ext cx="12190733" cy="744070"/>
            </a:xfrm>
            <a:custGeom>
              <a:avLst/>
              <a:gdLst>
                <a:gd name="connsiteX0" fmla="*/ 0 w 11743765"/>
                <a:gd name="connsiteY0" fmla="*/ 744070 h 744070"/>
                <a:gd name="connsiteX1" fmla="*/ 1550894 w 11743765"/>
                <a:gd name="connsiteY1" fmla="*/ 242047 h 744070"/>
                <a:gd name="connsiteX2" fmla="*/ 2339788 w 11743765"/>
                <a:gd name="connsiteY2" fmla="*/ 681317 h 744070"/>
                <a:gd name="connsiteX3" fmla="*/ 4607859 w 11743765"/>
                <a:gd name="connsiteY3" fmla="*/ 152400 h 744070"/>
                <a:gd name="connsiteX4" fmla="*/ 5387788 w 11743765"/>
                <a:gd name="connsiteY4" fmla="*/ 546847 h 744070"/>
                <a:gd name="connsiteX5" fmla="*/ 6929718 w 11743765"/>
                <a:gd name="connsiteY5" fmla="*/ 134470 h 744070"/>
                <a:gd name="connsiteX6" fmla="*/ 7530353 w 11743765"/>
                <a:gd name="connsiteY6" fmla="*/ 627529 h 744070"/>
                <a:gd name="connsiteX7" fmla="*/ 9063318 w 11743765"/>
                <a:gd name="connsiteY7" fmla="*/ 80682 h 744070"/>
                <a:gd name="connsiteX8" fmla="*/ 9206753 w 11743765"/>
                <a:gd name="connsiteY8" fmla="*/ 421341 h 744070"/>
                <a:gd name="connsiteX9" fmla="*/ 10246659 w 11743765"/>
                <a:gd name="connsiteY9" fmla="*/ 152400 h 744070"/>
                <a:gd name="connsiteX10" fmla="*/ 10300447 w 11743765"/>
                <a:gd name="connsiteY10" fmla="*/ 493059 h 744070"/>
                <a:gd name="connsiteX11" fmla="*/ 11743765 w 11743765"/>
                <a:gd name="connsiteY11" fmla="*/ 0 h 744070"/>
                <a:gd name="connsiteX12" fmla="*/ 11743765 w 11743765"/>
                <a:gd name="connsiteY12" fmla="*/ 0 h 7440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</a:cxnLst>
              <a:rect l="l" t="t" r="r" b="b"/>
              <a:pathLst>
                <a:path w="11743765" h="744070">
                  <a:moveTo>
                    <a:pt x="0" y="744070"/>
                  </a:moveTo>
                  <a:cubicBezTo>
                    <a:pt x="580464" y="498288"/>
                    <a:pt x="1160929" y="252506"/>
                    <a:pt x="1550894" y="242047"/>
                  </a:cubicBezTo>
                  <a:cubicBezTo>
                    <a:pt x="1940859" y="231588"/>
                    <a:pt x="1830294" y="696258"/>
                    <a:pt x="2339788" y="681317"/>
                  </a:cubicBezTo>
                  <a:cubicBezTo>
                    <a:pt x="2849282" y="666376"/>
                    <a:pt x="4099859" y="174812"/>
                    <a:pt x="4607859" y="152400"/>
                  </a:cubicBezTo>
                  <a:cubicBezTo>
                    <a:pt x="5115859" y="129988"/>
                    <a:pt x="5000812" y="549835"/>
                    <a:pt x="5387788" y="546847"/>
                  </a:cubicBezTo>
                  <a:cubicBezTo>
                    <a:pt x="5774764" y="543859"/>
                    <a:pt x="6572624" y="121023"/>
                    <a:pt x="6929718" y="134470"/>
                  </a:cubicBezTo>
                  <a:cubicBezTo>
                    <a:pt x="7286812" y="147917"/>
                    <a:pt x="7174753" y="636494"/>
                    <a:pt x="7530353" y="627529"/>
                  </a:cubicBezTo>
                  <a:cubicBezTo>
                    <a:pt x="7885953" y="618564"/>
                    <a:pt x="8783918" y="115047"/>
                    <a:pt x="9063318" y="80682"/>
                  </a:cubicBezTo>
                  <a:cubicBezTo>
                    <a:pt x="9342718" y="46317"/>
                    <a:pt x="9009530" y="409388"/>
                    <a:pt x="9206753" y="421341"/>
                  </a:cubicBezTo>
                  <a:cubicBezTo>
                    <a:pt x="9403976" y="433294"/>
                    <a:pt x="10064377" y="140447"/>
                    <a:pt x="10246659" y="152400"/>
                  </a:cubicBezTo>
                  <a:cubicBezTo>
                    <a:pt x="10428941" y="164353"/>
                    <a:pt x="10050929" y="518459"/>
                    <a:pt x="10300447" y="493059"/>
                  </a:cubicBezTo>
                  <a:cubicBezTo>
                    <a:pt x="10549965" y="467659"/>
                    <a:pt x="11743765" y="0"/>
                    <a:pt x="11743765" y="0"/>
                  </a:cubicBezTo>
                  <a:lnTo>
                    <a:pt x="11743765" y="0"/>
                  </a:lnTo>
                </a:path>
              </a:pathLst>
            </a:custGeom>
            <a:noFill/>
            <a:ln w="28575">
              <a:solidFill>
                <a:srgbClr val="00B0F0"/>
              </a:solidFill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68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3E381116-FA65-CA45-B6AB-A4386DE44D0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5518980" y="6339212"/>
              <a:ext cx="646739" cy="424512"/>
            </a:xfrm>
            <a:prstGeom prst="rect">
              <a:avLst/>
            </a:prstGeom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77DAFBA-7E38-888A-F0CE-F3F1CF55384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836933" y="6240717"/>
              <a:ext cx="405743" cy="463707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C7CD4D14-AE9B-DE0E-B3F6-B907B78B8A1E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3732389" y="6260314"/>
              <a:ext cx="673365" cy="424512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E28791AF-0763-6CCF-1C83-F73882DD980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6887486" y="5991169"/>
              <a:ext cx="843356" cy="537328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703DBB47-28B2-4B5A-4454-2394FB0041A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9484639" y="6099823"/>
              <a:ext cx="689534" cy="451645"/>
            </a:xfrm>
            <a:prstGeom prst="rect">
              <a:avLst/>
            </a:prstGeom>
          </p:spPr>
        </p:pic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E5201803-C001-BCC9-9038-9028715DCE0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11250773" y="6011615"/>
              <a:ext cx="722859" cy="585171"/>
            </a:xfrm>
            <a:prstGeom prst="rect">
              <a:avLst/>
            </a:prstGeom>
          </p:spPr>
        </p:pic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F9F9BD1E-44E6-6B07-CA15-2542E09E6770}"/>
                </a:ext>
              </a:extLst>
            </p:cNvPr>
            <p:cNvSpPr/>
            <p:nvPr/>
          </p:nvSpPr>
          <p:spPr>
            <a:xfrm>
              <a:off x="1713186" y="6315916"/>
              <a:ext cx="89571" cy="89039"/>
            </a:xfrm>
            <a:prstGeom prst="ellipse">
              <a:avLst/>
            </a:prstGeom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68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58C64C0-AC14-9942-8228-C861F24828D2}"/>
                </a:ext>
              </a:extLst>
            </p:cNvPr>
            <p:cNvSpPr/>
            <p:nvPr/>
          </p:nvSpPr>
          <p:spPr>
            <a:xfrm rot="1708931">
              <a:off x="3303793" y="6545501"/>
              <a:ext cx="85766" cy="76357"/>
            </a:xfrm>
            <a:prstGeom prst="rect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68"/>
            </a:p>
          </p:txBody>
        </p:sp>
        <p:sp>
          <p:nvSpPr>
            <p:cNvPr id="17" name="Isosceles Triangle 16">
              <a:extLst>
                <a:ext uri="{FF2B5EF4-FFF2-40B4-BE49-F238E27FC236}">
                  <a16:creationId xmlns:a16="http://schemas.microsoft.com/office/drawing/2014/main" id="{8D1F802B-0D8D-58DA-1BA9-A3C3E0006327}"/>
                </a:ext>
              </a:extLst>
            </p:cNvPr>
            <p:cNvSpPr/>
            <p:nvPr/>
          </p:nvSpPr>
          <p:spPr>
            <a:xfrm rot="5121636">
              <a:off x="4633441" y="6204845"/>
              <a:ext cx="101646" cy="94697"/>
            </a:xfrm>
            <a:prstGeom prst="triangle">
              <a:avLst/>
            </a:prstGeom>
            <a:solidFill>
              <a:srgbClr val="00B05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68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4711B84-48FE-3F65-7E02-EF7002FAA423}"/>
                </a:ext>
              </a:extLst>
            </p:cNvPr>
            <p:cNvSpPr/>
            <p:nvPr/>
          </p:nvSpPr>
          <p:spPr>
            <a:xfrm rot="2125373">
              <a:off x="7848427" y="6664844"/>
              <a:ext cx="80786" cy="79159"/>
            </a:xfrm>
            <a:prstGeom prst="rect">
              <a:avLst/>
            </a:prstGeom>
            <a:solidFill>
              <a:srgbClr val="FF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68"/>
            </a:p>
          </p:txBody>
        </p:sp>
        <p:sp>
          <p:nvSpPr>
            <p:cNvPr id="19" name="Isosceles Triangle 18">
              <a:extLst>
                <a:ext uri="{FF2B5EF4-FFF2-40B4-BE49-F238E27FC236}">
                  <a16:creationId xmlns:a16="http://schemas.microsoft.com/office/drawing/2014/main" id="{183DEFF2-A378-949D-2E18-2F91AB48BEDD}"/>
                </a:ext>
              </a:extLst>
            </p:cNvPr>
            <p:cNvSpPr/>
            <p:nvPr/>
          </p:nvSpPr>
          <p:spPr>
            <a:xfrm rot="3881794">
              <a:off x="9147876" y="6192551"/>
              <a:ext cx="82755" cy="92428"/>
            </a:xfrm>
            <a:prstGeom prst="triangle">
              <a:avLst/>
            </a:prstGeom>
            <a:solidFill>
              <a:srgbClr val="0033CC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68"/>
            </a:p>
          </p:txBody>
        </p:sp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C11E4E4F-C0E4-1D2B-85F0-1BE4DEE257B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</a:blip>
            <a:stretch>
              <a:fillRect/>
            </a:stretch>
          </p:blipFill>
          <p:spPr>
            <a:xfrm>
              <a:off x="2314332" y="6404955"/>
              <a:ext cx="471309" cy="424512"/>
            </a:xfrm>
            <a:prstGeom prst="rect">
              <a:avLst/>
            </a:prstGeom>
          </p:spPr>
        </p:pic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B4816EF3-02BF-F4A3-F06E-4D235BF155DF}"/>
                </a:ext>
              </a:extLst>
            </p:cNvPr>
            <p:cNvSpPr/>
            <p:nvPr/>
          </p:nvSpPr>
          <p:spPr>
            <a:xfrm>
              <a:off x="10914962" y="6468316"/>
              <a:ext cx="89571" cy="89039"/>
            </a:xfrm>
            <a:prstGeom prst="ellipse">
              <a:avLst/>
            </a:prstGeom>
            <a:solidFill>
              <a:srgbClr val="00FF00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it-IT" sz="1368"/>
            </a:p>
          </p:txBody>
        </p:sp>
      </p:grpSp>
      <p:pic>
        <p:nvPicPr>
          <p:cNvPr id="22" name="Picture 21" descr="A close up of a sign&#10;&#10;Description automatically generated">
            <a:extLst>
              <a:ext uri="{FF2B5EF4-FFF2-40B4-BE49-F238E27FC236}">
                <a16:creationId xmlns:a16="http://schemas.microsoft.com/office/drawing/2014/main" id="{4A3AC8E4-E548-4575-4D8C-725FAF7B9577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8306705" y="6197709"/>
            <a:ext cx="565529" cy="566473"/>
          </a:xfrm>
          <a:prstGeom prst="rect">
            <a:avLst/>
          </a:prstGeom>
        </p:spPr>
      </p:pic>
      <p:sp>
        <p:nvSpPr>
          <p:cNvPr id="3" name="Title 2">
            <a:extLst>
              <a:ext uri="{FF2B5EF4-FFF2-40B4-BE49-F238E27FC236}">
                <a16:creationId xmlns:a16="http://schemas.microsoft.com/office/drawing/2014/main" id="{29457145-F874-1142-070D-DBBAD7EA85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2060" y="63430"/>
            <a:ext cx="11127317" cy="97578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53818780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>
                            <p:stCondLst>
                              <p:cond delay="0"/>
                            </p:stCondLst>
                            <p:childTnLst>
                              <p:par>
                                <p:cTn id="8" presetID="8" presetClass="emph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Rot by="21600000">
                                      <p:cBhvr>
                                        <p:cTn id="9" dur="5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r</p:attrName>
                                        </p:attrNameLst>
                                      </p:cBhvr>
                                    </p:animRo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Layout>
</file>

<file path=ppt/slideLayouts/slideLayout9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">
    <p:bg>
      <p:bgPr>
        <a:blipFill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Author and Date"/>
          <p:cNvSpPr txBox="1">
            <a:spLocks noGrp="1"/>
          </p:cNvSpPr>
          <p:nvPr>
            <p:ph type="body" sz="quarter" idx="21" hasCustomPrompt="1"/>
          </p:nvPr>
        </p:nvSpPr>
        <p:spPr>
          <a:xfrm>
            <a:off x="600673" y="5929933"/>
            <a:ext cx="10985503" cy="318491"/>
          </a:xfrm>
          <a:prstGeom prst="rect">
            <a:avLst/>
          </a:prstGeom>
        </p:spPr>
        <p:txBody>
          <a:bodyPr lIns="45719" tIns="45719" rIns="45719" bIns="45719"/>
          <a:lstStyle>
            <a:lvl1pPr marL="0" indent="0" defTabSz="392094">
              <a:lnSpc>
                <a:spcPct val="100000"/>
              </a:lnSpc>
              <a:spcBef>
                <a:spcPts val="0"/>
              </a:spcBef>
              <a:buSzTx/>
              <a:buNone/>
              <a:defRPr sz="1711">
                <a:solidFill>
                  <a:srgbClr val="020830"/>
                </a:solidFill>
                <a:latin typeface="+mn-lt"/>
                <a:ea typeface="+mn-ea"/>
                <a:cs typeface="+mn-cs"/>
                <a:sym typeface="Sora Regular Bold"/>
              </a:defRPr>
            </a:lvl1pPr>
          </a:lstStyle>
          <a:p>
            <a:r>
              <a:t>Author and Date</a:t>
            </a:r>
          </a:p>
        </p:txBody>
      </p:sp>
      <p:sp>
        <p:nvSpPr>
          <p:cNvPr id="12" name="Presentation Title"/>
          <p:cNvSpPr txBox="1">
            <a:spLocks noGrp="1"/>
          </p:cNvSpPr>
          <p:nvPr>
            <p:ph type="title" hasCustomPrompt="1"/>
          </p:nvPr>
        </p:nvSpPr>
        <p:spPr>
          <a:xfrm>
            <a:off x="603250" y="1287496"/>
            <a:ext cx="10985503" cy="2324101"/>
          </a:xfrm>
          <a:prstGeom prst="rect">
            <a:avLst/>
          </a:prstGeom>
        </p:spPr>
        <p:txBody>
          <a:bodyPr anchor="b"/>
          <a:lstStyle>
            <a:lvl1pPr>
              <a:defRPr sz="5800" spc="-116"/>
            </a:lvl1pPr>
          </a:lstStyle>
          <a:p>
            <a:r>
              <a:t>Presentation Title</a:t>
            </a:r>
          </a:p>
        </p:txBody>
      </p:sp>
      <p:sp>
        <p:nvSpPr>
          <p:cNvPr id="13" name="Body Level One…"/>
          <p:cNvSpPr txBox="1">
            <a:spLocks noGrp="1"/>
          </p:cNvSpPr>
          <p:nvPr>
            <p:ph type="body" sz="quarter" idx="1" hasCustomPrompt="1"/>
          </p:nvPr>
        </p:nvSpPr>
        <p:spPr>
          <a:xfrm>
            <a:off x="600674" y="3611598"/>
            <a:ext cx="10985501" cy="952501"/>
          </a:xfrm>
          <a:prstGeom prst="rect">
            <a:avLst/>
          </a:prstGeom>
        </p:spPr>
        <p:txBody>
          <a:bodyPr/>
          <a:lstStyle>
            <a:lvl1pPr marL="0" indent="0">
              <a:lnSpc>
                <a:spcPct val="80000"/>
              </a:lnSpc>
              <a:spcBef>
                <a:spcPts val="0"/>
              </a:spcBef>
              <a:buSzTx/>
              <a:buNone/>
              <a:defRPr sz="5800" spc="-116">
                <a:latin typeface="+mn-lt"/>
                <a:ea typeface="+mn-ea"/>
                <a:cs typeface="+mn-cs"/>
                <a:sym typeface="Sora Regular Bold"/>
              </a:defRPr>
            </a:lvl1pPr>
            <a:lvl2pPr marL="0" indent="228589" algn="ctr">
              <a:lnSpc>
                <a:spcPct val="80000"/>
              </a:lnSpc>
              <a:spcBef>
                <a:spcPts val="0"/>
              </a:spcBef>
              <a:buSzTx/>
              <a:buNone/>
              <a:defRPr sz="12500" spc="-125">
                <a:latin typeface="+mn-lt"/>
                <a:ea typeface="+mn-ea"/>
                <a:cs typeface="+mn-cs"/>
                <a:sym typeface="Sora Regular Bold"/>
              </a:defRPr>
            </a:lvl2pPr>
            <a:lvl3pPr marL="0" indent="457178" algn="ctr">
              <a:lnSpc>
                <a:spcPct val="80000"/>
              </a:lnSpc>
              <a:spcBef>
                <a:spcPts val="0"/>
              </a:spcBef>
              <a:buSzTx/>
              <a:buNone/>
              <a:defRPr sz="12500" spc="-125">
                <a:latin typeface="+mn-lt"/>
                <a:ea typeface="+mn-ea"/>
                <a:cs typeface="+mn-cs"/>
                <a:sym typeface="Sora Regular Bold"/>
              </a:defRPr>
            </a:lvl3pPr>
            <a:lvl4pPr marL="0" indent="685766" algn="ctr">
              <a:lnSpc>
                <a:spcPct val="80000"/>
              </a:lnSpc>
              <a:spcBef>
                <a:spcPts val="0"/>
              </a:spcBef>
              <a:buSzTx/>
              <a:buNone/>
              <a:defRPr sz="12500" spc="-125">
                <a:latin typeface="+mn-lt"/>
                <a:ea typeface="+mn-ea"/>
                <a:cs typeface="+mn-cs"/>
                <a:sym typeface="Sora Regular Bold"/>
              </a:defRPr>
            </a:lvl4pPr>
            <a:lvl5pPr marL="0" indent="914354" algn="ctr">
              <a:lnSpc>
                <a:spcPct val="80000"/>
              </a:lnSpc>
              <a:spcBef>
                <a:spcPts val="0"/>
              </a:spcBef>
              <a:buSzTx/>
              <a:buNone/>
              <a:defRPr sz="12500" spc="-125">
                <a:latin typeface="+mn-lt"/>
                <a:ea typeface="+mn-ea"/>
                <a:cs typeface="+mn-cs"/>
                <a:sym typeface="Sora Regular Bold"/>
              </a:defRPr>
            </a:lvl5pPr>
          </a:lstStyle>
          <a:p>
            <a:r>
              <a:t>Presentation Subtitle</a:t>
            </a:r>
          </a:p>
          <a:p>
            <a:pPr lvl="1"/>
            <a:endParaRPr/>
          </a:p>
          <a:p>
            <a:pPr lvl="2"/>
            <a:endParaRPr/>
          </a:p>
          <a:p>
            <a:pPr lvl="3"/>
            <a:endParaRPr/>
          </a:p>
          <a:p>
            <a:pPr lvl="4"/>
            <a:endParaRPr/>
          </a:p>
        </p:txBody>
      </p:sp>
      <p:sp>
        <p:nvSpPr>
          <p:cNvPr id="14" name="Slide Number"/>
          <p:cNvSpPr txBox="1"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01499552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3E283A61-AD01-4A97-AE38-5AFEA6A6D63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571500" y="4604923"/>
            <a:ext cx="7277100" cy="511087"/>
          </a:xfrm>
          <a:prstGeom prst="rect">
            <a:avLst/>
          </a:prstGeom>
        </p:spPr>
        <p:txBody>
          <a:bodyPr wrap="square" lIns="0" tIns="0" rIns="0" bIns="0" anchor="b" anchorCtr="0">
            <a:noAutofit/>
          </a:bodyPr>
          <a:lstStyle>
            <a:lvl1pPr marL="0" indent="0">
              <a:lnSpc>
                <a:spcPct val="100000"/>
              </a:lnSpc>
              <a:buNone/>
              <a:defRPr sz="16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6" name="Text Placeholder 3">
            <a:extLst>
              <a:ext uri="{FF2B5EF4-FFF2-40B4-BE49-F238E27FC236}">
                <a16:creationId xmlns:a16="http://schemas.microsoft.com/office/drawing/2014/main" id="{D9E67138-21CA-4A02-9320-0FBAA2A1C958}"/>
              </a:ext>
            </a:extLst>
          </p:cNvPr>
          <p:cNvSpPr>
            <a:spLocks noGrp="1"/>
          </p:cNvSpPr>
          <p:nvPr>
            <p:ph type="body" sz="half" idx="12"/>
          </p:nvPr>
        </p:nvSpPr>
        <p:spPr>
          <a:xfrm>
            <a:off x="571500" y="5248892"/>
            <a:ext cx="7277100" cy="950522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1200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8" name="Title Placeholder 1">
            <a:extLst>
              <a:ext uri="{FF2B5EF4-FFF2-40B4-BE49-F238E27FC236}">
                <a16:creationId xmlns:a16="http://schemas.microsoft.com/office/drawing/2014/main" id="{404DB079-56B9-4942-85BE-AF3DA16F2C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7277100" cy="266700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>
              <a:defRPr sz="6667" spc="-133" baseline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F1684A56-8124-4BB9-8CA6-D228DD4BA230}"/>
              </a:ext>
            </a:extLst>
          </p:cNvPr>
          <p:cNvSpPr>
            <a:spLocks noGrp="1"/>
          </p:cNvSpPr>
          <p:nvPr>
            <p:ph type="body" sz="half" idx="13"/>
          </p:nvPr>
        </p:nvSpPr>
        <p:spPr>
          <a:xfrm>
            <a:off x="571500" y="3431817"/>
            <a:ext cx="7277099" cy="1050207"/>
          </a:xfrm>
          <a:prstGeom prst="rect">
            <a:avLst/>
          </a:prstGeom>
        </p:spPr>
        <p:txBody>
          <a:bodyPr wrap="square" lIns="0" tIns="0" rIns="0" bIns="0">
            <a:noAutofit/>
          </a:bodyPr>
          <a:lstStyle>
            <a:lvl1pPr marL="0" indent="0">
              <a:lnSpc>
                <a:spcPct val="100000"/>
              </a:lnSpc>
              <a:buNone/>
              <a:defRPr sz="2667" b="0" i="0" spc="0" baseline="0">
                <a:solidFill>
                  <a:schemeClr val="tx1"/>
                </a:solidFill>
                <a:latin typeface="CiscoSansTT" panose="020B0503020201020303" pitchFamily="34" charset="0"/>
                <a:cs typeface="CiscoSansTT" panose="020B0503020201020303" pitchFamily="34" charset="0"/>
              </a:defRPr>
            </a:lvl1pPr>
            <a:lvl2pPr marL="441088" indent="0">
              <a:buNone/>
              <a:defRPr sz="1351"/>
            </a:lvl2pPr>
            <a:lvl3pPr marL="882171" indent="0">
              <a:buNone/>
              <a:defRPr sz="1157"/>
            </a:lvl3pPr>
            <a:lvl4pPr marL="1323259" indent="0">
              <a:buNone/>
              <a:defRPr sz="965"/>
            </a:lvl4pPr>
            <a:lvl5pPr marL="1764344" indent="0">
              <a:buNone/>
              <a:defRPr sz="965"/>
            </a:lvl5pPr>
            <a:lvl6pPr marL="2205432" indent="0">
              <a:buNone/>
              <a:defRPr sz="965"/>
            </a:lvl6pPr>
            <a:lvl7pPr marL="2646515" indent="0">
              <a:buNone/>
              <a:defRPr sz="965"/>
            </a:lvl7pPr>
            <a:lvl8pPr marL="3087603" indent="0">
              <a:buNone/>
              <a:defRPr sz="965"/>
            </a:lvl8pPr>
            <a:lvl9pPr marL="3528689" indent="0">
              <a:buNone/>
              <a:defRPr sz="96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8" name="Picture 7" descr="Logo&#10;&#10;Description automatically generated">
            <a:extLst>
              <a:ext uri="{FF2B5EF4-FFF2-40B4-BE49-F238E27FC236}">
                <a16:creationId xmlns:a16="http://schemas.microsoft.com/office/drawing/2014/main" id="{C5784175-C811-4384-815B-F3763C6C330D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033353" y="6061498"/>
            <a:ext cx="1633196" cy="499323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FAE77518-5FA0-4944-B48B-3B844A6193E2}"/>
              </a:ext>
            </a:extLst>
          </p:cNvPr>
          <p:cNvSpPr txBox="1"/>
          <p:nvPr/>
        </p:nvSpPr>
        <p:spPr>
          <a:xfrm>
            <a:off x="571500" y="6432526"/>
            <a:ext cx="53721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53326180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Layouts/slideLayout9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Five Topic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Title Placeholder 1">
            <a:extLst>
              <a:ext uri="{FF2B5EF4-FFF2-40B4-BE49-F238E27FC236}">
                <a16:creationId xmlns:a16="http://schemas.microsoft.com/office/drawing/2014/main" id="{9E6D9EB8-CE1C-4E47-A0CE-E70016F1FA9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5372100" cy="2514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lang="en-US" sz="4000" dirty="0"/>
            </a:lvl1pPr>
          </a:lstStyle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B213C59-7880-41D1-9DE5-B53FA71B4FD7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6248400" y="609600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0BD0D78-FA9C-47FE-A8C5-A942C1A9A1E0}"/>
              </a:ext>
            </a:extLst>
          </p:cNvPr>
          <p:cNvSpPr>
            <a:spLocks noGrp="1"/>
          </p:cNvSpPr>
          <p:nvPr>
            <p:ph type="body" sz="quarter" idx="49"/>
          </p:nvPr>
        </p:nvSpPr>
        <p:spPr>
          <a:xfrm>
            <a:off x="7080810" y="609600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4D1B0561-72B3-4A7C-9434-B0EDE523688D}"/>
              </a:ext>
            </a:extLst>
          </p:cNvPr>
          <p:cNvSpPr>
            <a:spLocks noGrp="1"/>
          </p:cNvSpPr>
          <p:nvPr>
            <p:ph type="body" sz="quarter" idx="51"/>
          </p:nvPr>
        </p:nvSpPr>
        <p:spPr>
          <a:xfrm>
            <a:off x="7080810" y="1037804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9" name="Text Placeholder 4">
            <a:extLst>
              <a:ext uri="{FF2B5EF4-FFF2-40B4-BE49-F238E27FC236}">
                <a16:creationId xmlns:a16="http://schemas.microsoft.com/office/drawing/2014/main" id="{FB88D30E-5998-42C2-BFDA-6C6AA1F33F7A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6248400" y="164719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2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6D18BF23-F279-48A8-8AFF-AC70F73F091E}"/>
              </a:ext>
            </a:extLst>
          </p:cNvPr>
          <p:cNvSpPr>
            <a:spLocks noGrp="1"/>
          </p:cNvSpPr>
          <p:nvPr>
            <p:ph type="body" sz="quarter" idx="53"/>
          </p:nvPr>
        </p:nvSpPr>
        <p:spPr>
          <a:xfrm>
            <a:off x="7080810" y="1647193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8445664B-F9E1-4D1D-9F6E-DA27AF43C213}"/>
              </a:ext>
            </a:extLst>
          </p:cNvPr>
          <p:cNvSpPr>
            <a:spLocks noGrp="1"/>
          </p:cNvSpPr>
          <p:nvPr>
            <p:ph type="body" sz="quarter" idx="54"/>
          </p:nvPr>
        </p:nvSpPr>
        <p:spPr>
          <a:xfrm>
            <a:off x="7080810" y="2075397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2" name="Text Placeholder 4">
            <a:extLst>
              <a:ext uri="{FF2B5EF4-FFF2-40B4-BE49-F238E27FC236}">
                <a16:creationId xmlns:a16="http://schemas.microsoft.com/office/drawing/2014/main" id="{31F0F46D-89DF-46CA-934B-C124727D9373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48400" y="2684788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3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8BB0DD2A-742F-4019-B2A6-6AC6CF3BEEA3}"/>
              </a:ext>
            </a:extLst>
          </p:cNvPr>
          <p:cNvSpPr>
            <a:spLocks noGrp="1"/>
          </p:cNvSpPr>
          <p:nvPr>
            <p:ph type="body" sz="quarter" idx="56"/>
          </p:nvPr>
        </p:nvSpPr>
        <p:spPr>
          <a:xfrm>
            <a:off x="7080810" y="2684787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4D48E93A-11A3-45A0-961F-26062021432E}"/>
              </a:ext>
            </a:extLst>
          </p:cNvPr>
          <p:cNvSpPr>
            <a:spLocks noGrp="1"/>
          </p:cNvSpPr>
          <p:nvPr>
            <p:ph type="body" sz="quarter" idx="57"/>
          </p:nvPr>
        </p:nvSpPr>
        <p:spPr>
          <a:xfrm>
            <a:off x="7080810" y="3112991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5" name="Text Placeholder 4">
            <a:extLst>
              <a:ext uri="{FF2B5EF4-FFF2-40B4-BE49-F238E27FC236}">
                <a16:creationId xmlns:a16="http://schemas.microsoft.com/office/drawing/2014/main" id="{365D378F-8BFE-41E2-A048-4F1E113B4080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48400" y="3722381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4</a:t>
            </a:r>
          </a:p>
        </p:txBody>
      </p:sp>
      <p:sp>
        <p:nvSpPr>
          <p:cNvPr id="56" name="Text Placeholder 6">
            <a:extLst>
              <a:ext uri="{FF2B5EF4-FFF2-40B4-BE49-F238E27FC236}">
                <a16:creationId xmlns:a16="http://schemas.microsoft.com/office/drawing/2014/main" id="{4681FE84-1510-4206-91AF-B290EF3C0E1E}"/>
              </a:ext>
            </a:extLst>
          </p:cNvPr>
          <p:cNvSpPr>
            <a:spLocks noGrp="1"/>
          </p:cNvSpPr>
          <p:nvPr>
            <p:ph type="body" sz="quarter" idx="59"/>
          </p:nvPr>
        </p:nvSpPr>
        <p:spPr>
          <a:xfrm>
            <a:off x="7080810" y="3722381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7" name="Text Placeholder 6">
            <a:extLst>
              <a:ext uri="{FF2B5EF4-FFF2-40B4-BE49-F238E27FC236}">
                <a16:creationId xmlns:a16="http://schemas.microsoft.com/office/drawing/2014/main" id="{58EB90C9-03A7-449D-A8F3-B379B319950E}"/>
              </a:ext>
            </a:extLst>
          </p:cNvPr>
          <p:cNvSpPr>
            <a:spLocks noGrp="1"/>
          </p:cNvSpPr>
          <p:nvPr>
            <p:ph type="body" sz="quarter" idx="60"/>
          </p:nvPr>
        </p:nvSpPr>
        <p:spPr>
          <a:xfrm>
            <a:off x="7080810" y="4150585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8" name="Text Placeholder 4">
            <a:extLst>
              <a:ext uri="{FF2B5EF4-FFF2-40B4-BE49-F238E27FC236}">
                <a16:creationId xmlns:a16="http://schemas.microsoft.com/office/drawing/2014/main" id="{E3E332E3-41A2-4350-A7FE-20CB379706F0}"/>
              </a:ext>
            </a:extLst>
          </p:cNvPr>
          <p:cNvSpPr>
            <a:spLocks noGrp="1"/>
          </p:cNvSpPr>
          <p:nvPr>
            <p:ph type="body" sz="quarter" idx="61" hasCustomPrompt="1"/>
          </p:nvPr>
        </p:nvSpPr>
        <p:spPr>
          <a:xfrm>
            <a:off x="6248400" y="4759974"/>
            <a:ext cx="647700" cy="369332"/>
          </a:xfrm>
        </p:spPr>
        <p:txBody>
          <a:bodyPr>
            <a:spAutoFit/>
          </a:bodyPr>
          <a:lstStyle>
            <a:lvl1pPr algn="l">
              <a:defRPr sz="2400">
                <a:latin typeface="+mj-lt"/>
              </a:defRPr>
            </a:lvl1pPr>
          </a:lstStyle>
          <a:p>
            <a:pPr lvl="0"/>
            <a:r>
              <a:rPr lang="en-US"/>
              <a:t>05</a:t>
            </a:r>
          </a:p>
        </p:txBody>
      </p:sp>
      <p:sp>
        <p:nvSpPr>
          <p:cNvPr id="59" name="Text Placeholder 6">
            <a:extLst>
              <a:ext uri="{FF2B5EF4-FFF2-40B4-BE49-F238E27FC236}">
                <a16:creationId xmlns:a16="http://schemas.microsoft.com/office/drawing/2014/main" id="{948A5A7B-49E0-4CF2-8080-E002145F2FF6}"/>
              </a:ext>
            </a:extLst>
          </p:cNvPr>
          <p:cNvSpPr>
            <a:spLocks noGrp="1"/>
          </p:cNvSpPr>
          <p:nvPr>
            <p:ph type="body" sz="quarter" idx="62"/>
          </p:nvPr>
        </p:nvSpPr>
        <p:spPr>
          <a:xfrm>
            <a:off x="7080810" y="4759974"/>
            <a:ext cx="4539690" cy="369332"/>
          </a:xfrm>
        </p:spPr>
        <p:txBody>
          <a:bodyPr wrap="square">
            <a:spAutoFit/>
          </a:bodyPr>
          <a:lstStyle>
            <a:lvl1pPr>
              <a:defRPr sz="2400" spc="-120" baseline="0">
                <a:latin typeface="+mj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0" name="Text Placeholder 6">
            <a:extLst>
              <a:ext uri="{FF2B5EF4-FFF2-40B4-BE49-F238E27FC236}">
                <a16:creationId xmlns:a16="http://schemas.microsoft.com/office/drawing/2014/main" id="{B8F46644-76D3-4C51-9163-739A1F5F7650}"/>
              </a:ext>
            </a:extLst>
          </p:cNvPr>
          <p:cNvSpPr>
            <a:spLocks noGrp="1"/>
          </p:cNvSpPr>
          <p:nvPr>
            <p:ph type="body" sz="quarter" idx="63"/>
          </p:nvPr>
        </p:nvSpPr>
        <p:spPr>
          <a:xfrm>
            <a:off x="7080810" y="5188178"/>
            <a:ext cx="4539690" cy="196913"/>
          </a:xfrm>
        </p:spPr>
        <p:txBody>
          <a:bodyPr wrap="square">
            <a:spAutoFit/>
          </a:bodyPr>
          <a:lstStyle>
            <a:lvl1pPr>
              <a:defRPr sz="1200"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Slide Number Placeholder 4">
            <a:extLst>
              <a:ext uri="{FF2B5EF4-FFF2-40B4-BE49-F238E27FC236}">
                <a16:creationId xmlns:a16="http://schemas.microsoft.com/office/drawing/2014/main" id="{41B23B47-5918-4DB0-A1D6-44730C983C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D7D1C11A-12D9-461B-A255-03DBC65A944A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3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90711234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66" Type="http://schemas.openxmlformats.org/officeDocument/2006/relationships/slideLayout" Target="../slideLayouts/slideLayout66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theme" Target="../theme/theme1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/Relationships>
</file>

<file path=ppt/slideMasters/_rels/slideMaster1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16.xml"/><Relationship Id="rId18" Type="http://schemas.openxmlformats.org/officeDocument/2006/relationships/slideLayout" Target="../slideLayouts/slideLayout521.xml"/><Relationship Id="rId26" Type="http://schemas.openxmlformats.org/officeDocument/2006/relationships/slideLayout" Target="../slideLayouts/slideLayout529.xml"/><Relationship Id="rId39" Type="http://schemas.openxmlformats.org/officeDocument/2006/relationships/slideLayout" Target="../slideLayouts/slideLayout542.xml"/><Relationship Id="rId21" Type="http://schemas.openxmlformats.org/officeDocument/2006/relationships/slideLayout" Target="../slideLayouts/slideLayout524.xml"/><Relationship Id="rId34" Type="http://schemas.openxmlformats.org/officeDocument/2006/relationships/slideLayout" Target="../slideLayouts/slideLayout537.xml"/><Relationship Id="rId42" Type="http://schemas.openxmlformats.org/officeDocument/2006/relationships/slideLayout" Target="../slideLayouts/slideLayout545.xml"/><Relationship Id="rId47" Type="http://schemas.openxmlformats.org/officeDocument/2006/relationships/slideLayout" Target="../slideLayouts/slideLayout550.xml"/><Relationship Id="rId50" Type="http://schemas.openxmlformats.org/officeDocument/2006/relationships/slideLayout" Target="../slideLayouts/slideLayout553.xml"/><Relationship Id="rId55" Type="http://schemas.openxmlformats.org/officeDocument/2006/relationships/slideLayout" Target="../slideLayouts/slideLayout558.xml"/><Relationship Id="rId63" Type="http://schemas.openxmlformats.org/officeDocument/2006/relationships/theme" Target="../theme/theme10.xml"/><Relationship Id="rId7" Type="http://schemas.openxmlformats.org/officeDocument/2006/relationships/slideLayout" Target="../slideLayouts/slideLayout510.xml"/><Relationship Id="rId2" Type="http://schemas.openxmlformats.org/officeDocument/2006/relationships/slideLayout" Target="../slideLayouts/slideLayout505.xml"/><Relationship Id="rId16" Type="http://schemas.openxmlformats.org/officeDocument/2006/relationships/slideLayout" Target="../slideLayouts/slideLayout519.xml"/><Relationship Id="rId29" Type="http://schemas.openxmlformats.org/officeDocument/2006/relationships/slideLayout" Target="../slideLayouts/slideLayout532.xml"/><Relationship Id="rId11" Type="http://schemas.openxmlformats.org/officeDocument/2006/relationships/slideLayout" Target="../slideLayouts/slideLayout514.xml"/><Relationship Id="rId24" Type="http://schemas.openxmlformats.org/officeDocument/2006/relationships/slideLayout" Target="../slideLayouts/slideLayout527.xml"/><Relationship Id="rId32" Type="http://schemas.openxmlformats.org/officeDocument/2006/relationships/slideLayout" Target="../slideLayouts/slideLayout535.xml"/><Relationship Id="rId37" Type="http://schemas.openxmlformats.org/officeDocument/2006/relationships/slideLayout" Target="../slideLayouts/slideLayout540.xml"/><Relationship Id="rId40" Type="http://schemas.openxmlformats.org/officeDocument/2006/relationships/slideLayout" Target="../slideLayouts/slideLayout543.xml"/><Relationship Id="rId45" Type="http://schemas.openxmlformats.org/officeDocument/2006/relationships/slideLayout" Target="../slideLayouts/slideLayout548.xml"/><Relationship Id="rId53" Type="http://schemas.openxmlformats.org/officeDocument/2006/relationships/slideLayout" Target="../slideLayouts/slideLayout556.xml"/><Relationship Id="rId58" Type="http://schemas.openxmlformats.org/officeDocument/2006/relationships/slideLayout" Target="../slideLayouts/slideLayout561.xml"/><Relationship Id="rId5" Type="http://schemas.openxmlformats.org/officeDocument/2006/relationships/slideLayout" Target="../slideLayouts/slideLayout508.xml"/><Relationship Id="rId61" Type="http://schemas.openxmlformats.org/officeDocument/2006/relationships/slideLayout" Target="../slideLayouts/slideLayout564.xml"/><Relationship Id="rId19" Type="http://schemas.openxmlformats.org/officeDocument/2006/relationships/slideLayout" Target="../slideLayouts/slideLayout522.xml"/><Relationship Id="rId14" Type="http://schemas.openxmlformats.org/officeDocument/2006/relationships/slideLayout" Target="../slideLayouts/slideLayout517.xml"/><Relationship Id="rId22" Type="http://schemas.openxmlformats.org/officeDocument/2006/relationships/slideLayout" Target="../slideLayouts/slideLayout525.xml"/><Relationship Id="rId27" Type="http://schemas.openxmlformats.org/officeDocument/2006/relationships/slideLayout" Target="../slideLayouts/slideLayout530.xml"/><Relationship Id="rId30" Type="http://schemas.openxmlformats.org/officeDocument/2006/relationships/slideLayout" Target="../slideLayouts/slideLayout533.xml"/><Relationship Id="rId35" Type="http://schemas.openxmlformats.org/officeDocument/2006/relationships/slideLayout" Target="../slideLayouts/slideLayout538.xml"/><Relationship Id="rId43" Type="http://schemas.openxmlformats.org/officeDocument/2006/relationships/slideLayout" Target="../slideLayouts/slideLayout546.xml"/><Relationship Id="rId48" Type="http://schemas.openxmlformats.org/officeDocument/2006/relationships/slideLayout" Target="../slideLayouts/slideLayout551.xml"/><Relationship Id="rId56" Type="http://schemas.openxmlformats.org/officeDocument/2006/relationships/slideLayout" Target="../slideLayouts/slideLayout559.xml"/><Relationship Id="rId8" Type="http://schemas.openxmlformats.org/officeDocument/2006/relationships/slideLayout" Target="../slideLayouts/slideLayout511.xml"/><Relationship Id="rId51" Type="http://schemas.openxmlformats.org/officeDocument/2006/relationships/slideLayout" Target="../slideLayouts/slideLayout554.xml"/><Relationship Id="rId3" Type="http://schemas.openxmlformats.org/officeDocument/2006/relationships/slideLayout" Target="../slideLayouts/slideLayout506.xml"/><Relationship Id="rId12" Type="http://schemas.openxmlformats.org/officeDocument/2006/relationships/slideLayout" Target="../slideLayouts/slideLayout515.xml"/><Relationship Id="rId17" Type="http://schemas.openxmlformats.org/officeDocument/2006/relationships/slideLayout" Target="../slideLayouts/slideLayout520.xml"/><Relationship Id="rId25" Type="http://schemas.openxmlformats.org/officeDocument/2006/relationships/slideLayout" Target="../slideLayouts/slideLayout528.xml"/><Relationship Id="rId33" Type="http://schemas.openxmlformats.org/officeDocument/2006/relationships/slideLayout" Target="../slideLayouts/slideLayout536.xml"/><Relationship Id="rId38" Type="http://schemas.openxmlformats.org/officeDocument/2006/relationships/slideLayout" Target="../slideLayouts/slideLayout541.xml"/><Relationship Id="rId46" Type="http://schemas.openxmlformats.org/officeDocument/2006/relationships/slideLayout" Target="../slideLayouts/slideLayout549.xml"/><Relationship Id="rId59" Type="http://schemas.openxmlformats.org/officeDocument/2006/relationships/slideLayout" Target="../slideLayouts/slideLayout562.xml"/><Relationship Id="rId20" Type="http://schemas.openxmlformats.org/officeDocument/2006/relationships/slideLayout" Target="../slideLayouts/slideLayout523.xml"/><Relationship Id="rId41" Type="http://schemas.openxmlformats.org/officeDocument/2006/relationships/slideLayout" Target="../slideLayouts/slideLayout544.xml"/><Relationship Id="rId54" Type="http://schemas.openxmlformats.org/officeDocument/2006/relationships/slideLayout" Target="../slideLayouts/slideLayout557.xml"/><Relationship Id="rId62" Type="http://schemas.openxmlformats.org/officeDocument/2006/relationships/slideLayout" Target="../slideLayouts/slideLayout565.xml"/><Relationship Id="rId1" Type="http://schemas.openxmlformats.org/officeDocument/2006/relationships/slideLayout" Target="../slideLayouts/slideLayout504.xml"/><Relationship Id="rId6" Type="http://schemas.openxmlformats.org/officeDocument/2006/relationships/slideLayout" Target="../slideLayouts/slideLayout509.xml"/><Relationship Id="rId15" Type="http://schemas.openxmlformats.org/officeDocument/2006/relationships/slideLayout" Target="../slideLayouts/slideLayout518.xml"/><Relationship Id="rId23" Type="http://schemas.openxmlformats.org/officeDocument/2006/relationships/slideLayout" Target="../slideLayouts/slideLayout526.xml"/><Relationship Id="rId28" Type="http://schemas.openxmlformats.org/officeDocument/2006/relationships/slideLayout" Target="../slideLayouts/slideLayout531.xml"/><Relationship Id="rId36" Type="http://schemas.openxmlformats.org/officeDocument/2006/relationships/slideLayout" Target="../slideLayouts/slideLayout539.xml"/><Relationship Id="rId49" Type="http://schemas.openxmlformats.org/officeDocument/2006/relationships/slideLayout" Target="../slideLayouts/slideLayout552.xml"/><Relationship Id="rId57" Type="http://schemas.openxmlformats.org/officeDocument/2006/relationships/slideLayout" Target="../slideLayouts/slideLayout560.xml"/><Relationship Id="rId10" Type="http://schemas.openxmlformats.org/officeDocument/2006/relationships/slideLayout" Target="../slideLayouts/slideLayout513.xml"/><Relationship Id="rId31" Type="http://schemas.openxmlformats.org/officeDocument/2006/relationships/slideLayout" Target="../slideLayouts/slideLayout534.xml"/><Relationship Id="rId44" Type="http://schemas.openxmlformats.org/officeDocument/2006/relationships/slideLayout" Target="../slideLayouts/slideLayout547.xml"/><Relationship Id="rId52" Type="http://schemas.openxmlformats.org/officeDocument/2006/relationships/slideLayout" Target="../slideLayouts/slideLayout555.xml"/><Relationship Id="rId60" Type="http://schemas.openxmlformats.org/officeDocument/2006/relationships/slideLayout" Target="../slideLayouts/slideLayout563.xml"/><Relationship Id="rId4" Type="http://schemas.openxmlformats.org/officeDocument/2006/relationships/slideLayout" Target="../slideLayouts/slideLayout507.xml"/><Relationship Id="rId9" Type="http://schemas.openxmlformats.org/officeDocument/2006/relationships/slideLayout" Target="../slideLayouts/slideLayout512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578.xml"/><Relationship Id="rId18" Type="http://schemas.openxmlformats.org/officeDocument/2006/relationships/slideLayout" Target="../slideLayouts/slideLayout583.xml"/><Relationship Id="rId26" Type="http://schemas.openxmlformats.org/officeDocument/2006/relationships/slideLayout" Target="../slideLayouts/slideLayout591.xml"/><Relationship Id="rId39" Type="http://schemas.openxmlformats.org/officeDocument/2006/relationships/slideLayout" Target="../slideLayouts/slideLayout604.xml"/><Relationship Id="rId21" Type="http://schemas.openxmlformats.org/officeDocument/2006/relationships/slideLayout" Target="../slideLayouts/slideLayout586.xml"/><Relationship Id="rId34" Type="http://schemas.openxmlformats.org/officeDocument/2006/relationships/slideLayout" Target="../slideLayouts/slideLayout599.xml"/><Relationship Id="rId42" Type="http://schemas.openxmlformats.org/officeDocument/2006/relationships/slideLayout" Target="../slideLayouts/slideLayout607.xml"/><Relationship Id="rId47" Type="http://schemas.openxmlformats.org/officeDocument/2006/relationships/slideLayout" Target="../slideLayouts/slideLayout612.xml"/><Relationship Id="rId50" Type="http://schemas.openxmlformats.org/officeDocument/2006/relationships/slideLayout" Target="../slideLayouts/slideLayout615.xml"/><Relationship Id="rId55" Type="http://schemas.openxmlformats.org/officeDocument/2006/relationships/slideLayout" Target="../slideLayouts/slideLayout620.xml"/><Relationship Id="rId63" Type="http://schemas.openxmlformats.org/officeDocument/2006/relationships/slideLayout" Target="../slideLayouts/slideLayout628.xml"/><Relationship Id="rId7" Type="http://schemas.openxmlformats.org/officeDocument/2006/relationships/slideLayout" Target="../slideLayouts/slideLayout572.xml"/><Relationship Id="rId2" Type="http://schemas.openxmlformats.org/officeDocument/2006/relationships/slideLayout" Target="../slideLayouts/slideLayout567.xml"/><Relationship Id="rId16" Type="http://schemas.openxmlformats.org/officeDocument/2006/relationships/slideLayout" Target="../slideLayouts/slideLayout581.xml"/><Relationship Id="rId29" Type="http://schemas.openxmlformats.org/officeDocument/2006/relationships/slideLayout" Target="../slideLayouts/slideLayout594.xml"/><Relationship Id="rId11" Type="http://schemas.openxmlformats.org/officeDocument/2006/relationships/slideLayout" Target="../slideLayouts/slideLayout576.xml"/><Relationship Id="rId24" Type="http://schemas.openxmlformats.org/officeDocument/2006/relationships/slideLayout" Target="../slideLayouts/slideLayout589.xml"/><Relationship Id="rId32" Type="http://schemas.openxmlformats.org/officeDocument/2006/relationships/slideLayout" Target="../slideLayouts/slideLayout597.xml"/><Relationship Id="rId37" Type="http://schemas.openxmlformats.org/officeDocument/2006/relationships/slideLayout" Target="../slideLayouts/slideLayout602.xml"/><Relationship Id="rId40" Type="http://schemas.openxmlformats.org/officeDocument/2006/relationships/slideLayout" Target="../slideLayouts/slideLayout605.xml"/><Relationship Id="rId45" Type="http://schemas.openxmlformats.org/officeDocument/2006/relationships/slideLayout" Target="../slideLayouts/slideLayout610.xml"/><Relationship Id="rId53" Type="http://schemas.openxmlformats.org/officeDocument/2006/relationships/slideLayout" Target="../slideLayouts/slideLayout618.xml"/><Relationship Id="rId58" Type="http://schemas.openxmlformats.org/officeDocument/2006/relationships/slideLayout" Target="../slideLayouts/slideLayout623.xml"/><Relationship Id="rId5" Type="http://schemas.openxmlformats.org/officeDocument/2006/relationships/slideLayout" Target="../slideLayouts/slideLayout570.xml"/><Relationship Id="rId61" Type="http://schemas.openxmlformats.org/officeDocument/2006/relationships/slideLayout" Target="../slideLayouts/slideLayout626.xml"/><Relationship Id="rId19" Type="http://schemas.openxmlformats.org/officeDocument/2006/relationships/slideLayout" Target="../slideLayouts/slideLayout584.xml"/><Relationship Id="rId14" Type="http://schemas.openxmlformats.org/officeDocument/2006/relationships/slideLayout" Target="../slideLayouts/slideLayout579.xml"/><Relationship Id="rId22" Type="http://schemas.openxmlformats.org/officeDocument/2006/relationships/slideLayout" Target="../slideLayouts/slideLayout587.xml"/><Relationship Id="rId27" Type="http://schemas.openxmlformats.org/officeDocument/2006/relationships/slideLayout" Target="../slideLayouts/slideLayout592.xml"/><Relationship Id="rId30" Type="http://schemas.openxmlformats.org/officeDocument/2006/relationships/slideLayout" Target="../slideLayouts/slideLayout595.xml"/><Relationship Id="rId35" Type="http://schemas.openxmlformats.org/officeDocument/2006/relationships/slideLayout" Target="../slideLayouts/slideLayout600.xml"/><Relationship Id="rId43" Type="http://schemas.openxmlformats.org/officeDocument/2006/relationships/slideLayout" Target="../slideLayouts/slideLayout608.xml"/><Relationship Id="rId48" Type="http://schemas.openxmlformats.org/officeDocument/2006/relationships/slideLayout" Target="../slideLayouts/slideLayout613.xml"/><Relationship Id="rId56" Type="http://schemas.openxmlformats.org/officeDocument/2006/relationships/slideLayout" Target="../slideLayouts/slideLayout621.xml"/><Relationship Id="rId64" Type="http://schemas.openxmlformats.org/officeDocument/2006/relationships/theme" Target="../theme/theme11.xml"/><Relationship Id="rId8" Type="http://schemas.openxmlformats.org/officeDocument/2006/relationships/slideLayout" Target="../slideLayouts/slideLayout573.xml"/><Relationship Id="rId51" Type="http://schemas.openxmlformats.org/officeDocument/2006/relationships/slideLayout" Target="../slideLayouts/slideLayout616.xml"/><Relationship Id="rId3" Type="http://schemas.openxmlformats.org/officeDocument/2006/relationships/slideLayout" Target="../slideLayouts/slideLayout568.xml"/><Relationship Id="rId12" Type="http://schemas.openxmlformats.org/officeDocument/2006/relationships/slideLayout" Target="../slideLayouts/slideLayout577.xml"/><Relationship Id="rId17" Type="http://schemas.openxmlformats.org/officeDocument/2006/relationships/slideLayout" Target="../slideLayouts/slideLayout582.xml"/><Relationship Id="rId25" Type="http://schemas.openxmlformats.org/officeDocument/2006/relationships/slideLayout" Target="../slideLayouts/slideLayout590.xml"/><Relationship Id="rId33" Type="http://schemas.openxmlformats.org/officeDocument/2006/relationships/slideLayout" Target="../slideLayouts/slideLayout598.xml"/><Relationship Id="rId38" Type="http://schemas.openxmlformats.org/officeDocument/2006/relationships/slideLayout" Target="../slideLayouts/slideLayout603.xml"/><Relationship Id="rId46" Type="http://schemas.openxmlformats.org/officeDocument/2006/relationships/slideLayout" Target="../slideLayouts/slideLayout611.xml"/><Relationship Id="rId59" Type="http://schemas.openxmlformats.org/officeDocument/2006/relationships/slideLayout" Target="../slideLayouts/slideLayout624.xml"/><Relationship Id="rId20" Type="http://schemas.openxmlformats.org/officeDocument/2006/relationships/slideLayout" Target="../slideLayouts/slideLayout585.xml"/><Relationship Id="rId41" Type="http://schemas.openxmlformats.org/officeDocument/2006/relationships/slideLayout" Target="../slideLayouts/slideLayout606.xml"/><Relationship Id="rId54" Type="http://schemas.openxmlformats.org/officeDocument/2006/relationships/slideLayout" Target="../slideLayouts/slideLayout619.xml"/><Relationship Id="rId62" Type="http://schemas.openxmlformats.org/officeDocument/2006/relationships/slideLayout" Target="../slideLayouts/slideLayout627.xml"/><Relationship Id="rId1" Type="http://schemas.openxmlformats.org/officeDocument/2006/relationships/slideLayout" Target="../slideLayouts/slideLayout566.xml"/><Relationship Id="rId6" Type="http://schemas.openxmlformats.org/officeDocument/2006/relationships/slideLayout" Target="../slideLayouts/slideLayout571.xml"/><Relationship Id="rId15" Type="http://schemas.openxmlformats.org/officeDocument/2006/relationships/slideLayout" Target="../slideLayouts/slideLayout580.xml"/><Relationship Id="rId23" Type="http://schemas.openxmlformats.org/officeDocument/2006/relationships/slideLayout" Target="../slideLayouts/slideLayout588.xml"/><Relationship Id="rId28" Type="http://schemas.openxmlformats.org/officeDocument/2006/relationships/slideLayout" Target="../slideLayouts/slideLayout593.xml"/><Relationship Id="rId36" Type="http://schemas.openxmlformats.org/officeDocument/2006/relationships/slideLayout" Target="../slideLayouts/slideLayout601.xml"/><Relationship Id="rId49" Type="http://schemas.openxmlformats.org/officeDocument/2006/relationships/slideLayout" Target="../slideLayouts/slideLayout614.xml"/><Relationship Id="rId57" Type="http://schemas.openxmlformats.org/officeDocument/2006/relationships/slideLayout" Target="../slideLayouts/slideLayout622.xml"/><Relationship Id="rId10" Type="http://schemas.openxmlformats.org/officeDocument/2006/relationships/slideLayout" Target="../slideLayouts/slideLayout575.xml"/><Relationship Id="rId31" Type="http://schemas.openxmlformats.org/officeDocument/2006/relationships/slideLayout" Target="../slideLayouts/slideLayout596.xml"/><Relationship Id="rId44" Type="http://schemas.openxmlformats.org/officeDocument/2006/relationships/slideLayout" Target="../slideLayouts/slideLayout609.xml"/><Relationship Id="rId52" Type="http://schemas.openxmlformats.org/officeDocument/2006/relationships/slideLayout" Target="../slideLayouts/slideLayout617.xml"/><Relationship Id="rId60" Type="http://schemas.openxmlformats.org/officeDocument/2006/relationships/slideLayout" Target="../slideLayouts/slideLayout625.xml"/><Relationship Id="rId4" Type="http://schemas.openxmlformats.org/officeDocument/2006/relationships/slideLayout" Target="../slideLayouts/slideLayout569.xml"/><Relationship Id="rId9" Type="http://schemas.openxmlformats.org/officeDocument/2006/relationships/slideLayout" Target="../slideLayouts/slideLayout574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6.xml"/><Relationship Id="rId13" Type="http://schemas.openxmlformats.org/officeDocument/2006/relationships/slideLayout" Target="../slideLayouts/slideLayout641.xml"/><Relationship Id="rId18" Type="http://schemas.openxmlformats.org/officeDocument/2006/relationships/slideLayout" Target="../slideLayouts/slideLayout646.xml"/><Relationship Id="rId26" Type="http://schemas.openxmlformats.org/officeDocument/2006/relationships/slideLayout" Target="../slideLayouts/slideLayout654.xml"/><Relationship Id="rId3" Type="http://schemas.openxmlformats.org/officeDocument/2006/relationships/slideLayout" Target="../slideLayouts/slideLayout631.xml"/><Relationship Id="rId21" Type="http://schemas.openxmlformats.org/officeDocument/2006/relationships/slideLayout" Target="../slideLayouts/slideLayout649.xml"/><Relationship Id="rId7" Type="http://schemas.openxmlformats.org/officeDocument/2006/relationships/slideLayout" Target="../slideLayouts/slideLayout635.xml"/><Relationship Id="rId12" Type="http://schemas.openxmlformats.org/officeDocument/2006/relationships/slideLayout" Target="../slideLayouts/slideLayout640.xml"/><Relationship Id="rId17" Type="http://schemas.openxmlformats.org/officeDocument/2006/relationships/slideLayout" Target="../slideLayouts/slideLayout645.xml"/><Relationship Id="rId25" Type="http://schemas.openxmlformats.org/officeDocument/2006/relationships/slideLayout" Target="../slideLayouts/slideLayout653.xml"/><Relationship Id="rId2" Type="http://schemas.openxmlformats.org/officeDocument/2006/relationships/slideLayout" Target="../slideLayouts/slideLayout630.xml"/><Relationship Id="rId16" Type="http://schemas.openxmlformats.org/officeDocument/2006/relationships/slideLayout" Target="../slideLayouts/slideLayout644.xml"/><Relationship Id="rId20" Type="http://schemas.openxmlformats.org/officeDocument/2006/relationships/slideLayout" Target="../slideLayouts/slideLayout648.xml"/><Relationship Id="rId29" Type="http://schemas.openxmlformats.org/officeDocument/2006/relationships/theme" Target="../theme/theme12.xml"/><Relationship Id="rId1" Type="http://schemas.openxmlformats.org/officeDocument/2006/relationships/slideLayout" Target="../slideLayouts/slideLayout629.xml"/><Relationship Id="rId6" Type="http://schemas.openxmlformats.org/officeDocument/2006/relationships/slideLayout" Target="../slideLayouts/slideLayout634.xml"/><Relationship Id="rId11" Type="http://schemas.openxmlformats.org/officeDocument/2006/relationships/slideLayout" Target="../slideLayouts/slideLayout639.xml"/><Relationship Id="rId24" Type="http://schemas.openxmlformats.org/officeDocument/2006/relationships/slideLayout" Target="../slideLayouts/slideLayout652.xml"/><Relationship Id="rId5" Type="http://schemas.openxmlformats.org/officeDocument/2006/relationships/slideLayout" Target="../slideLayouts/slideLayout633.xml"/><Relationship Id="rId15" Type="http://schemas.openxmlformats.org/officeDocument/2006/relationships/slideLayout" Target="../slideLayouts/slideLayout643.xml"/><Relationship Id="rId23" Type="http://schemas.openxmlformats.org/officeDocument/2006/relationships/slideLayout" Target="../slideLayouts/slideLayout651.xml"/><Relationship Id="rId28" Type="http://schemas.openxmlformats.org/officeDocument/2006/relationships/slideLayout" Target="../slideLayouts/slideLayout656.xml"/><Relationship Id="rId10" Type="http://schemas.openxmlformats.org/officeDocument/2006/relationships/slideLayout" Target="../slideLayouts/slideLayout638.xml"/><Relationship Id="rId19" Type="http://schemas.openxmlformats.org/officeDocument/2006/relationships/slideLayout" Target="../slideLayouts/slideLayout647.xml"/><Relationship Id="rId31" Type="http://schemas.openxmlformats.org/officeDocument/2006/relationships/image" Target="../media/image65.svg"/><Relationship Id="rId4" Type="http://schemas.openxmlformats.org/officeDocument/2006/relationships/slideLayout" Target="../slideLayouts/slideLayout632.xml"/><Relationship Id="rId9" Type="http://schemas.openxmlformats.org/officeDocument/2006/relationships/slideLayout" Target="../slideLayouts/slideLayout637.xml"/><Relationship Id="rId14" Type="http://schemas.openxmlformats.org/officeDocument/2006/relationships/slideLayout" Target="../slideLayouts/slideLayout642.xml"/><Relationship Id="rId22" Type="http://schemas.openxmlformats.org/officeDocument/2006/relationships/slideLayout" Target="../slideLayouts/slideLayout650.xml"/><Relationship Id="rId27" Type="http://schemas.openxmlformats.org/officeDocument/2006/relationships/slideLayout" Target="../slideLayouts/slideLayout655.xml"/><Relationship Id="rId30" Type="http://schemas.openxmlformats.org/officeDocument/2006/relationships/image" Target="../media/image64.png"/></Relationships>
</file>

<file path=ppt/slideMasters/_rels/slideMaster1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69.xml"/><Relationship Id="rId18" Type="http://schemas.openxmlformats.org/officeDocument/2006/relationships/slideLayout" Target="../slideLayouts/slideLayout674.xml"/><Relationship Id="rId26" Type="http://schemas.openxmlformats.org/officeDocument/2006/relationships/slideLayout" Target="../slideLayouts/slideLayout682.xml"/><Relationship Id="rId39" Type="http://schemas.openxmlformats.org/officeDocument/2006/relationships/slideLayout" Target="../slideLayouts/slideLayout695.xml"/><Relationship Id="rId21" Type="http://schemas.openxmlformats.org/officeDocument/2006/relationships/slideLayout" Target="../slideLayouts/slideLayout677.xml"/><Relationship Id="rId34" Type="http://schemas.openxmlformats.org/officeDocument/2006/relationships/slideLayout" Target="../slideLayouts/slideLayout690.xml"/><Relationship Id="rId42" Type="http://schemas.openxmlformats.org/officeDocument/2006/relationships/image" Target="../media/image65.svg"/><Relationship Id="rId7" Type="http://schemas.openxmlformats.org/officeDocument/2006/relationships/slideLayout" Target="../slideLayouts/slideLayout663.xml"/><Relationship Id="rId2" Type="http://schemas.openxmlformats.org/officeDocument/2006/relationships/slideLayout" Target="../slideLayouts/slideLayout658.xml"/><Relationship Id="rId16" Type="http://schemas.openxmlformats.org/officeDocument/2006/relationships/slideLayout" Target="../slideLayouts/slideLayout672.xml"/><Relationship Id="rId20" Type="http://schemas.openxmlformats.org/officeDocument/2006/relationships/slideLayout" Target="../slideLayouts/slideLayout676.xml"/><Relationship Id="rId29" Type="http://schemas.openxmlformats.org/officeDocument/2006/relationships/slideLayout" Target="../slideLayouts/slideLayout685.xml"/><Relationship Id="rId41" Type="http://schemas.openxmlformats.org/officeDocument/2006/relationships/image" Target="../media/image64.png"/><Relationship Id="rId1" Type="http://schemas.openxmlformats.org/officeDocument/2006/relationships/slideLayout" Target="../slideLayouts/slideLayout657.xml"/><Relationship Id="rId6" Type="http://schemas.openxmlformats.org/officeDocument/2006/relationships/slideLayout" Target="../slideLayouts/slideLayout662.xml"/><Relationship Id="rId11" Type="http://schemas.openxmlformats.org/officeDocument/2006/relationships/slideLayout" Target="../slideLayouts/slideLayout667.xml"/><Relationship Id="rId24" Type="http://schemas.openxmlformats.org/officeDocument/2006/relationships/slideLayout" Target="../slideLayouts/slideLayout680.xml"/><Relationship Id="rId32" Type="http://schemas.openxmlformats.org/officeDocument/2006/relationships/slideLayout" Target="../slideLayouts/slideLayout688.xml"/><Relationship Id="rId37" Type="http://schemas.openxmlformats.org/officeDocument/2006/relationships/slideLayout" Target="../slideLayouts/slideLayout693.xml"/><Relationship Id="rId40" Type="http://schemas.openxmlformats.org/officeDocument/2006/relationships/theme" Target="../theme/theme13.xml"/><Relationship Id="rId5" Type="http://schemas.openxmlformats.org/officeDocument/2006/relationships/slideLayout" Target="../slideLayouts/slideLayout661.xml"/><Relationship Id="rId15" Type="http://schemas.openxmlformats.org/officeDocument/2006/relationships/slideLayout" Target="../slideLayouts/slideLayout671.xml"/><Relationship Id="rId23" Type="http://schemas.openxmlformats.org/officeDocument/2006/relationships/slideLayout" Target="../slideLayouts/slideLayout679.xml"/><Relationship Id="rId28" Type="http://schemas.openxmlformats.org/officeDocument/2006/relationships/slideLayout" Target="../slideLayouts/slideLayout684.xml"/><Relationship Id="rId36" Type="http://schemas.openxmlformats.org/officeDocument/2006/relationships/slideLayout" Target="../slideLayouts/slideLayout692.xml"/><Relationship Id="rId10" Type="http://schemas.openxmlformats.org/officeDocument/2006/relationships/slideLayout" Target="../slideLayouts/slideLayout666.xml"/><Relationship Id="rId19" Type="http://schemas.openxmlformats.org/officeDocument/2006/relationships/slideLayout" Target="../slideLayouts/slideLayout675.xml"/><Relationship Id="rId31" Type="http://schemas.openxmlformats.org/officeDocument/2006/relationships/slideLayout" Target="../slideLayouts/slideLayout687.xml"/><Relationship Id="rId4" Type="http://schemas.openxmlformats.org/officeDocument/2006/relationships/slideLayout" Target="../slideLayouts/slideLayout660.xml"/><Relationship Id="rId9" Type="http://schemas.openxmlformats.org/officeDocument/2006/relationships/slideLayout" Target="../slideLayouts/slideLayout665.xml"/><Relationship Id="rId14" Type="http://schemas.openxmlformats.org/officeDocument/2006/relationships/slideLayout" Target="../slideLayouts/slideLayout670.xml"/><Relationship Id="rId22" Type="http://schemas.openxmlformats.org/officeDocument/2006/relationships/slideLayout" Target="../slideLayouts/slideLayout678.xml"/><Relationship Id="rId27" Type="http://schemas.openxmlformats.org/officeDocument/2006/relationships/slideLayout" Target="../slideLayouts/slideLayout683.xml"/><Relationship Id="rId30" Type="http://schemas.openxmlformats.org/officeDocument/2006/relationships/slideLayout" Target="../slideLayouts/slideLayout686.xml"/><Relationship Id="rId35" Type="http://schemas.openxmlformats.org/officeDocument/2006/relationships/slideLayout" Target="../slideLayouts/slideLayout691.xml"/><Relationship Id="rId8" Type="http://schemas.openxmlformats.org/officeDocument/2006/relationships/slideLayout" Target="../slideLayouts/slideLayout664.xml"/><Relationship Id="rId3" Type="http://schemas.openxmlformats.org/officeDocument/2006/relationships/slideLayout" Target="../slideLayouts/slideLayout659.xml"/><Relationship Id="rId12" Type="http://schemas.openxmlformats.org/officeDocument/2006/relationships/slideLayout" Target="../slideLayouts/slideLayout668.xml"/><Relationship Id="rId17" Type="http://schemas.openxmlformats.org/officeDocument/2006/relationships/slideLayout" Target="../slideLayouts/slideLayout673.xml"/><Relationship Id="rId25" Type="http://schemas.openxmlformats.org/officeDocument/2006/relationships/slideLayout" Target="../slideLayouts/slideLayout681.xml"/><Relationship Id="rId33" Type="http://schemas.openxmlformats.org/officeDocument/2006/relationships/slideLayout" Target="../slideLayouts/slideLayout689.xml"/><Relationship Id="rId38" Type="http://schemas.openxmlformats.org/officeDocument/2006/relationships/slideLayout" Target="../slideLayouts/slideLayout694.xml"/></Relationships>
</file>

<file path=ppt/slideMasters/_rels/slideMaster1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08.xml"/><Relationship Id="rId18" Type="http://schemas.openxmlformats.org/officeDocument/2006/relationships/slideLayout" Target="../slideLayouts/slideLayout713.xml"/><Relationship Id="rId26" Type="http://schemas.openxmlformats.org/officeDocument/2006/relationships/slideLayout" Target="../slideLayouts/slideLayout721.xml"/><Relationship Id="rId39" Type="http://schemas.openxmlformats.org/officeDocument/2006/relationships/slideLayout" Target="../slideLayouts/slideLayout734.xml"/><Relationship Id="rId21" Type="http://schemas.openxmlformats.org/officeDocument/2006/relationships/slideLayout" Target="../slideLayouts/slideLayout716.xml"/><Relationship Id="rId34" Type="http://schemas.openxmlformats.org/officeDocument/2006/relationships/slideLayout" Target="../slideLayouts/slideLayout729.xml"/><Relationship Id="rId42" Type="http://schemas.openxmlformats.org/officeDocument/2006/relationships/slideLayout" Target="../slideLayouts/slideLayout737.xml"/><Relationship Id="rId47" Type="http://schemas.openxmlformats.org/officeDocument/2006/relationships/slideLayout" Target="../slideLayouts/slideLayout742.xml"/><Relationship Id="rId50" Type="http://schemas.openxmlformats.org/officeDocument/2006/relationships/slideLayout" Target="../slideLayouts/slideLayout745.xml"/><Relationship Id="rId55" Type="http://schemas.openxmlformats.org/officeDocument/2006/relationships/slideLayout" Target="../slideLayouts/slideLayout750.xml"/><Relationship Id="rId7" Type="http://schemas.openxmlformats.org/officeDocument/2006/relationships/slideLayout" Target="../slideLayouts/slideLayout702.xml"/><Relationship Id="rId2" Type="http://schemas.openxmlformats.org/officeDocument/2006/relationships/slideLayout" Target="../slideLayouts/slideLayout697.xml"/><Relationship Id="rId16" Type="http://schemas.openxmlformats.org/officeDocument/2006/relationships/slideLayout" Target="../slideLayouts/slideLayout711.xml"/><Relationship Id="rId29" Type="http://schemas.openxmlformats.org/officeDocument/2006/relationships/slideLayout" Target="../slideLayouts/slideLayout724.xml"/><Relationship Id="rId11" Type="http://schemas.openxmlformats.org/officeDocument/2006/relationships/slideLayout" Target="../slideLayouts/slideLayout706.xml"/><Relationship Id="rId24" Type="http://schemas.openxmlformats.org/officeDocument/2006/relationships/slideLayout" Target="../slideLayouts/slideLayout719.xml"/><Relationship Id="rId32" Type="http://schemas.openxmlformats.org/officeDocument/2006/relationships/slideLayout" Target="../slideLayouts/slideLayout727.xml"/><Relationship Id="rId37" Type="http://schemas.openxmlformats.org/officeDocument/2006/relationships/slideLayout" Target="../slideLayouts/slideLayout732.xml"/><Relationship Id="rId40" Type="http://schemas.openxmlformats.org/officeDocument/2006/relationships/slideLayout" Target="../slideLayouts/slideLayout735.xml"/><Relationship Id="rId45" Type="http://schemas.openxmlformats.org/officeDocument/2006/relationships/slideLayout" Target="../slideLayouts/slideLayout740.xml"/><Relationship Id="rId53" Type="http://schemas.openxmlformats.org/officeDocument/2006/relationships/slideLayout" Target="../slideLayouts/slideLayout748.xml"/><Relationship Id="rId58" Type="http://schemas.openxmlformats.org/officeDocument/2006/relationships/image" Target="../media/image64.png"/><Relationship Id="rId5" Type="http://schemas.openxmlformats.org/officeDocument/2006/relationships/slideLayout" Target="../slideLayouts/slideLayout700.xml"/><Relationship Id="rId19" Type="http://schemas.openxmlformats.org/officeDocument/2006/relationships/slideLayout" Target="../slideLayouts/slideLayout714.xml"/><Relationship Id="rId4" Type="http://schemas.openxmlformats.org/officeDocument/2006/relationships/slideLayout" Target="../slideLayouts/slideLayout699.xml"/><Relationship Id="rId9" Type="http://schemas.openxmlformats.org/officeDocument/2006/relationships/slideLayout" Target="../slideLayouts/slideLayout704.xml"/><Relationship Id="rId14" Type="http://schemas.openxmlformats.org/officeDocument/2006/relationships/slideLayout" Target="../slideLayouts/slideLayout709.xml"/><Relationship Id="rId22" Type="http://schemas.openxmlformats.org/officeDocument/2006/relationships/slideLayout" Target="../slideLayouts/slideLayout717.xml"/><Relationship Id="rId27" Type="http://schemas.openxmlformats.org/officeDocument/2006/relationships/slideLayout" Target="../slideLayouts/slideLayout722.xml"/><Relationship Id="rId30" Type="http://schemas.openxmlformats.org/officeDocument/2006/relationships/slideLayout" Target="../slideLayouts/slideLayout725.xml"/><Relationship Id="rId35" Type="http://schemas.openxmlformats.org/officeDocument/2006/relationships/slideLayout" Target="../slideLayouts/slideLayout730.xml"/><Relationship Id="rId43" Type="http://schemas.openxmlformats.org/officeDocument/2006/relationships/slideLayout" Target="../slideLayouts/slideLayout738.xml"/><Relationship Id="rId48" Type="http://schemas.openxmlformats.org/officeDocument/2006/relationships/slideLayout" Target="../slideLayouts/slideLayout743.xml"/><Relationship Id="rId56" Type="http://schemas.openxmlformats.org/officeDocument/2006/relationships/slideLayout" Target="../slideLayouts/slideLayout751.xml"/><Relationship Id="rId8" Type="http://schemas.openxmlformats.org/officeDocument/2006/relationships/slideLayout" Target="../slideLayouts/slideLayout703.xml"/><Relationship Id="rId51" Type="http://schemas.openxmlformats.org/officeDocument/2006/relationships/slideLayout" Target="../slideLayouts/slideLayout746.xml"/><Relationship Id="rId3" Type="http://schemas.openxmlformats.org/officeDocument/2006/relationships/slideLayout" Target="../slideLayouts/slideLayout698.xml"/><Relationship Id="rId12" Type="http://schemas.openxmlformats.org/officeDocument/2006/relationships/slideLayout" Target="../slideLayouts/slideLayout707.xml"/><Relationship Id="rId17" Type="http://schemas.openxmlformats.org/officeDocument/2006/relationships/slideLayout" Target="../slideLayouts/slideLayout712.xml"/><Relationship Id="rId25" Type="http://schemas.openxmlformats.org/officeDocument/2006/relationships/slideLayout" Target="../slideLayouts/slideLayout720.xml"/><Relationship Id="rId33" Type="http://schemas.openxmlformats.org/officeDocument/2006/relationships/slideLayout" Target="../slideLayouts/slideLayout728.xml"/><Relationship Id="rId38" Type="http://schemas.openxmlformats.org/officeDocument/2006/relationships/slideLayout" Target="../slideLayouts/slideLayout733.xml"/><Relationship Id="rId46" Type="http://schemas.openxmlformats.org/officeDocument/2006/relationships/slideLayout" Target="../slideLayouts/slideLayout741.xml"/><Relationship Id="rId59" Type="http://schemas.openxmlformats.org/officeDocument/2006/relationships/image" Target="../media/image65.svg"/><Relationship Id="rId20" Type="http://schemas.openxmlformats.org/officeDocument/2006/relationships/slideLayout" Target="../slideLayouts/slideLayout715.xml"/><Relationship Id="rId41" Type="http://schemas.openxmlformats.org/officeDocument/2006/relationships/slideLayout" Target="../slideLayouts/slideLayout736.xml"/><Relationship Id="rId54" Type="http://schemas.openxmlformats.org/officeDocument/2006/relationships/slideLayout" Target="../slideLayouts/slideLayout749.xml"/><Relationship Id="rId1" Type="http://schemas.openxmlformats.org/officeDocument/2006/relationships/slideLayout" Target="../slideLayouts/slideLayout696.xml"/><Relationship Id="rId6" Type="http://schemas.openxmlformats.org/officeDocument/2006/relationships/slideLayout" Target="../slideLayouts/slideLayout701.xml"/><Relationship Id="rId15" Type="http://schemas.openxmlformats.org/officeDocument/2006/relationships/slideLayout" Target="../slideLayouts/slideLayout710.xml"/><Relationship Id="rId23" Type="http://schemas.openxmlformats.org/officeDocument/2006/relationships/slideLayout" Target="../slideLayouts/slideLayout718.xml"/><Relationship Id="rId28" Type="http://schemas.openxmlformats.org/officeDocument/2006/relationships/slideLayout" Target="../slideLayouts/slideLayout723.xml"/><Relationship Id="rId36" Type="http://schemas.openxmlformats.org/officeDocument/2006/relationships/slideLayout" Target="../slideLayouts/slideLayout731.xml"/><Relationship Id="rId49" Type="http://schemas.openxmlformats.org/officeDocument/2006/relationships/slideLayout" Target="../slideLayouts/slideLayout744.xml"/><Relationship Id="rId57" Type="http://schemas.openxmlformats.org/officeDocument/2006/relationships/theme" Target="../theme/theme14.xml"/><Relationship Id="rId10" Type="http://schemas.openxmlformats.org/officeDocument/2006/relationships/slideLayout" Target="../slideLayouts/slideLayout705.xml"/><Relationship Id="rId31" Type="http://schemas.openxmlformats.org/officeDocument/2006/relationships/slideLayout" Target="../slideLayouts/slideLayout726.xml"/><Relationship Id="rId44" Type="http://schemas.openxmlformats.org/officeDocument/2006/relationships/slideLayout" Target="../slideLayouts/slideLayout739.xml"/><Relationship Id="rId52" Type="http://schemas.openxmlformats.org/officeDocument/2006/relationships/slideLayout" Target="../slideLayouts/slideLayout747.xml"/></Relationships>
</file>

<file path=ppt/slideMasters/_rels/slideMaster1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77.xml"/><Relationship Id="rId21" Type="http://schemas.openxmlformats.org/officeDocument/2006/relationships/slideLayout" Target="../slideLayouts/slideLayout772.xml"/><Relationship Id="rId42" Type="http://schemas.openxmlformats.org/officeDocument/2006/relationships/slideLayout" Target="../slideLayouts/slideLayout793.xml"/><Relationship Id="rId47" Type="http://schemas.openxmlformats.org/officeDocument/2006/relationships/slideLayout" Target="../slideLayouts/slideLayout798.xml"/><Relationship Id="rId63" Type="http://schemas.openxmlformats.org/officeDocument/2006/relationships/slideLayout" Target="../slideLayouts/slideLayout814.xml"/><Relationship Id="rId68" Type="http://schemas.openxmlformats.org/officeDocument/2006/relationships/slideLayout" Target="../slideLayouts/slideLayout819.xml"/><Relationship Id="rId7" Type="http://schemas.openxmlformats.org/officeDocument/2006/relationships/slideLayout" Target="../slideLayouts/slideLayout758.xml"/><Relationship Id="rId2" Type="http://schemas.openxmlformats.org/officeDocument/2006/relationships/slideLayout" Target="../slideLayouts/slideLayout753.xml"/><Relationship Id="rId16" Type="http://schemas.openxmlformats.org/officeDocument/2006/relationships/slideLayout" Target="../slideLayouts/slideLayout767.xml"/><Relationship Id="rId29" Type="http://schemas.openxmlformats.org/officeDocument/2006/relationships/slideLayout" Target="../slideLayouts/slideLayout780.xml"/><Relationship Id="rId11" Type="http://schemas.openxmlformats.org/officeDocument/2006/relationships/slideLayout" Target="../slideLayouts/slideLayout762.xml"/><Relationship Id="rId24" Type="http://schemas.openxmlformats.org/officeDocument/2006/relationships/slideLayout" Target="../slideLayouts/slideLayout775.xml"/><Relationship Id="rId32" Type="http://schemas.openxmlformats.org/officeDocument/2006/relationships/slideLayout" Target="../slideLayouts/slideLayout783.xml"/><Relationship Id="rId37" Type="http://schemas.openxmlformats.org/officeDocument/2006/relationships/slideLayout" Target="../slideLayouts/slideLayout788.xml"/><Relationship Id="rId40" Type="http://schemas.openxmlformats.org/officeDocument/2006/relationships/slideLayout" Target="../slideLayouts/slideLayout791.xml"/><Relationship Id="rId45" Type="http://schemas.openxmlformats.org/officeDocument/2006/relationships/slideLayout" Target="../slideLayouts/slideLayout796.xml"/><Relationship Id="rId53" Type="http://schemas.openxmlformats.org/officeDocument/2006/relationships/slideLayout" Target="../slideLayouts/slideLayout804.xml"/><Relationship Id="rId58" Type="http://schemas.openxmlformats.org/officeDocument/2006/relationships/slideLayout" Target="../slideLayouts/slideLayout809.xml"/><Relationship Id="rId66" Type="http://schemas.openxmlformats.org/officeDocument/2006/relationships/slideLayout" Target="../slideLayouts/slideLayout817.xml"/><Relationship Id="rId5" Type="http://schemas.openxmlformats.org/officeDocument/2006/relationships/slideLayout" Target="../slideLayouts/slideLayout756.xml"/><Relationship Id="rId61" Type="http://schemas.openxmlformats.org/officeDocument/2006/relationships/slideLayout" Target="../slideLayouts/slideLayout812.xml"/><Relationship Id="rId19" Type="http://schemas.openxmlformats.org/officeDocument/2006/relationships/slideLayout" Target="../slideLayouts/slideLayout770.xml"/><Relationship Id="rId14" Type="http://schemas.openxmlformats.org/officeDocument/2006/relationships/slideLayout" Target="../slideLayouts/slideLayout765.xml"/><Relationship Id="rId22" Type="http://schemas.openxmlformats.org/officeDocument/2006/relationships/slideLayout" Target="../slideLayouts/slideLayout773.xml"/><Relationship Id="rId27" Type="http://schemas.openxmlformats.org/officeDocument/2006/relationships/slideLayout" Target="../slideLayouts/slideLayout778.xml"/><Relationship Id="rId30" Type="http://schemas.openxmlformats.org/officeDocument/2006/relationships/slideLayout" Target="../slideLayouts/slideLayout781.xml"/><Relationship Id="rId35" Type="http://schemas.openxmlformats.org/officeDocument/2006/relationships/slideLayout" Target="../slideLayouts/slideLayout786.xml"/><Relationship Id="rId43" Type="http://schemas.openxmlformats.org/officeDocument/2006/relationships/slideLayout" Target="../slideLayouts/slideLayout794.xml"/><Relationship Id="rId48" Type="http://schemas.openxmlformats.org/officeDocument/2006/relationships/slideLayout" Target="../slideLayouts/slideLayout799.xml"/><Relationship Id="rId56" Type="http://schemas.openxmlformats.org/officeDocument/2006/relationships/slideLayout" Target="../slideLayouts/slideLayout807.xml"/><Relationship Id="rId64" Type="http://schemas.openxmlformats.org/officeDocument/2006/relationships/slideLayout" Target="../slideLayouts/slideLayout815.xml"/><Relationship Id="rId69" Type="http://schemas.openxmlformats.org/officeDocument/2006/relationships/slideLayout" Target="../slideLayouts/slideLayout820.xml"/><Relationship Id="rId8" Type="http://schemas.openxmlformats.org/officeDocument/2006/relationships/slideLayout" Target="../slideLayouts/slideLayout759.xml"/><Relationship Id="rId51" Type="http://schemas.openxmlformats.org/officeDocument/2006/relationships/slideLayout" Target="../slideLayouts/slideLayout802.xml"/><Relationship Id="rId3" Type="http://schemas.openxmlformats.org/officeDocument/2006/relationships/slideLayout" Target="../slideLayouts/slideLayout754.xml"/><Relationship Id="rId12" Type="http://schemas.openxmlformats.org/officeDocument/2006/relationships/slideLayout" Target="../slideLayouts/slideLayout763.xml"/><Relationship Id="rId17" Type="http://schemas.openxmlformats.org/officeDocument/2006/relationships/slideLayout" Target="../slideLayouts/slideLayout768.xml"/><Relationship Id="rId25" Type="http://schemas.openxmlformats.org/officeDocument/2006/relationships/slideLayout" Target="../slideLayouts/slideLayout776.xml"/><Relationship Id="rId33" Type="http://schemas.openxmlformats.org/officeDocument/2006/relationships/slideLayout" Target="../slideLayouts/slideLayout784.xml"/><Relationship Id="rId38" Type="http://schemas.openxmlformats.org/officeDocument/2006/relationships/slideLayout" Target="../slideLayouts/slideLayout789.xml"/><Relationship Id="rId46" Type="http://schemas.openxmlformats.org/officeDocument/2006/relationships/slideLayout" Target="../slideLayouts/slideLayout797.xml"/><Relationship Id="rId59" Type="http://schemas.openxmlformats.org/officeDocument/2006/relationships/slideLayout" Target="../slideLayouts/slideLayout810.xml"/><Relationship Id="rId67" Type="http://schemas.openxmlformats.org/officeDocument/2006/relationships/slideLayout" Target="../slideLayouts/slideLayout818.xml"/><Relationship Id="rId20" Type="http://schemas.openxmlformats.org/officeDocument/2006/relationships/slideLayout" Target="../slideLayouts/slideLayout771.xml"/><Relationship Id="rId41" Type="http://schemas.openxmlformats.org/officeDocument/2006/relationships/slideLayout" Target="../slideLayouts/slideLayout792.xml"/><Relationship Id="rId54" Type="http://schemas.openxmlformats.org/officeDocument/2006/relationships/slideLayout" Target="../slideLayouts/slideLayout805.xml"/><Relationship Id="rId62" Type="http://schemas.openxmlformats.org/officeDocument/2006/relationships/slideLayout" Target="../slideLayouts/slideLayout813.xml"/><Relationship Id="rId70" Type="http://schemas.openxmlformats.org/officeDocument/2006/relationships/theme" Target="../theme/theme15.xml"/><Relationship Id="rId1" Type="http://schemas.openxmlformats.org/officeDocument/2006/relationships/slideLayout" Target="../slideLayouts/slideLayout752.xml"/><Relationship Id="rId6" Type="http://schemas.openxmlformats.org/officeDocument/2006/relationships/slideLayout" Target="../slideLayouts/slideLayout757.xml"/><Relationship Id="rId15" Type="http://schemas.openxmlformats.org/officeDocument/2006/relationships/slideLayout" Target="../slideLayouts/slideLayout766.xml"/><Relationship Id="rId23" Type="http://schemas.openxmlformats.org/officeDocument/2006/relationships/slideLayout" Target="../slideLayouts/slideLayout774.xml"/><Relationship Id="rId28" Type="http://schemas.openxmlformats.org/officeDocument/2006/relationships/slideLayout" Target="../slideLayouts/slideLayout779.xml"/><Relationship Id="rId36" Type="http://schemas.openxmlformats.org/officeDocument/2006/relationships/slideLayout" Target="../slideLayouts/slideLayout787.xml"/><Relationship Id="rId49" Type="http://schemas.openxmlformats.org/officeDocument/2006/relationships/slideLayout" Target="../slideLayouts/slideLayout800.xml"/><Relationship Id="rId57" Type="http://schemas.openxmlformats.org/officeDocument/2006/relationships/slideLayout" Target="../slideLayouts/slideLayout808.xml"/><Relationship Id="rId10" Type="http://schemas.openxmlformats.org/officeDocument/2006/relationships/slideLayout" Target="../slideLayouts/slideLayout761.xml"/><Relationship Id="rId31" Type="http://schemas.openxmlformats.org/officeDocument/2006/relationships/slideLayout" Target="../slideLayouts/slideLayout782.xml"/><Relationship Id="rId44" Type="http://schemas.openxmlformats.org/officeDocument/2006/relationships/slideLayout" Target="../slideLayouts/slideLayout795.xml"/><Relationship Id="rId52" Type="http://schemas.openxmlformats.org/officeDocument/2006/relationships/slideLayout" Target="../slideLayouts/slideLayout803.xml"/><Relationship Id="rId60" Type="http://schemas.openxmlformats.org/officeDocument/2006/relationships/slideLayout" Target="../slideLayouts/slideLayout811.xml"/><Relationship Id="rId65" Type="http://schemas.openxmlformats.org/officeDocument/2006/relationships/slideLayout" Target="../slideLayouts/slideLayout816.xml"/><Relationship Id="rId4" Type="http://schemas.openxmlformats.org/officeDocument/2006/relationships/slideLayout" Target="../slideLayouts/slideLayout755.xml"/><Relationship Id="rId9" Type="http://schemas.openxmlformats.org/officeDocument/2006/relationships/slideLayout" Target="../slideLayouts/slideLayout760.xml"/><Relationship Id="rId13" Type="http://schemas.openxmlformats.org/officeDocument/2006/relationships/slideLayout" Target="../slideLayouts/slideLayout764.xml"/><Relationship Id="rId18" Type="http://schemas.openxmlformats.org/officeDocument/2006/relationships/slideLayout" Target="../slideLayouts/slideLayout769.xml"/><Relationship Id="rId39" Type="http://schemas.openxmlformats.org/officeDocument/2006/relationships/slideLayout" Target="../slideLayouts/slideLayout790.xml"/><Relationship Id="rId34" Type="http://schemas.openxmlformats.org/officeDocument/2006/relationships/slideLayout" Target="../slideLayouts/slideLayout785.xml"/><Relationship Id="rId50" Type="http://schemas.openxmlformats.org/officeDocument/2006/relationships/slideLayout" Target="../slideLayouts/slideLayout801.xml"/><Relationship Id="rId55" Type="http://schemas.openxmlformats.org/officeDocument/2006/relationships/slideLayout" Target="../slideLayouts/slideLayout806.xml"/></Relationships>
</file>

<file path=ppt/slideMasters/_rels/slideMaster1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33.xml"/><Relationship Id="rId18" Type="http://schemas.openxmlformats.org/officeDocument/2006/relationships/slideLayout" Target="../slideLayouts/slideLayout838.xml"/><Relationship Id="rId26" Type="http://schemas.openxmlformats.org/officeDocument/2006/relationships/slideLayout" Target="../slideLayouts/slideLayout846.xml"/><Relationship Id="rId39" Type="http://schemas.openxmlformats.org/officeDocument/2006/relationships/slideLayout" Target="../slideLayouts/slideLayout859.xml"/><Relationship Id="rId21" Type="http://schemas.openxmlformats.org/officeDocument/2006/relationships/slideLayout" Target="../slideLayouts/slideLayout841.xml"/><Relationship Id="rId34" Type="http://schemas.openxmlformats.org/officeDocument/2006/relationships/slideLayout" Target="../slideLayouts/slideLayout854.xml"/><Relationship Id="rId42" Type="http://schemas.openxmlformats.org/officeDocument/2006/relationships/slideLayout" Target="../slideLayouts/slideLayout862.xml"/><Relationship Id="rId47" Type="http://schemas.openxmlformats.org/officeDocument/2006/relationships/slideLayout" Target="../slideLayouts/slideLayout867.xml"/><Relationship Id="rId50" Type="http://schemas.openxmlformats.org/officeDocument/2006/relationships/slideLayout" Target="../slideLayouts/slideLayout870.xml"/><Relationship Id="rId55" Type="http://schemas.openxmlformats.org/officeDocument/2006/relationships/theme" Target="../theme/theme16.xml"/><Relationship Id="rId7" Type="http://schemas.openxmlformats.org/officeDocument/2006/relationships/slideLayout" Target="../slideLayouts/slideLayout827.xml"/><Relationship Id="rId2" Type="http://schemas.openxmlformats.org/officeDocument/2006/relationships/slideLayout" Target="../slideLayouts/slideLayout822.xml"/><Relationship Id="rId16" Type="http://schemas.openxmlformats.org/officeDocument/2006/relationships/slideLayout" Target="../slideLayouts/slideLayout836.xml"/><Relationship Id="rId29" Type="http://schemas.openxmlformats.org/officeDocument/2006/relationships/slideLayout" Target="../slideLayouts/slideLayout849.xml"/><Relationship Id="rId11" Type="http://schemas.openxmlformats.org/officeDocument/2006/relationships/slideLayout" Target="../slideLayouts/slideLayout831.xml"/><Relationship Id="rId24" Type="http://schemas.openxmlformats.org/officeDocument/2006/relationships/slideLayout" Target="../slideLayouts/slideLayout844.xml"/><Relationship Id="rId32" Type="http://schemas.openxmlformats.org/officeDocument/2006/relationships/slideLayout" Target="../slideLayouts/slideLayout852.xml"/><Relationship Id="rId37" Type="http://schemas.openxmlformats.org/officeDocument/2006/relationships/slideLayout" Target="../slideLayouts/slideLayout857.xml"/><Relationship Id="rId40" Type="http://schemas.openxmlformats.org/officeDocument/2006/relationships/slideLayout" Target="../slideLayouts/slideLayout860.xml"/><Relationship Id="rId45" Type="http://schemas.openxmlformats.org/officeDocument/2006/relationships/slideLayout" Target="../slideLayouts/slideLayout865.xml"/><Relationship Id="rId53" Type="http://schemas.openxmlformats.org/officeDocument/2006/relationships/slideLayout" Target="../slideLayouts/slideLayout873.xml"/><Relationship Id="rId5" Type="http://schemas.openxmlformats.org/officeDocument/2006/relationships/slideLayout" Target="../slideLayouts/slideLayout825.xml"/><Relationship Id="rId19" Type="http://schemas.openxmlformats.org/officeDocument/2006/relationships/slideLayout" Target="../slideLayouts/slideLayout839.xml"/><Relationship Id="rId4" Type="http://schemas.openxmlformats.org/officeDocument/2006/relationships/slideLayout" Target="../slideLayouts/slideLayout824.xml"/><Relationship Id="rId9" Type="http://schemas.openxmlformats.org/officeDocument/2006/relationships/slideLayout" Target="../slideLayouts/slideLayout829.xml"/><Relationship Id="rId14" Type="http://schemas.openxmlformats.org/officeDocument/2006/relationships/slideLayout" Target="../slideLayouts/slideLayout834.xml"/><Relationship Id="rId22" Type="http://schemas.openxmlformats.org/officeDocument/2006/relationships/slideLayout" Target="../slideLayouts/slideLayout842.xml"/><Relationship Id="rId27" Type="http://schemas.openxmlformats.org/officeDocument/2006/relationships/slideLayout" Target="../slideLayouts/slideLayout847.xml"/><Relationship Id="rId30" Type="http://schemas.openxmlformats.org/officeDocument/2006/relationships/slideLayout" Target="../slideLayouts/slideLayout850.xml"/><Relationship Id="rId35" Type="http://schemas.openxmlformats.org/officeDocument/2006/relationships/slideLayout" Target="../slideLayouts/slideLayout855.xml"/><Relationship Id="rId43" Type="http://schemas.openxmlformats.org/officeDocument/2006/relationships/slideLayout" Target="../slideLayouts/slideLayout863.xml"/><Relationship Id="rId48" Type="http://schemas.openxmlformats.org/officeDocument/2006/relationships/slideLayout" Target="../slideLayouts/slideLayout868.xml"/><Relationship Id="rId56" Type="http://schemas.openxmlformats.org/officeDocument/2006/relationships/image" Target="../media/image64.png"/><Relationship Id="rId8" Type="http://schemas.openxmlformats.org/officeDocument/2006/relationships/slideLayout" Target="../slideLayouts/slideLayout828.xml"/><Relationship Id="rId51" Type="http://schemas.openxmlformats.org/officeDocument/2006/relationships/slideLayout" Target="../slideLayouts/slideLayout871.xml"/><Relationship Id="rId3" Type="http://schemas.openxmlformats.org/officeDocument/2006/relationships/slideLayout" Target="../slideLayouts/slideLayout823.xml"/><Relationship Id="rId12" Type="http://schemas.openxmlformats.org/officeDocument/2006/relationships/slideLayout" Target="../slideLayouts/slideLayout832.xml"/><Relationship Id="rId17" Type="http://schemas.openxmlformats.org/officeDocument/2006/relationships/slideLayout" Target="../slideLayouts/slideLayout837.xml"/><Relationship Id="rId25" Type="http://schemas.openxmlformats.org/officeDocument/2006/relationships/slideLayout" Target="../slideLayouts/slideLayout845.xml"/><Relationship Id="rId33" Type="http://schemas.openxmlformats.org/officeDocument/2006/relationships/slideLayout" Target="../slideLayouts/slideLayout853.xml"/><Relationship Id="rId38" Type="http://schemas.openxmlformats.org/officeDocument/2006/relationships/slideLayout" Target="../slideLayouts/slideLayout858.xml"/><Relationship Id="rId46" Type="http://schemas.openxmlformats.org/officeDocument/2006/relationships/slideLayout" Target="../slideLayouts/slideLayout866.xml"/><Relationship Id="rId20" Type="http://schemas.openxmlformats.org/officeDocument/2006/relationships/slideLayout" Target="../slideLayouts/slideLayout840.xml"/><Relationship Id="rId41" Type="http://schemas.openxmlformats.org/officeDocument/2006/relationships/slideLayout" Target="../slideLayouts/slideLayout861.xml"/><Relationship Id="rId54" Type="http://schemas.openxmlformats.org/officeDocument/2006/relationships/slideLayout" Target="../slideLayouts/slideLayout874.xml"/><Relationship Id="rId1" Type="http://schemas.openxmlformats.org/officeDocument/2006/relationships/slideLayout" Target="../slideLayouts/slideLayout821.xml"/><Relationship Id="rId6" Type="http://schemas.openxmlformats.org/officeDocument/2006/relationships/slideLayout" Target="../slideLayouts/slideLayout826.xml"/><Relationship Id="rId15" Type="http://schemas.openxmlformats.org/officeDocument/2006/relationships/slideLayout" Target="../slideLayouts/slideLayout835.xml"/><Relationship Id="rId23" Type="http://schemas.openxmlformats.org/officeDocument/2006/relationships/slideLayout" Target="../slideLayouts/slideLayout843.xml"/><Relationship Id="rId28" Type="http://schemas.openxmlformats.org/officeDocument/2006/relationships/slideLayout" Target="../slideLayouts/slideLayout848.xml"/><Relationship Id="rId36" Type="http://schemas.openxmlformats.org/officeDocument/2006/relationships/slideLayout" Target="../slideLayouts/slideLayout856.xml"/><Relationship Id="rId49" Type="http://schemas.openxmlformats.org/officeDocument/2006/relationships/slideLayout" Target="../slideLayouts/slideLayout869.xml"/><Relationship Id="rId57" Type="http://schemas.openxmlformats.org/officeDocument/2006/relationships/image" Target="../media/image149.svg"/><Relationship Id="rId10" Type="http://schemas.openxmlformats.org/officeDocument/2006/relationships/slideLayout" Target="../slideLayouts/slideLayout830.xml"/><Relationship Id="rId31" Type="http://schemas.openxmlformats.org/officeDocument/2006/relationships/slideLayout" Target="../slideLayouts/slideLayout851.xml"/><Relationship Id="rId44" Type="http://schemas.openxmlformats.org/officeDocument/2006/relationships/slideLayout" Target="../slideLayouts/slideLayout864.xml"/><Relationship Id="rId52" Type="http://schemas.openxmlformats.org/officeDocument/2006/relationships/slideLayout" Target="../slideLayouts/slideLayout872.xml"/></Relationships>
</file>

<file path=ppt/slideMasters/_rels/slideMaster1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87.xml"/><Relationship Id="rId18" Type="http://schemas.openxmlformats.org/officeDocument/2006/relationships/slideLayout" Target="../slideLayouts/slideLayout892.xml"/><Relationship Id="rId26" Type="http://schemas.openxmlformats.org/officeDocument/2006/relationships/slideLayout" Target="../slideLayouts/slideLayout900.xml"/><Relationship Id="rId21" Type="http://schemas.openxmlformats.org/officeDocument/2006/relationships/slideLayout" Target="../slideLayouts/slideLayout895.xml"/><Relationship Id="rId34" Type="http://schemas.openxmlformats.org/officeDocument/2006/relationships/slideLayout" Target="../slideLayouts/slideLayout908.xml"/><Relationship Id="rId7" Type="http://schemas.openxmlformats.org/officeDocument/2006/relationships/slideLayout" Target="../slideLayouts/slideLayout881.xml"/><Relationship Id="rId12" Type="http://schemas.openxmlformats.org/officeDocument/2006/relationships/slideLayout" Target="../slideLayouts/slideLayout886.xml"/><Relationship Id="rId17" Type="http://schemas.openxmlformats.org/officeDocument/2006/relationships/slideLayout" Target="../slideLayouts/slideLayout891.xml"/><Relationship Id="rId25" Type="http://schemas.openxmlformats.org/officeDocument/2006/relationships/slideLayout" Target="../slideLayouts/slideLayout899.xml"/><Relationship Id="rId33" Type="http://schemas.openxmlformats.org/officeDocument/2006/relationships/slideLayout" Target="../slideLayouts/slideLayout907.xml"/><Relationship Id="rId38" Type="http://schemas.openxmlformats.org/officeDocument/2006/relationships/theme" Target="../theme/theme17.xml"/><Relationship Id="rId2" Type="http://schemas.openxmlformats.org/officeDocument/2006/relationships/slideLayout" Target="../slideLayouts/slideLayout876.xml"/><Relationship Id="rId16" Type="http://schemas.openxmlformats.org/officeDocument/2006/relationships/slideLayout" Target="../slideLayouts/slideLayout890.xml"/><Relationship Id="rId20" Type="http://schemas.openxmlformats.org/officeDocument/2006/relationships/slideLayout" Target="../slideLayouts/slideLayout894.xml"/><Relationship Id="rId29" Type="http://schemas.openxmlformats.org/officeDocument/2006/relationships/slideLayout" Target="../slideLayouts/slideLayout903.xml"/><Relationship Id="rId1" Type="http://schemas.openxmlformats.org/officeDocument/2006/relationships/slideLayout" Target="../slideLayouts/slideLayout875.xml"/><Relationship Id="rId6" Type="http://schemas.openxmlformats.org/officeDocument/2006/relationships/slideLayout" Target="../slideLayouts/slideLayout880.xml"/><Relationship Id="rId11" Type="http://schemas.openxmlformats.org/officeDocument/2006/relationships/slideLayout" Target="../slideLayouts/slideLayout885.xml"/><Relationship Id="rId24" Type="http://schemas.openxmlformats.org/officeDocument/2006/relationships/slideLayout" Target="../slideLayouts/slideLayout898.xml"/><Relationship Id="rId32" Type="http://schemas.openxmlformats.org/officeDocument/2006/relationships/slideLayout" Target="../slideLayouts/slideLayout906.xml"/><Relationship Id="rId37" Type="http://schemas.openxmlformats.org/officeDocument/2006/relationships/slideLayout" Target="../slideLayouts/slideLayout911.xml"/><Relationship Id="rId5" Type="http://schemas.openxmlformats.org/officeDocument/2006/relationships/slideLayout" Target="../slideLayouts/slideLayout879.xml"/><Relationship Id="rId15" Type="http://schemas.openxmlformats.org/officeDocument/2006/relationships/slideLayout" Target="../slideLayouts/slideLayout889.xml"/><Relationship Id="rId23" Type="http://schemas.openxmlformats.org/officeDocument/2006/relationships/slideLayout" Target="../slideLayouts/slideLayout897.xml"/><Relationship Id="rId28" Type="http://schemas.openxmlformats.org/officeDocument/2006/relationships/slideLayout" Target="../slideLayouts/slideLayout902.xml"/><Relationship Id="rId36" Type="http://schemas.openxmlformats.org/officeDocument/2006/relationships/slideLayout" Target="../slideLayouts/slideLayout910.xml"/><Relationship Id="rId10" Type="http://schemas.openxmlformats.org/officeDocument/2006/relationships/slideLayout" Target="../slideLayouts/slideLayout884.xml"/><Relationship Id="rId19" Type="http://schemas.openxmlformats.org/officeDocument/2006/relationships/slideLayout" Target="../slideLayouts/slideLayout893.xml"/><Relationship Id="rId31" Type="http://schemas.openxmlformats.org/officeDocument/2006/relationships/slideLayout" Target="../slideLayouts/slideLayout905.xml"/><Relationship Id="rId4" Type="http://schemas.openxmlformats.org/officeDocument/2006/relationships/slideLayout" Target="../slideLayouts/slideLayout878.xml"/><Relationship Id="rId9" Type="http://schemas.openxmlformats.org/officeDocument/2006/relationships/slideLayout" Target="../slideLayouts/slideLayout883.xml"/><Relationship Id="rId14" Type="http://schemas.openxmlformats.org/officeDocument/2006/relationships/slideLayout" Target="../slideLayouts/slideLayout888.xml"/><Relationship Id="rId22" Type="http://schemas.openxmlformats.org/officeDocument/2006/relationships/slideLayout" Target="../slideLayouts/slideLayout896.xml"/><Relationship Id="rId27" Type="http://schemas.openxmlformats.org/officeDocument/2006/relationships/slideLayout" Target="../slideLayouts/slideLayout901.xml"/><Relationship Id="rId30" Type="http://schemas.openxmlformats.org/officeDocument/2006/relationships/slideLayout" Target="../slideLayouts/slideLayout904.xml"/><Relationship Id="rId35" Type="http://schemas.openxmlformats.org/officeDocument/2006/relationships/slideLayout" Target="../slideLayouts/slideLayout909.xml"/><Relationship Id="rId8" Type="http://schemas.openxmlformats.org/officeDocument/2006/relationships/slideLayout" Target="../slideLayouts/slideLayout882.xml"/><Relationship Id="rId3" Type="http://schemas.openxmlformats.org/officeDocument/2006/relationships/slideLayout" Target="../slideLayouts/slideLayout877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9.xml"/><Relationship Id="rId13" Type="http://schemas.openxmlformats.org/officeDocument/2006/relationships/slideLayout" Target="../slideLayouts/slideLayout924.xml"/><Relationship Id="rId18" Type="http://schemas.openxmlformats.org/officeDocument/2006/relationships/slideLayout" Target="../slideLayouts/slideLayout929.xml"/><Relationship Id="rId26" Type="http://schemas.openxmlformats.org/officeDocument/2006/relationships/slideLayout" Target="../slideLayouts/slideLayout937.xml"/><Relationship Id="rId3" Type="http://schemas.openxmlformats.org/officeDocument/2006/relationships/slideLayout" Target="../slideLayouts/slideLayout914.xml"/><Relationship Id="rId21" Type="http://schemas.openxmlformats.org/officeDocument/2006/relationships/slideLayout" Target="../slideLayouts/slideLayout932.xml"/><Relationship Id="rId7" Type="http://schemas.openxmlformats.org/officeDocument/2006/relationships/slideLayout" Target="../slideLayouts/slideLayout918.xml"/><Relationship Id="rId12" Type="http://schemas.openxmlformats.org/officeDocument/2006/relationships/slideLayout" Target="../slideLayouts/slideLayout923.xml"/><Relationship Id="rId17" Type="http://schemas.openxmlformats.org/officeDocument/2006/relationships/slideLayout" Target="../slideLayouts/slideLayout928.xml"/><Relationship Id="rId25" Type="http://schemas.openxmlformats.org/officeDocument/2006/relationships/slideLayout" Target="../slideLayouts/slideLayout936.xml"/><Relationship Id="rId2" Type="http://schemas.openxmlformats.org/officeDocument/2006/relationships/slideLayout" Target="../slideLayouts/slideLayout913.xml"/><Relationship Id="rId16" Type="http://schemas.openxmlformats.org/officeDocument/2006/relationships/slideLayout" Target="../slideLayouts/slideLayout927.xml"/><Relationship Id="rId20" Type="http://schemas.openxmlformats.org/officeDocument/2006/relationships/slideLayout" Target="../slideLayouts/slideLayout931.xml"/><Relationship Id="rId29" Type="http://schemas.openxmlformats.org/officeDocument/2006/relationships/slideLayout" Target="../slideLayouts/slideLayout940.xml"/><Relationship Id="rId1" Type="http://schemas.openxmlformats.org/officeDocument/2006/relationships/slideLayout" Target="../slideLayouts/slideLayout912.xml"/><Relationship Id="rId6" Type="http://schemas.openxmlformats.org/officeDocument/2006/relationships/slideLayout" Target="../slideLayouts/slideLayout917.xml"/><Relationship Id="rId11" Type="http://schemas.openxmlformats.org/officeDocument/2006/relationships/slideLayout" Target="../slideLayouts/slideLayout922.xml"/><Relationship Id="rId24" Type="http://schemas.openxmlformats.org/officeDocument/2006/relationships/slideLayout" Target="../slideLayouts/slideLayout935.xml"/><Relationship Id="rId5" Type="http://schemas.openxmlformats.org/officeDocument/2006/relationships/slideLayout" Target="../slideLayouts/slideLayout916.xml"/><Relationship Id="rId15" Type="http://schemas.openxmlformats.org/officeDocument/2006/relationships/slideLayout" Target="../slideLayouts/slideLayout926.xml"/><Relationship Id="rId23" Type="http://schemas.openxmlformats.org/officeDocument/2006/relationships/slideLayout" Target="../slideLayouts/slideLayout934.xml"/><Relationship Id="rId28" Type="http://schemas.openxmlformats.org/officeDocument/2006/relationships/slideLayout" Target="../slideLayouts/slideLayout939.xml"/><Relationship Id="rId10" Type="http://schemas.openxmlformats.org/officeDocument/2006/relationships/slideLayout" Target="../slideLayouts/slideLayout921.xml"/><Relationship Id="rId19" Type="http://schemas.openxmlformats.org/officeDocument/2006/relationships/slideLayout" Target="../slideLayouts/slideLayout930.xml"/><Relationship Id="rId31" Type="http://schemas.openxmlformats.org/officeDocument/2006/relationships/theme" Target="../theme/theme18.xml"/><Relationship Id="rId4" Type="http://schemas.openxmlformats.org/officeDocument/2006/relationships/slideLayout" Target="../slideLayouts/slideLayout915.xml"/><Relationship Id="rId9" Type="http://schemas.openxmlformats.org/officeDocument/2006/relationships/slideLayout" Target="../slideLayouts/slideLayout920.xml"/><Relationship Id="rId14" Type="http://schemas.openxmlformats.org/officeDocument/2006/relationships/slideLayout" Target="../slideLayouts/slideLayout925.xml"/><Relationship Id="rId22" Type="http://schemas.openxmlformats.org/officeDocument/2006/relationships/slideLayout" Target="../slideLayouts/slideLayout933.xml"/><Relationship Id="rId27" Type="http://schemas.openxmlformats.org/officeDocument/2006/relationships/slideLayout" Target="../slideLayouts/slideLayout938.xml"/><Relationship Id="rId30" Type="http://schemas.openxmlformats.org/officeDocument/2006/relationships/slideLayout" Target="../slideLayouts/slideLayout941.xml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9.xml"/><Relationship Id="rId13" Type="http://schemas.openxmlformats.org/officeDocument/2006/relationships/slideLayout" Target="../slideLayouts/slideLayout954.xml"/><Relationship Id="rId18" Type="http://schemas.openxmlformats.org/officeDocument/2006/relationships/theme" Target="../theme/theme19.xml"/><Relationship Id="rId3" Type="http://schemas.openxmlformats.org/officeDocument/2006/relationships/slideLayout" Target="../slideLayouts/slideLayout944.xml"/><Relationship Id="rId7" Type="http://schemas.openxmlformats.org/officeDocument/2006/relationships/slideLayout" Target="../slideLayouts/slideLayout948.xml"/><Relationship Id="rId12" Type="http://schemas.openxmlformats.org/officeDocument/2006/relationships/slideLayout" Target="../slideLayouts/slideLayout953.xml"/><Relationship Id="rId17" Type="http://schemas.openxmlformats.org/officeDocument/2006/relationships/slideLayout" Target="../slideLayouts/slideLayout958.xml"/><Relationship Id="rId2" Type="http://schemas.openxmlformats.org/officeDocument/2006/relationships/slideLayout" Target="../slideLayouts/slideLayout943.xml"/><Relationship Id="rId16" Type="http://schemas.openxmlformats.org/officeDocument/2006/relationships/slideLayout" Target="../slideLayouts/slideLayout957.xml"/><Relationship Id="rId20" Type="http://schemas.openxmlformats.org/officeDocument/2006/relationships/image" Target="../media/image65.svg"/><Relationship Id="rId1" Type="http://schemas.openxmlformats.org/officeDocument/2006/relationships/slideLayout" Target="../slideLayouts/slideLayout942.xml"/><Relationship Id="rId6" Type="http://schemas.openxmlformats.org/officeDocument/2006/relationships/slideLayout" Target="../slideLayouts/slideLayout947.xml"/><Relationship Id="rId11" Type="http://schemas.openxmlformats.org/officeDocument/2006/relationships/slideLayout" Target="../slideLayouts/slideLayout952.xml"/><Relationship Id="rId5" Type="http://schemas.openxmlformats.org/officeDocument/2006/relationships/slideLayout" Target="../slideLayouts/slideLayout946.xml"/><Relationship Id="rId15" Type="http://schemas.openxmlformats.org/officeDocument/2006/relationships/slideLayout" Target="../slideLayouts/slideLayout956.xml"/><Relationship Id="rId10" Type="http://schemas.openxmlformats.org/officeDocument/2006/relationships/slideLayout" Target="../slideLayouts/slideLayout951.xml"/><Relationship Id="rId19" Type="http://schemas.openxmlformats.org/officeDocument/2006/relationships/image" Target="../media/image64.png"/><Relationship Id="rId4" Type="http://schemas.openxmlformats.org/officeDocument/2006/relationships/slideLayout" Target="../slideLayouts/slideLayout945.xml"/><Relationship Id="rId9" Type="http://schemas.openxmlformats.org/officeDocument/2006/relationships/slideLayout" Target="../slideLayouts/slideLayout950.xml"/><Relationship Id="rId14" Type="http://schemas.openxmlformats.org/officeDocument/2006/relationships/slideLayout" Target="../slideLayouts/slideLayout955.xml"/></Relationships>
</file>

<file path=ppt/slideMasters/_rels/slideMaster2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94.xml"/><Relationship Id="rId21" Type="http://schemas.openxmlformats.org/officeDocument/2006/relationships/slideLayout" Target="../slideLayouts/slideLayout89.xml"/><Relationship Id="rId42" Type="http://schemas.openxmlformats.org/officeDocument/2006/relationships/slideLayout" Target="../slideLayouts/slideLayout110.xml"/><Relationship Id="rId47" Type="http://schemas.openxmlformats.org/officeDocument/2006/relationships/slideLayout" Target="../slideLayouts/slideLayout115.xml"/><Relationship Id="rId63" Type="http://schemas.openxmlformats.org/officeDocument/2006/relationships/slideLayout" Target="../slideLayouts/slideLayout131.xml"/><Relationship Id="rId68" Type="http://schemas.openxmlformats.org/officeDocument/2006/relationships/slideLayout" Target="../slideLayouts/slideLayout136.xml"/><Relationship Id="rId7" Type="http://schemas.openxmlformats.org/officeDocument/2006/relationships/slideLayout" Target="../slideLayouts/slideLayout75.xml"/><Relationship Id="rId2" Type="http://schemas.openxmlformats.org/officeDocument/2006/relationships/slideLayout" Target="../slideLayouts/slideLayout70.xml"/><Relationship Id="rId16" Type="http://schemas.openxmlformats.org/officeDocument/2006/relationships/slideLayout" Target="../slideLayouts/slideLayout84.xml"/><Relationship Id="rId29" Type="http://schemas.openxmlformats.org/officeDocument/2006/relationships/slideLayout" Target="../slideLayouts/slideLayout97.xml"/><Relationship Id="rId11" Type="http://schemas.openxmlformats.org/officeDocument/2006/relationships/slideLayout" Target="../slideLayouts/slideLayout79.xml"/><Relationship Id="rId24" Type="http://schemas.openxmlformats.org/officeDocument/2006/relationships/slideLayout" Target="../slideLayouts/slideLayout92.xml"/><Relationship Id="rId32" Type="http://schemas.openxmlformats.org/officeDocument/2006/relationships/slideLayout" Target="../slideLayouts/slideLayout100.xml"/><Relationship Id="rId37" Type="http://schemas.openxmlformats.org/officeDocument/2006/relationships/slideLayout" Target="../slideLayouts/slideLayout105.xml"/><Relationship Id="rId40" Type="http://schemas.openxmlformats.org/officeDocument/2006/relationships/slideLayout" Target="../slideLayouts/slideLayout108.xml"/><Relationship Id="rId45" Type="http://schemas.openxmlformats.org/officeDocument/2006/relationships/slideLayout" Target="../slideLayouts/slideLayout113.xml"/><Relationship Id="rId53" Type="http://schemas.openxmlformats.org/officeDocument/2006/relationships/slideLayout" Target="../slideLayouts/slideLayout121.xml"/><Relationship Id="rId58" Type="http://schemas.openxmlformats.org/officeDocument/2006/relationships/slideLayout" Target="../slideLayouts/slideLayout126.xml"/><Relationship Id="rId66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73.xml"/><Relationship Id="rId61" Type="http://schemas.openxmlformats.org/officeDocument/2006/relationships/slideLayout" Target="../slideLayouts/slideLayout129.xml"/><Relationship Id="rId1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82.xml"/><Relationship Id="rId22" Type="http://schemas.openxmlformats.org/officeDocument/2006/relationships/slideLayout" Target="../slideLayouts/slideLayout90.xml"/><Relationship Id="rId27" Type="http://schemas.openxmlformats.org/officeDocument/2006/relationships/slideLayout" Target="../slideLayouts/slideLayout95.xml"/><Relationship Id="rId30" Type="http://schemas.openxmlformats.org/officeDocument/2006/relationships/slideLayout" Target="../slideLayouts/slideLayout98.xml"/><Relationship Id="rId35" Type="http://schemas.openxmlformats.org/officeDocument/2006/relationships/slideLayout" Target="../slideLayouts/slideLayout103.xml"/><Relationship Id="rId43" Type="http://schemas.openxmlformats.org/officeDocument/2006/relationships/slideLayout" Target="../slideLayouts/slideLayout111.xml"/><Relationship Id="rId48" Type="http://schemas.openxmlformats.org/officeDocument/2006/relationships/slideLayout" Target="../slideLayouts/slideLayout116.xml"/><Relationship Id="rId56" Type="http://schemas.openxmlformats.org/officeDocument/2006/relationships/slideLayout" Target="../slideLayouts/slideLayout124.xml"/><Relationship Id="rId64" Type="http://schemas.openxmlformats.org/officeDocument/2006/relationships/slideLayout" Target="../slideLayouts/slideLayout132.xml"/><Relationship Id="rId69" Type="http://schemas.openxmlformats.org/officeDocument/2006/relationships/theme" Target="../theme/theme2.xml"/><Relationship Id="rId8" Type="http://schemas.openxmlformats.org/officeDocument/2006/relationships/slideLayout" Target="../slideLayouts/slideLayout76.xml"/><Relationship Id="rId51" Type="http://schemas.openxmlformats.org/officeDocument/2006/relationships/slideLayout" Target="../slideLayouts/slideLayout119.xml"/><Relationship Id="rId3" Type="http://schemas.openxmlformats.org/officeDocument/2006/relationships/slideLayout" Target="../slideLayouts/slideLayout71.xml"/><Relationship Id="rId12" Type="http://schemas.openxmlformats.org/officeDocument/2006/relationships/slideLayout" Target="../slideLayouts/slideLayout80.xml"/><Relationship Id="rId17" Type="http://schemas.openxmlformats.org/officeDocument/2006/relationships/slideLayout" Target="../slideLayouts/slideLayout85.xml"/><Relationship Id="rId25" Type="http://schemas.openxmlformats.org/officeDocument/2006/relationships/slideLayout" Target="../slideLayouts/slideLayout93.xml"/><Relationship Id="rId33" Type="http://schemas.openxmlformats.org/officeDocument/2006/relationships/slideLayout" Target="../slideLayouts/slideLayout101.xml"/><Relationship Id="rId38" Type="http://schemas.openxmlformats.org/officeDocument/2006/relationships/slideLayout" Target="../slideLayouts/slideLayout106.xml"/><Relationship Id="rId46" Type="http://schemas.openxmlformats.org/officeDocument/2006/relationships/slideLayout" Target="../slideLayouts/slideLayout114.xml"/><Relationship Id="rId59" Type="http://schemas.openxmlformats.org/officeDocument/2006/relationships/slideLayout" Target="../slideLayouts/slideLayout127.xml"/><Relationship Id="rId67" Type="http://schemas.openxmlformats.org/officeDocument/2006/relationships/slideLayout" Target="../slideLayouts/slideLayout135.xml"/><Relationship Id="rId20" Type="http://schemas.openxmlformats.org/officeDocument/2006/relationships/slideLayout" Target="../slideLayouts/slideLayout88.xml"/><Relationship Id="rId41" Type="http://schemas.openxmlformats.org/officeDocument/2006/relationships/slideLayout" Target="../slideLayouts/slideLayout109.xml"/><Relationship Id="rId54" Type="http://schemas.openxmlformats.org/officeDocument/2006/relationships/slideLayout" Target="../slideLayouts/slideLayout122.xml"/><Relationship Id="rId62" Type="http://schemas.openxmlformats.org/officeDocument/2006/relationships/slideLayout" Target="../slideLayouts/slideLayout130.xml"/><Relationship Id="rId70" Type="http://schemas.openxmlformats.org/officeDocument/2006/relationships/image" Target="../media/image1.png"/><Relationship Id="rId1" Type="http://schemas.openxmlformats.org/officeDocument/2006/relationships/slideLayout" Target="../slideLayouts/slideLayout69.xml"/><Relationship Id="rId6" Type="http://schemas.openxmlformats.org/officeDocument/2006/relationships/slideLayout" Target="../slideLayouts/slideLayout74.xml"/><Relationship Id="rId15" Type="http://schemas.openxmlformats.org/officeDocument/2006/relationships/slideLayout" Target="../slideLayouts/slideLayout83.xml"/><Relationship Id="rId23" Type="http://schemas.openxmlformats.org/officeDocument/2006/relationships/slideLayout" Target="../slideLayouts/slideLayout91.xml"/><Relationship Id="rId28" Type="http://schemas.openxmlformats.org/officeDocument/2006/relationships/slideLayout" Target="../slideLayouts/slideLayout96.xml"/><Relationship Id="rId36" Type="http://schemas.openxmlformats.org/officeDocument/2006/relationships/slideLayout" Target="../slideLayouts/slideLayout104.xml"/><Relationship Id="rId49" Type="http://schemas.openxmlformats.org/officeDocument/2006/relationships/slideLayout" Target="../slideLayouts/slideLayout117.xml"/><Relationship Id="rId57" Type="http://schemas.openxmlformats.org/officeDocument/2006/relationships/slideLayout" Target="../slideLayouts/slideLayout125.xml"/><Relationship Id="rId10" Type="http://schemas.openxmlformats.org/officeDocument/2006/relationships/slideLayout" Target="../slideLayouts/slideLayout78.xml"/><Relationship Id="rId31" Type="http://schemas.openxmlformats.org/officeDocument/2006/relationships/slideLayout" Target="../slideLayouts/slideLayout99.xml"/><Relationship Id="rId44" Type="http://schemas.openxmlformats.org/officeDocument/2006/relationships/slideLayout" Target="../slideLayouts/slideLayout112.xml"/><Relationship Id="rId52" Type="http://schemas.openxmlformats.org/officeDocument/2006/relationships/slideLayout" Target="../slideLayouts/slideLayout120.xml"/><Relationship Id="rId60" Type="http://schemas.openxmlformats.org/officeDocument/2006/relationships/slideLayout" Target="../slideLayouts/slideLayout128.xml"/><Relationship Id="rId65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72.xml"/><Relationship Id="rId9" Type="http://schemas.openxmlformats.org/officeDocument/2006/relationships/slideLayout" Target="../slideLayouts/slideLayout77.xml"/><Relationship Id="rId13" Type="http://schemas.openxmlformats.org/officeDocument/2006/relationships/slideLayout" Target="../slideLayouts/slideLayout81.xml"/><Relationship Id="rId18" Type="http://schemas.openxmlformats.org/officeDocument/2006/relationships/slideLayout" Target="../slideLayouts/slideLayout86.xml"/><Relationship Id="rId39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02.xml"/><Relationship Id="rId50" Type="http://schemas.openxmlformats.org/officeDocument/2006/relationships/slideLayout" Target="../slideLayouts/slideLayout118.xml"/><Relationship Id="rId55" Type="http://schemas.openxmlformats.org/officeDocument/2006/relationships/slideLayout" Target="../slideLayouts/slideLayout123.xml"/></Relationships>
</file>

<file path=ppt/slideMasters/_rels/slideMaster20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71.xml"/><Relationship Id="rId18" Type="http://schemas.openxmlformats.org/officeDocument/2006/relationships/slideLayout" Target="../slideLayouts/slideLayout976.xml"/><Relationship Id="rId26" Type="http://schemas.openxmlformats.org/officeDocument/2006/relationships/slideLayout" Target="../slideLayouts/slideLayout984.xml"/><Relationship Id="rId39" Type="http://schemas.openxmlformats.org/officeDocument/2006/relationships/slideLayout" Target="../slideLayouts/slideLayout997.xml"/><Relationship Id="rId21" Type="http://schemas.openxmlformats.org/officeDocument/2006/relationships/slideLayout" Target="../slideLayouts/slideLayout979.xml"/><Relationship Id="rId34" Type="http://schemas.openxmlformats.org/officeDocument/2006/relationships/slideLayout" Target="../slideLayouts/slideLayout992.xml"/><Relationship Id="rId42" Type="http://schemas.openxmlformats.org/officeDocument/2006/relationships/image" Target="../media/image169.svg"/><Relationship Id="rId7" Type="http://schemas.openxmlformats.org/officeDocument/2006/relationships/slideLayout" Target="../slideLayouts/slideLayout965.xml"/><Relationship Id="rId2" Type="http://schemas.openxmlformats.org/officeDocument/2006/relationships/slideLayout" Target="../slideLayouts/slideLayout960.xml"/><Relationship Id="rId16" Type="http://schemas.openxmlformats.org/officeDocument/2006/relationships/slideLayout" Target="../slideLayouts/slideLayout974.xml"/><Relationship Id="rId20" Type="http://schemas.openxmlformats.org/officeDocument/2006/relationships/slideLayout" Target="../slideLayouts/slideLayout978.xml"/><Relationship Id="rId29" Type="http://schemas.openxmlformats.org/officeDocument/2006/relationships/slideLayout" Target="../slideLayouts/slideLayout987.xml"/><Relationship Id="rId41" Type="http://schemas.openxmlformats.org/officeDocument/2006/relationships/image" Target="../media/image168.png"/><Relationship Id="rId1" Type="http://schemas.openxmlformats.org/officeDocument/2006/relationships/slideLayout" Target="../slideLayouts/slideLayout959.xml"/><Relationship Id="rId6" Type="http://schemas.openxmlformats.org/officeDocument/2006/relationships/slideLayout" Target="../slideLayouts/slideLayout964.xml"/><Relationship Id="rId11" Type="http://schemas.openxmlformats.org/officeDocument/2006/relationships/slideLayout" Target="../slideLayouts/slideLayout969.xml"/><Relationship Id="rId24" Type="http://schemas.openxmlformats.org/officeDocument/2006/relationships/slideLayout" Target="../slideLayouts/slideLayout982.xml"/><Relationship Id="rId32" Type="http://schemas.openxmlformats.org/officeDocument/2006/relationships/slideLayout" Target="../slideLayouts/slideLayout990.xml"/><Relationship Id="rId37" Type="http://schemas.openxmlformats.org/officeDocument/2006/relationships/slideLayout" Target="../slideLayouts/slideLayout995.xml"/><Relationship Id="rId40" Type="http://schemas.openxmlformats.org/officeDocument/2006/relationships/theme" Target="../theme/theme20.xml"/><Relationship Id="rId5" Type="http://schemas.openxmlformats.org/officeDocument/2006/relationships/slideLayout" Target="../slideLayouts/slideLayout963.xml"/><Relationship Id="rId15" Type="http://schemas.openxmlformats.org/officeDocument/2006/relationships/slideLayout" Target="../slideLayouts/slideLayout973.xml"/><Relationship Id="rId23" Type="http://schemas.openxmlformats.org/officeDocument/2006/relationships/slideLayout" Target="../slideLayouts/slideLayout981.xml"/><Relationship Id="rId28" Type="http://schemas.openxmlformats.org/officeDocument/2006/relationships/slideLayout" Target="../slideLayouts/slideLayout986.xml"/><Relationship Id="rId36" Type="http://schemas.openxmlformats.org/officeDocument/2006/relationships/slideLayout" Target="../slideLayouts/slideLayout994.xml"/><Relationship Id="rId10" Type="http://schemas.openxmlformats.org/officeDocument/2006/relationships/slideLayout" Target="../slideLayouts/slideLayout968.xml"/><Relationship Id="rId19" Type="http://schemas.openxmlformats.org/officeDocument/2006/relationships/slideLayout" Target="../slideLayouts/slideLayout977.xml"/><Relationship Id="rId31" Type="http://schemas.openxmlformats.org/officeDocument/2006/relationships/slideLayout" Target="../slideLayouts/slideLayout989.xml"/><Relationship Id="rId4" Type="http://schemas.openxmlformats.org/officeDocument/2006/relationships/slideLayout" Target="../slideLayouts/slideLayout962.xml"/><Relationship Id="rId9" Type="http://schemas.openxmlformats.org/officeDocument/2006/relationships/slideLayout" Target="../slideLayouts/slideLayout967.xml"/><Relationship Id="rId14" Type="http://schemas.openxmlformats.org/officeDocument/2006/relationships/slideLayout" Target="../slideLayouts/slideLayout972.xml"/><Relationship Id="rId22" Type="http://schemas.openxmlformats.org/officeDocument/2006/relationships/slideLayout" Target="../slideLayouts/slideLayout980.xml"/><Relationship Id="rId27" Type="http://schemas.openxmlformats.org/officeDocument/2006/relationships/slideLayout" Target="../slideLayouts/slideLayout985.xml"/><Relationship Id="rId30" Type="http://schemas.openxmlformats.org/officeDocument/2006/relationships/slideLayout" Target="../slideLayouts/slideLayout988.xml"/><Relationship Id="rId35" Type="http://schemas.openxmlformats.org/officeDocument/2006/relationships/slideLayout" Target="../slideLayouts/slideLayout993.xml"/><Relationship Id="rId8" Type="http://schemas.openxmlformats.org/officeDocument/2006/relationships/slideLayout" Target="../slideLayouts/slideLayout966.xml"/><Relationship Id="rId3" Type="http://schemas.openxmlformats.org/officeDocument/2006/relationships/slideLayout" Target="../slideLayouts/slideLayout961.xml"/><Relationship Id="rId12" Type="http://schemas.openxmlformats.org/officeDocument/2006/relationships/slideLayout" Target="../slideLayouts/slideLayout970.xml"/><Relationship Id="rId17" Type="http://schemas.openxmlformats.org/officeDocument/2006/relationships/slideLayout" Target="../slideLayouts/slideLayout975.xml"/><Relationship Id="rId25" Type="http://schemas.openxmlformats.org/officeDocument/2006/relationships/slideLayout" Target="../slideLayouts/slideLayout983.xml"/><Relationship Id="rId33" Type="http://schemas.openxmlformats.org/officeDocument/2006/relationships/slideLayout" Target="../slideLayouts/slideLayout991.xml"/><Relationship Id="rId38" Type="http://schemas.openxmlformats.org/officeDocument/2006/relationships/slideLayout" Target="../slideLayouts/slideLayout996.xml"/></Relationships>
</file>

<file path=ppt/slideMasters/_rels/slideMaster2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023.xml"/><Relationship Id="rId21" Type="http://schemas.openxmlformats.org/officeDocument/2006/relationships/slideLayout" Target="../slideLayouts/slideLayout1018.xml"/><Relationship Id="rId34" Type="http://schemas.openxmlformats.org/officeDocument/2006/relationships/slideLayout" Target="../slideLayouts/slideLayout1031.xml"/><Relationship Id="rId42" Type="http://schemas.openxmlformats.org/officeDocument/2006/relationships/slideLayout" Target="../slideLayouts/slideLayout1039.xml"/><Relationship Id="rId47" Type="http://schemas.openxmlformats.org/officeDocument/2006/relationships/slideLayout" Target="../slideLayouts/slideLayout1044.xml"/><Relationship Id="rId50" Type="http://schemas.openxmlformats.org/officeDocument/2006/relationships/slideLayout" Target="../slideLayouts/slideLayout1047.xml"/><Relationship Id="rId55" Type="http://schemas.openxmlformats.org/officeDocument/2006/relationships/slideLayout" Target="../slideLayouts/slideLayout1052.xml"/><Relationship Id="rId63" Type="http://schemas.openxmlformats.org/officeDocument/2006/relationships/slideLayout" Target="../slideLayouts/slideLayout1060.xml"/><Relationship Id="rId7" Type="http://schemas.openxmlformats.org/officeDocument/2006/relationships/slideLayout" Target="../slideLayouts/slideLayout1004.xml"/><Relationship Id="rId2" Type="http://schemas.openxmlformats.org/officeDocument/2006/relationships/slideLayout" Target="../slideLayouts/slideLayout999.xml"/><Relationship Id="rId16" Type="http://schemas.openxmlformats.org/officeDocument/2006/relationships/slideLayout" Target="../slideLayouts/slideLayout1013.xml"/><Relationship Id="rId29" Type="http://schemas.openxmlformats.org/officeDocument/2006/relationships/slideLayout" Target="../slideLayouts/slideLayout1026.xml"/><Relationship Id="rId11" Type="http://schemas.openxmlformats.org/officeDocument/2006/relationships/slideLayout" Target="../slideLayouts/slideLayout1008.xml"/><Relationship Id="rId24" Type="http://schemas.openxmlformats.org/officeDocument/2006/relationships/slideLayout" Target="../slideLayouts/slideLayout1021.xml"/><Relationship Id="rId32" Type="http://schemas.openxmlformats.org/officeDocument/2006/relationships/slideLayout" Target="../slideLayouts/slideLayout1029.xml"/><Relationship Id="rId37" Type="http://schemas.openxmlformats.org/officeDocument/2006/relationships/slideLayout" Target="../slideLayouts/slideLayout1034.xml"/><Relationship Id="rId40" Type="http://schemas.openxmlformats.org/officeDocument/2006/relationships/slideLayout" Target="../slideLayouts/slideLayout1037.xml"/><Relationship Id="rId45" Type="http://schemas.openxmlformats.org/officeDocument/2006/relationships/slideLayout" Target="../slideLayouts/slideLayout1042.xml"/><Relationship Id="rId53" Type="http://schemas.openxmlformats.org/officeDocument/2006/relationships/slideLayout" Target="../slideLayouts/slideLayout1050.xml"/><Relationship Id="rId58" Type="http://schemas.openxmlformats.org/officeDocument/2006/relationships/slideLayout" Target="../slideLayouts/slideLayout1055.xml"/><Relationship Id="rId66" Type="http://schemas.openxmlformats.org/officeDocument/2006/relationships/image" Target="../media/image65.svg"/><Relationship Id="rId5" Type="http://schemas.openxmlformats.org/officeDocument/2006/relationships/slideLayout" Target="../slideLayouts/slideLayout1002.xml"/><Relationship Id="rId61" Type="http://schemas.openxmlformats.org/officeDocument/2006/relationships/slideLayout" Target="../slideLayouts/slideLayout1058.xml"/><Relationship Id="rId19" Type="http://schemas.openxmlformats.org/officeDocument/2006/relationships/slideLayout" Target="../slideLayouts/slideLayout1016.xml"/><Relationship Id="rId14" Type="http://schemas.openxmlformats.org/officeDocument/2006/relationships/slideLayout" Target="../slideLayouts/slideLayout1011.xml"/><Relationship Id="rId22" Type="http://schemas.openxmlformats.org/officeDocument/2006/relationships/slideLayout" Target="../slideLayouts/slideLayout1019.xml"/><Relationship Id="rId27" Type="http://schemas.openxmlformats.org/officeDocument/2006/relationships/slideLayout" Target="../slideLayouts/slideLayout1024.xml"/><Relationship Id="rId30" Type="http://schemas.openxmlformats.org/officeDocument/2006/relationships/slideLayout" Target="../slideLayouts/slideLayout1027.xml"/><Relationship Id="rId35" Type="http://schemas.openxmlformats.org/officeDocument/2006/relationships/slideLayout" Target="../slideLayouts/slideLayout1032.xml"/><Relationship Id="rId43" Type="http://schemas.openxmlformats.org/officeDocument/2006/relationships/slideLayout" Target="../slideLayouts/slideLayout1040.xml"/><Relationship Id="rId48" Type="http://schemas.openxmlformats.org/officeDocument/2006/relationships/slideLayout" Target="../slideLayouts/slideLayout1045.xml"/><Relationship Id="rId56" Type="http://schemas.openxmlformats.org/officeDocument/2006/relationships/slideLayout" Target="../slideLayouts/slideLayout1053.xml"/><Relationship Id="rId64" Type="http://schemas.openxmlformats.org/officeDocument/2006/relationships/theme" Target="../theme/theme21.xml"/><Relationship Id="rId8" Type="http://schemas.openxmlformats.org/officeDocument/2006/relationships/slideLayout" Target="../slideLayouts/slideLayout1005.xml"/><Relationship Id="rId51" Type="http://schemas.openxmlformats.org/officeDocument/2006/relationships/slideLayout" Target="../slideLayouts/slideLayout1048.xml"/><Relationship Id="rId3" Type="http://schemas.openxmlformats.org/officeDocument/2006/relationships/slideLayout" Target="../slideLayouts/slideLayout1000.xml"/><Relationship Id="rId12" Type="http://schemas.openxmlformats.org/officeDocument/2006/relationships/slideLayout" Target="../slideLayouts/slideLayout1009.xml"/><Relationship Id="rId17" Type="http://schemas.openxmlformats.org/officeDocument/2006/relationships/slideLayout" Target="../slideLayouts/slideLayout1014.xml"/><Relationship Id="rId25" Type="http://schemas.openxmlformats.org/officeDocument/2006/relationships/slideLayout" Target="../slideLayouts/slideLayout1022.xml"/><Relationship Id="rId33" Type="http://schemas.openxmlformats.org/officeDocument/2006/relationships/slideLayout" Target="../slideLayouts/slideLayout1030.xml"/><Relationship Id="rId38" Type="http://schemas.openxmlformats.org/officeDocument/2006/relationships/slideLayout" Target="../slideLayouts/slideLayout1035.xml"/><Relationship Id="rId46" Type="http://schemas.openxmlformats.org/officeDocument/2006/relationships/slideLayout" Target="../slideLayouts/slideLayout1043.xml"/><Relationship Id="rId59" Type="http://schemas.openxmlformats.org/officeDocument/2006/relationships/slideLayout" Target="../slideLayouts/slideLayout1056.xml"/><Relationship Id="rId20" Type="http://schemas.openxmlformats.org/officeDocument/2006/relationships/slideLayout" Target="../slideLayouts/slideLayout1017.xml"/><Relationship Id="rId41" Type="http://schemas.openxmlformats.org/officeDocument/2006/relationships/slideLayout" Target="../slideLayouts/slideLayout1038.xml"/><Relationship Id="rId54" Type="http://schemas.openxmlformats.org/officeDocument/2006/relationships/slideLayout" Target="../slideLayouts/slideLayout1051.xml"/><Relationship Id="rId62" Type="http://schemas.openxmlformats.org/officeDocument/2006/relationships/slideLayout" Target="../slideLayouts/slideLayout1059.xml"/><Relationship Id="rId1" Type="http://schemas.openxmlformats.org/officeDocument/2006/relationships/slideLayout" Target="../slideLayouts/slideLayout998.xml"/><Relationship Id="rId6" Type="http://schemas.openxmlformats.org/officeDocument/2006/relationships/slideLayout" Target="../slideLayouts/slideLayout1003.xml"/><Relationship Id="rId15" Type="http://schemas.openxmlformats.org/officeDocument/2006/relationships/slideLayout" Target="../slideLayouts/slideLayout1012.xml"/><Relationship Id="rId23" Type="http://schemas.openxmlformats.org/officeDocument/2006/relationships/slideLayout" Target="../slideLayouts/slideLayout1020.xml"/><Relationship Id="rId28" Type="http://schemas.openxmlformats.org/officeDocument/2006/relationships/slideLayout" Target="../slideLayouts/slideLayout1025.xml"/><Relationship Id="rId36" Type="http://schemas.openxmlformats.org/officeDocument/2006/relationships/slideLayout" Target="../slideLayouts/slideLayout1033.xml"/><Relationship Id="rId49" Type="http://schemas.openxmlformats.org/officeDocument/2006/relationships/slideLayout" Target="../slideLayouts/slideLayout1046.xml"/><Relationship Id="rId57" Type="http://schemas.openxmlformats.org/officeDocument/2006/relationships/slideLayout" Target="../slideLayouts/slideLayout1054.xml"/><Relationship Id="rId10" Type="http://schemas.openxmlformats.org/officeDocument/2006/relationships/slideLayout" Target="../slideLayouts/slideLayout1007.xml"/><Relationship Id="rId31" Type="http://schemas.openxmlformats.org/officeDocument/2006/relationships/slideLayout" Target="../slideLayouts/slideLayout1028.xml"/><Relationship Id="rId44" Type="http://schemas.openxmlformats.org/officeDocument/2006/relationships/slideLayout" Target="../slideLayouts/slideLayout1041.xml"/><Relationship Id="rId52" Type="http://schemas.openxmlformats.org/officeDocument/2006/relationships/slideLayout" Target="../slideLayouts/slideLayout1049.xml"/><Relationship Id="rId60" Type="http://schemas.openxmlformats.org/officeDocument/2006/relationships/slideLayout" Target="../slideLayouts/slideLayout1057.xml"/><Relationship Id="rId65" Type="http://schemas.openxmlformats.org/officeDocument/2006/relationships/image" Target="../media/image64.png"/><Relationship Id="rId4" Type="http://schemas.openxmlformats.org/officeDocument/2006/relationships/slideLayout" Target="../slideLayouts/slideLayout1001.xml"/><Relationship Id="rId9" Type="http://schemas.openxmlformats.org/officeDocument/2006/relationships/slideLayout" Target="../slideLayouts/slideLayout1006.xml"/><Relationship Id="rId13" Type="http://schemas.openxmlformats.org/officeDocument/2006/relationships/slideLayout" Target="../slideLayouts/slideLayout1010.xml"/><Relationship Id="rId18" Type="http://schemas.openxmlformats.org/officeDocument/2006/relationships/slideLayout" Target="../slideLayouts/slideLayout1015.xml"/><Relationship Id="rId39" Type="http://schemas.openxmlformats.org/officeDocument/2006/relationships/slideLayout" Target="../slideLayouts/slideLayout1036.xml"/></Relationships>
</file>

<file path=ppt/slideMasters/_rels/slideMaster2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073.xml"/><Relationship Id="rId18" Type="http://schemas.openxmlformats.org/officeDocument/2006/relationships/slideLayout" Target="../slideLayouts/slideLayout1078.xml"/><Relationship Id="rId26" Type="http://schemas.openxmlformats.org/officeDocument/2006/relationships/slideLayout" Target="../slideLayouts/slideLayout1086.xml"/><Relationship Id="rId39" Type="http://schemas.openxmlformats.org/officeDocument/2006/relationships/slideLayout" Target="../slideLayouts/slideLayout1099.xml"/><Relationship Id="rId21" Type="http://schemas.openxmlformats.org/officeDocument/2006/relationships/slideLayout" Target="../slideLayouts/slideLayout1081.xml"/><Relationship Id="rId34" Type="http://schemas.openxmlformats.org/officeDocument/2006/relationships/slideLayout" Target="../slideLayouts/slideLayout1094.xml"/><Relationship Id="rId42" Type="http://schemas.openxmlformats.org/officeDocument/2006/relationships/slideLayout" Target="../slideLayouts/slideLayout1102.xml"/><Relationship Id="rId47" Type="http://schemas.openxmlformats.org/officeDocument/2006/relationships/slideLayout" Target="../slideLayouts/slideLayout1107.xml"/><Relationship Id="rId50" Type="http://schemas.openxmlformats.org/officeDocument/2006/relationships/slideLayout" Target="../slideLayouts/slideLayout1110.xml"/><Relationship Id="rId55" Type="http://schemas.openxmlformats.org/officeDocument/2006/relationships/slideLayout" Target="../slideLayouts/slideLayout1115.xml"/><Relationship Id="rId7" Type="http://schemas.openxmlformats.org/officeDocument/2006/relationships/slideLayout" Target="../slideLayouts/slideLayout1067.xml"/><Relationship Id="rId2" Type="http://schemas.openxmlformats.org/officeDocument/2006/relationships/slideLayout" Target="../slideLayouts/slideLayout1062.xml"/><Relationship Id="rId16" Type="http://schemas.openxmlformats.org/officeDocument/2006/relationships/slideLayout" Target="../slideLayouts/slideLayout1076.xml"/><Relationship Id="rId29" Type="http://schemas.openxmlformats.org/officeDocument/2006/relationships/slideLayout" Target="../slideLayouts/slideLayout1089.xml"/><Relationship Id="rId11" Type="http://schemas.openxmlformats.org/officeDocument/2006/relationships/slideLayout" Target="../slideLayouts/slideLayout1071.xml"/><Relationship Id="rId24" Type="http://schemas.openxmlformats.org/officeDocument/2006/relationships/slideLayout" Target="../slideLayouts/slideLayout1084.xml"/><Relationship Id="rId32" Type="http://schemas.openxmlformats.org/officeDocument/2006/relationships/slideLayout" Target="../slideLayouts/slideLayout1092.xml"/><Relationship Id="rId37" Type="http://schemas.openxmlformats.org/officeDocument/2006/relationships/slideLayout" Target="../slideLayouts/slideLayout1097.xml"/><Relationship Id="rId40" Type="http://schemas.openxmlformats.org/officeDocument/2006/relationships/slideLayout" Target="../slideLayouts/slideLayout1100.xml"/><Relationship Id="rId45" Type="http://schemas.openxmlformats.org/officeDocument/2006/relationships/slideLayout" Target="../slideLayouts/slideLayout1105.xml"/><Relationship Id="rId53" Type="http://schemas.openxmlformats.org/officeDocument/2006/relationships/slideLayout" Target="../slideLayouts/slideLayout1113.xml"/><Relationship Id="rId58" Type="http://schemas.openxmlformats.org/officeDocument/2006/relationships/image" Target="../media/image64.png"/><Relationship Id="rId5" Type="http://schemas.openxmlformats.org/officeDocument/2006/relationships/slideLayout" Target="../slideLayouts/slideLayout1065.xml"/><Relationship Id="rId19" Type="http://schemas.openxmlformats.org/officeDocument/2006/relationships/slideLayout" Target="../slideLayouts/slideLayout1079.xml"/><Relationship Id="rId4" Type="http://schemas.openxmlformats.org/officeDocument/2006/relationships/slideLayout" Target="../slideLayouts/slideLayout1064.xml"/><Relationship Id="rId9" Type="http://schemas.openxmlformats.org/officeDocument/2006/relationships/slideLayout" Target="../slideLayouts/slideLayout1069.xml"/><Relationship Id="rId14" Type="http://schemas.openxmlformats.org/officeDocument/2006/relationships/slideLayout" Target="../slideLayouts/slideLayout1074.xml"/><Relationship Id="rId22" Type="http://schemas.openxmlformats.org/officeDocument/2006/relationships/slideLayout" Target="../slideLayouts/slideLayout1082.xml"/><Relationship Id="rId27" Type="http://schemas.openxmlformats.org/officeDocument/2006/relationships/slideLayout" Target="../slideLayouts/slideLayout1087.xml"/><Relationship Id="rId30" Type="http://schemas.openxmlformats.org/officeDocument/2006/relationships/slideLayout" Target="../slideLayouts/slideLayout1090.xml"/><Relationship Id="rId35" Type="http://schemas.openxmlformats.org/officeDocument/2006/relationships/slideLayout" Target="../slideLayouts/slideLayout1095.xml"/><Relationship Id="rId43" Type="http://schemas.openxmlformats.org/officeDocument/2006/relationships/slideLayout" Target="../slideLayouts/slideLayout1103.xml"/><Relationship Id="rId48" Type="http://schemas.openxmlformats.org/officeDocument/2006/relationships/slideLayout" Target="../slideLayouts/slideLayout1108.xml"/><Relationship Id="rId56" Type="http://schemas.openxmlformats.org/officeDocument/2006/relationships/slideLayout" Target="../slideLayouts/slideLayout1116.xml"/><Relationship Id="rId8" Type="http://schemas.openxmlformats.org/officeDocument/2006/relationships/slideLayout" Target="../slideLayouts/slideLayout1068.xml"/><Relationship Id="rId51" Type="http://schemas.openxmlformats.org/officeDocument/2006/relationships/slideLayout" Target="../slideLayouts/slideLayout1111.xml"/><Relationship Id="rId3" Type="http://schemas.openxmlformats.org/officeDocument/2006/relationships/slideLayout" Target="../slideLayouts/slideLayout1063.xml"/><Relationship Id="rId12" Type="http://schemas.openxmlformats.org/officeDocument/2006/relationships/slideLayout" Target="../slideLayouts/slideLayout1072.xml"/><Relationship Id="rId17" Type="http://schemas.openxmlformats.org/officeDocument/2006/relationships/slideLayout" Target="../slideLayouts/slideLayout1077.xml"/><Relationship Id="rId25" Type="http://schemas.openxmlformats.org/officeDocument/2006/relationships/slideLayout" Target="../slideLayouts/slideLayout1085.xml"/><Relationship Id="rId33" Type="http://schemas.openxmlformats.org/officeDocument/2006/relationships/slideLayout" Target="../slideLayouts/slideLayout1093.xml"/><Relationship Id="rId38" Type="http://schemas.openxmlformats.org/officeDocument/2006/relationships/slideLayout" Target="../slideLayouts/slideLayout1098.xml"/><Relationship Id="rId46" Type="http://schemas.openxmlformats.org/officeDocument/2006/relationships/slideLayout" Target="../slideLayouts/slideLayout1106.xml"/><Relationship Id="rId59" Type="http://schemas.openxmlformats.org/officeDocument/2006/relationships/image" Target="../media/image65.svg"/><Relationship Id="rId20" Type="http://schemas.openxmlformats.org/officeDocument/2006/relationships/slideLayout" Target="../slideLayouts/slideLayout1080.xml"/><Relationship Id="rId41" Type="http://schemas.openxmlformats.org/officeDocument/2006/relationships/slideLayout" Target="../slideLayouts/slideLayout1101.xml"/><Relationship Id="rId54" Type="http://schemas.openxmlformats.org/officeDocument/2006/relationships/slideLayout" Target="../slideLayouts/slideLayout1114.xml"/><Relationship Id="rId1" Type="http://schemas.openxmlformats.org/officeDocument/2006/relationships/slideLayout" Target="../slideLayouts/slideLayout1061.xml"/><Relationship Id="rId6" Type="http://schemas.openxmlformats.org/officeDocument/2006/relationships/slideLayout" Target="../slideLayouts/slideLayout1066.xml"/><Relationship Id="rId15" Type="http://schemas.openxmlformats.org/officeDocument/2006/relationships/slideLayout" Target="../slideLayouts/slideLayout1075.xml"/><Relationship Id="rId23" Type="http://schemas.openxmlformats.org/officeDocument/2006/relationships/slideLayout" Target="../slideLayouts/slideLayout1083.xml"/><Relationship Id="rId28" Type="http://schemas.openxmlformats.org/officeDocument/2006/relationships/slideLayout" Target="../slideLayouts/slideLayout1088.xml"/><Relationship Id="rId36" Type="http://schemas.openxmlformats.org/officeDocument/2006/relationships/slideLayout" Target="../slideLayouts/slideLayout1096.xml"/><Relationship Id="rId49" Type="http://schemas.openxmlformats.org/officeDocument/2006/relationships/slideLayout" Target="../slideLayouts/slideLayout1109.xml"/><Relationship Id="rId57" Type="http://schemas.openxmlformats.org/officeDocument/2006/relationships/theme" Target="../theme/theme22.xml"/><Relationship Id="rId10" Type="http://schemas.openxmlformats.org/officeDocument/2006/relationships/slideLayout" Target="../slideLayouts/slideLayout1070.xml"/><Relationship Id="rId31" Type="http://schemas.openxmlformats.org/officeDocument/2006/relationships/slideLayout" Target="../slideLayouts/slideLayout1091.xml"/><Relationship Id="rId44" Type="http://schemas.openxmlformats.org/officeDocument/2006/relationships/slideLayout" Target="../slideLayouts/slideLayout1104.xml"/><Relationship Id="rId52" Type="http://schemas.openxmlformats.org/officeDocument/2006/relationships/slideLayout" Target="../slideLayouts/slideLayout1112.xml"/></Relationships>
</file>

<file path=ppt/slideMasters/_rels/slideMaster23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142.xml"/><Relationship Id="rId21" Type="http://schemas.openxmlformats.org/officeDocument/2006/relationships/slideLayout" Target="../slideLayouts/slideLayout1137.xml"/><Relationship Id="rId34" Type="http://schemas.openxmlformats.org/officeDocument/2006/relationships/slideLayout" Target="../slideLayouts/slideLayout1150.xml"/><Relationship Id="rId42" Type="http://schemas.openxmlformats.org/officeDocument/2006/relationships/slideLayout" Target="../slideLayouts/slideLayout1158.xml"/><Relationship Id="rId47" Type="http://schemas.openxmlformats.org/officeDocument/2006/relationships/slideLayout" Target="../slideLayouts/slideLayout1163.xml"/><Relationship Id="rId50" Type="http://schemas.openxmlformats.org/officeDocument/2006/relationships/slideLayout" Target="../slideLayouts/slideLayout1166.xml"/><Relationship Id="rId55" Type="http://schemas.openxmlformats.org/officeDocument/2006/relationships/slideLayout" Target="../slideLayouts/slideLayout1171.xml"/><Relationship Id="rId63" Type="http://schemas.openxmlformats.org/officeDocument/2006/relationships/oleObject" Target="../embeddings/oleObject3.bin"/><Relationship Id="rId7" Type="http://schemas.openxmlformats.org/officeDocument/2006/relationships/slideLayout" Target="../slideLayouts/slideLayout1123.xml"/><Relationship Id="rId2" Type="http://schemas.openxmlformats.org/officeDocument/2006/relationships/slideLayout" Target="../slideLayouts/slideLayout1118.xml"/><Relationship Id="rId16" Type="http://schemas.openxmlformats.org/officeDocument/2006/relationships/slideLayout" Target="../slideLayouts/slideLayout1132.xml"/><Relationship Id="rId29" Type="http://schemas.openxmlformats.org/officeDocument/2006/relationships/slideLayout" Target="../slideLayouts/slideLayout1145.xml"/><Relationship Id="rId11" Type="http://schemas.openxmlformats.org/officeDocument/2006/relationships/slideLayout" Target="../slideLayouts/slideLayout1127.xml"/><Relationship Id="rId24" Type="http://schemas.openxmlformats.org/officeDocument/2006/relationships/slideLayout" Target="../slideLayouts/slideLayout1140.xml"/><Relationship Id="rId32" Type="http://schemas.openxmlformats.org/officeDocument/2006/relationships/slideLayout" Target="../slideLayouts/slideLayout1148.xml"/><Relationship Id="rId37" Type="http://schemas.openxmlformats.org/officeDocument/2006/relationships/slideLayout" Target="../slideLayouts/slideLayout1153.xml"/><Relationship Id="rId40" Type="http://schemas.openxmlformats.org/officeDocument/2006/relationships/slideLayout" Target="../slideLayouts/slideLayout1156.xml"/><Relationship Id="rId45" Type="http://schemas.openxmlformats.org/officeDocument/2006/relationships/slideLayout" Target="../slideLayouts/slideLayout1161.xml"/><Relationship Id="rId53" Type="http://schemas.openxmlformats.org/officeDocument/2006/relationships/slideLayout" Target="../slideLayouts/slideLayout1169.xml"/><Relationship Id="rId58" Type="http://schemas.openxmlformats.org/officeDocument/2006/relationships/slideLayout" Target="../slideLayouts/slideLayout1174.xml"/><Relationship Id="rId66" Type="http://schemas.openxmlformats.org/officeDocument/2006/relationships/image" Target="../media/image65.svg"/><Relationship Id="rId5" Type="http://schemas.openxmlformats.org/officeDocument/2006/relationships/slideLayout" Target="../slideLayouts/slideLayout1121.xml"/><Relationship Id="rId61" Type="http://schemas.openxmlformats.org/officeDocument/2006/relationships/theme" Target="../theme/theme23.xml"/><Relationship Id="rId19" Type="http://schemas.openxmlformats.org/officeDocument/2006/relationships/slideLayout" Target="../slideLayouts/slideLayout1135.xml"/><Relationship Id="rId14" Type="http://schemas.openxmlformats.org/officeDocument/2006/relationships/slideLayout" Target="../slideLayouts/slideLayout1130.xml"/><Relationship Id="rId22" Type="http://schemas.openxmlformats.org/officeDocument/2006/relationships/slideLayout" Target="../slideLayouts/slideLayout1138.xml"/><Relationship Id="rId27" Type="http://schemas.openxmlformats.org/officeDocument/2006/relationships/slideLayout" Target="../slideLayouts/slideLayout1143.xml"/><Relationship Id="rId30" Type="http://schemas.openxmlformats.org/officeDocument/2006/relationships/slideLayout" Target="../slideLayouts/slideLayout1146.xml"/><Relationship Id="rId35" Type="http://schemas.openxmlformats.org/officeDocument/2006/relationships/slideLayout" Target="../slideLayouts/slideLayout1151.xml"/><Relationship Id="rId43" Type="http://schemas.openxmlformats.org/officeDocument/2006/relationships/slideLayout" Target="../slideLayouts/slideLayout1159.xml"/><Relationship Id="rId48" Type="http://schemas.openxmlformats.org/officeDocument/2006/relationships/slideLayout" Target="../slideLayouts/slideLayout1164.xml"/><Relationship Id="rId56" Type="http://schemas.openxmlformats.org/officeDocument/2006/relationships/slideLayout" Target="../slideLayouts/slideLayout1172.xml"/><Relationship Id="rId64" Type="http://schemas.openxmlformats.org/officeDocument/2006/relationships/image" Target="../media/image199.emf"/><Relationship Id="rId8" Type="http://schemas.openxmlformats.org/officeDocument/2006/relationships/slideLayout" Target="../slideLayouts/slideLayout1124.xml"/><Relationship Id="rId51" Type="http://schemas.openxmlformats.org/officeDocument/2006/relationships/slideLayout" Target="../slideLayouts/slideLayout1167.xml"/><Relationship Id="rId3" Type="http://schemas.openxmlformats.org/officeDocument/2006/relationships/slideLayout" Target="../slideLayouts/slideLayout1119.xml"/><Relationship Id="rId12" Type="http://schemas.openxmlformats.org/officeDocument/2006/relationships/slideLayout" Target="../slideLayouts/slideLayout1128.xml"/><Relationship Id="rId17" Type="http://schemas.openxmlformats.org/officeDocument/2006/relationships/slideLayout" Target="../slideLayouts/slideLayout1133.xml"/><Relationship Id="rId25" Type="http://schemas.openxmlformats.org/officeDocument/2006/relationships/slideLayout" Target="../slideLayouts/slideLayout1141.xml"/><Relationship Id="rId33" Type="http://schemas.openxmlformats.org/officeDocument/2006/relationships/slideLayout" Target="../slideLayouts/slideLayout1149.xml"/><Relationship Id="rId38" Type="http://schemas.openxmlformats.org/officeDocument/2006/relationships/slideLayout" Target="../slideLayouts/slideLayout1154.xml"/><Relationship Id="rId46" Type="http://schemas.openxmlformats.org/officeDocument/2006/relationships/slideLayout" Target="../slideLayouts/slideLayout1162.xml"/><Relationship Id="rId59" Type="http://schemas.openxmlformats.org/officeDocument/2006/relationships/slideLayout" Target="../slideLayouts/slideLayout1175.xml"/><Relationship Id="rId20" Type="http://schemas.openxmlformats.org/officeDocument/2006/relationships/slideLayout" Target="../slideLayouts/slideLayout1136.xml"/><Relationship Id="rId41" Type="http://schemas.openxmlformats.org/officeDocument/2006/relationships/slideLayout" Target="../slideLayouts/slideLayout1157.xml"/><Relationship Id="rId54" Type="http://schemas.openxmlformats.org/officeDocument/2006/relationships/slideLayout" Target="../slideLayouts/slideLayout1170.xml"/><Relationship Id="rId62" Type="http://schemas.openxmlformats.org/officeDocument/2006/relationships/tags" Target="../tags/tag3.xml"/><Relationship Id="rId1" Type="http://schemas.openxmlformats.org/officeDocument/2006/relationships/slideLayout" Target="../slideLayouts/slideLayout1117.xml"/><Relationship Id="rId6" Type="http://schemas.openxmlformats.org/officeDocument/2006/relationships/slideLayout" Target="../slideLayouts/slideLayout1122.xml"/><Relationship Id="rId15" Type="http://schemas.openxmlformats.org/officeDocument/2006/relationships/slideLayout" Target="../slideLayouts/slideLayout1131.xml"/><Relationship Id="rId23" Type="http://schemas.openxmlformats.org/officeDocument/2006/relationships/slideLayout" Target="../slideLayouts/slideLayout1139.xml"/><Relationship Id="rId28" Type="http://schemas.openxmlformats.org/officeDocument/2006/relationships/slideLayout" Target="../slideLayouts/slideLayout1144.xml"/><Relationship Id="rId36" Type="http://schemas.openxmlformats.org/officeDocument/2006/relationships/slideLayout" Target="../slideLayouts/slideLayout1152.xml"/><Relationship Id="rId49" Type="http://schemas.openxmlformats.org/officeDocument/2006/relationships/slideLayout" Target="../slideLayouts/slideLayout1165.xml"/><Relationship Id="rId57" Type="http://schemas.openxmlformats.org/officeDocument/2006/relationships/slideLayout" Target="../slideLayouts/slideLayout1173.xml"/><Relationship Id="rId10" Type="http://schemas.openxmlformats.org/officeDocument/2006/relationships/slideLayout" Target="../slideLayouts/slideLayout1126.xml"/><Relationship Id="rId31" Type="http://schemas.openxmlformats.org/officeDocument/2006/relationships/slideLayout" Target="../slideLayouts/slideLayout1147.xml"/><Relationship Id="rId44" Type="http://schemas.openxmlformats.org/officeDocument/2006/relationships/slideLayout" Target="../slideLayouts/slideLayout1160.xml"/><Relationship Id="rId52" Type="http://schemas.openxmlformats.org/officeDocument/2006/relationships/slideLayout" Target="../slideLayouts/slideLayout1168.xml"/><Relationship Id="rId60" Type="http://schemas.openxmlformats.org/officeDocument/2006/relationships/slideLayout" Target="../slideLayouts/slideLayout1176.xml"/><Relationship Id="rId65" Type="http://schemas.openxmlformats.org/officeDocument/2006/relationships/image" Target="../media/image64.png"/><Relationship Id="rId4" Type="http://schemas.openxmlformats.org/officeDocument/2006/relationships/slideLayout" Target="../slideLayouts/slideLayout1120.xml"/><Relationship Id="rId9" Type="http://schemas.openxmlformats.org/officeDocument/2006/relationships/slideLayout" Target="../slideLayouts/slideLayout1125.xml"/><Relationship Id="rId13" Type="http://schemas.openxmlformats.org/officeDocument/2006/relationships/slideLayout" Target="../slideLayouts/slideLayout1129.xml"/><Relationship Id="rId18" Type="http://schemas.openxmlformats.org/officeDocument/2006/relationships/slideLayout" Target="../slideLayouts/slideLayout1134.xml"/><Relationship Id="rId39" Type="http://schemas.openxmlformats.org/officeDocument/2006/relationships/slideLayout" Target="../slideLayouts/slideLayout1155.x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4.xml"/><Relationship Id="rId13" Type="http://schemas.openxmlformats.org/officeDocument/2006/relationships/slideLayout" Target="../slideLayouts/slideLayout1189.xml"/><Relationship Id="rId18" Type="http://schemas.openxmlformats.org/officeDocument/2006/relationships/slideLayout" Target="../slideLayouts/slideLayout1194.xml"/><Relationship Id="rId26" Type="http://schemas.openxmlformats.org/officeDocument/2006/relationships/slideLayout" Target="../slideLayouts/slideLayout1202.xml"/><Relationship Id="rId3" Type="http://schemas.openxmlformats.org/officeDocument/2006/relationships/slideLayout" Target="../slideLayouts/slideLayout1179.xml"/><Relationship Id="rId21" Type="http://schemas.openxmlformats.org/officeDocument/2006/relationships/slideLayout" Target="../slideLayouts/slideLayout1197.xml"/><Relationship Id="rId7" Type="http://schemas.openxmlformats.org/officeDocument/2006/relationships/slideLayout" Target="../slideLayouts/slideLayout1183.xml"/><Relationship Id="rId12" Type="http://schemas.openxmlformats.org/officeDocument/2006/relationships/slideLayout" Target="../slideLayouts/slideLayout1188.xml"/><Relationship Id="rId17" Type="http://schemas.openxmlformats.org/officeDocument/2006/relationships/slideLayout" Target="../slideLayouts/slideLayout1193.xml"/><Relationship Id="rId25" Type="http://schemas.openxmlformats.org/officeDocument/2006/relationships/slideLayout" Target="../slideLayouts/slideLayout1201.xml"/><Relationship Id="rId2" Type="http://schemas.openxmlformats.org/officeDocument/2006/relationships/slideLayout" Target="../slideLayouts/slideLayout1178.xml"/><Relationship Id="rId16" Type="http://schemas.openxmlformats.org/officeDocument/2006/relationships/slideLayout" Target="../slideLayouts/slideLayout1192.xml"/><Relationship Id="rId20" Type="http://schemas.openxmlformats.org/officeDocument/2006/relationships/slideLayout" Target="../slideLayouts/slideLayout1196.xml"/><Relationship Id="rId1" Type="http://schemas.openxmlformats.org/officeDocument/2006/relationships/slideLayout" Target="../slideLayouts/slideLayout1177.xml"/><Relationship Id="rId6" Type="http://schemas.openxmlformats.org/officeDocument/2006/relationships/slideLayout" Target="../slideLayouts/slideLayout1182.xml"/><Relationship Id="rId11" Type="http://schemas.openxmlformats.org/officeDocument/2006/relationships/slideLayout" Target="../slideLayouts/slideLayout1187.xml"/><Relationship Id="rId24" Type="http://schemas.openxmlformats.org/officeDocument/2006/relationships/slideLayout" Target="../slideLayouts/slideLayout1200.xml"/><Relationship Id="rId5" Type="http://schemas.openxmlformats.org/officeDocument/2006/relationships/slideLayout" Target="../slideLayouts/slideLayout1181.xml"/><Relationship Id="rId15" Type="http://schemas.openxmlformats.org/officeDocument/2006/relationships/slideLayout" Target="../slideLayouts/slideLayout1191.xml"/><Relationship Id="rId23" Type="http://schemas.openxmlformats.org/officeDocument/2006/relationships/slideLayout" Target="../slideLayouts/slideLayout1199.xml"/><Relationship Id="rId28" Type="http://schemas.openxmlformats.org/officeDocument/2006/relationships/theme" Target="../theme/theme24.xml"/><Relationship Id="rId10" Type="http://schemas.openxmlformats.org/officeDocument/2006/relationships/slideLayout" Target="../slideLayouts/slideLayout1186.xml"/><Relationship Id="rId19" Type="http://schemas.openxmlformats.org/officeDocument/2006/relationships/slideLayout" Target="../slideLayouts/slideLayout1195.xml"/><Relationship Id="rId4" Type="http://schemas.openxmlformats.org/officeDocument/2006/relationships/slideLayout" Target="../slideLayouts/slideLayout1180.xml"/><Relationship Id="rId9" Type="http://schemas.openxmlformats.org/officeDocument/2006/relationships/slideLayout" Target="../slideLayouts/slideLayout1185.xml"/><Relationship Id="rId14" Type="http://schemas.openxmlformats.org/officeDocument/2006/relationships/slideLayout" Target="../slideLayouts/slideLayout1190.xml"/><Relationship Id="rId22" Type="http://schemas.openxmlformats.org/officeDocument/2006/relationships/slideLayout" Target="../slideLayouts/slideLayout1198.xml"/><Relationship Id="rId27" Type="http://schemas.openxmlformats.org/officeDocument/2006/relationships/slideLayout" Target="../slideLayouts/slideLayout1203.xml"/></Relationships>
</file>

<file path=ppt/slideMasters/_rels/slideMaster2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229.xml"/><Relationship Id="rId21" Type="http://schemas.openxmlformats.org/officeDocument/2006/relationships/slideLayout" Target="../slideLayouts/slideLayout1224.xml"/><Relationship Id="rId34" Type="http://schemas.openxmlformats.org/officeDocument/2006/relationships/slideLayout" Target="../slideLayouts/slideLayout1237.xml"/><Relationship Id="rId42" Type="http://schemas.openxmlformats.org/officeDocument/2006/relationships/slideLayout" Target="../slideLayouts/slideLayout1245.xml"/><Relationship Id="rId47" Type="http://schemas.openxmlformats.org/officeDocument/2006/relationships/slideLayout" Target="../slideLayouts/slideLayout1250.xml"/><Relationship Id="rId50" Type="http://schemas.openxmlformats.org/officeDocument/2006/relationships/slideLayout" Target="../slideLayouts/slideLayout1253.xml"/><Relationship Id="rId55" Type="http://schemas.openxmlformats.org/officeDocument/2006/relationships/slideLayout" Target="../slideLayouts/slideLayout1258.xml"/><Relationship Id="rId63" Type="http://schemas.openxmlformats.org/officeDocument/2006/relationships/slideLayout" Target="../slideLayouts/slideLayout1266.xml"/><Relationship Id="rId7" Type="http://schemas.openxmlformats.org/officeDocument/2006/relationships/slideLayout" Target="../slideLayouts/slideLayout1210.xml"/><Relationship Id="rId2" Type="http://schemas.openxmlformats.org/officeDocument/2006/relationships/slideLayout" Target="../slideLayouts/slideLayout1205.xml"/><Relationship Id="rId16" Type="http://schemas.openxmlformats.org/officeDocument/2006/relationships/slideLayout" Target="../slideLayouts/slideLayout1219.xml"/><Relationship Id="rId29" Type="http://schemas.openxmlformats.org/officeDocument/2006/relationships/slideLayout" Target="../slideLayouts/slideLayout1232.xml"/><Relationship Id="rId11" Type="http://schemas.openxmlformats.org/officeDocument/2006/relationships/slideLayout" Target="../slideLayouts/slideLayout1214.xml"/><Relationship Id="rId24" Type="http://schemas.openxmlformats.org/officeDocument/2006/relationships/slideLayout" Target="../slideLayouts/slideLayout1227.xml"/><Relationship Id="rId32" Type="http://schemas.openxmlformats.org/officeDocument/2006/relationships/slideLayout" Target="../slideLayouts/slideLayout1235.xml"/><Relationship Id="rId37" Type="http://schemas.openxmlformats.org/officeDocument/2006/relationships/slideLayout" Target="../slideLayouts/slideLayout1240.xml"/><Relationship Id="rId40" Type="http://schemas.openxmlformats.org/officeDocument/2006/relationships/slideLayout" Target="../slideLayouts/slideLayout1243.xml"/><Relationship Id="rId45" Type="http://schemas.openxmlformats.org/officeDocument/2006/relationships/slideLayout" Target="../slideLayouts/slideLayout1248.xml"/><Relationship Id="rId53" Type="http://schemas.openxmlformats.org/officeDocument/2006/relationships/slideLayout" Target="../slideLayouts/slideLayout1256.xml"/><Relationship Id="rId58" Type="http://schemas.openxmlformats.org/officeDocument/2006/relationships/slideLayout" Target="../slideLayouts/slideLayout1261.xml"/><Relationship Id="rId66" Type="http://schemas.microsoft.com/office/2007/relationships/hdphoto" Target="../media/hdphoto8.wdp"/><Relationship Id="rId5" Type="http://schemas.openxmlformats.org/officeDocument/2006/relationships/slideLayout" Target="../slideLayouts/slideLayout1208.xml"/><Relationship Id="rId61" Type="http://schemas.openxmlformats.org/officeDocument/2006/relationships/slideLayout" Target="../slideLayouts/slideLayout1264.xml"/><Relationship Id="rId19" Type="http://schemas.openxmlformats.org/officeDocument/2006/relationships/slideLayout" Target="../slideLayouts/slideLayout1222.xml"/><Relationship Id="rId14" Type="http://schemas.openxmlformats.org/officeDocument/2006/relationships/slideLayout" Target="../slideLayouts/slideLayout1217.xml"/><Relationship Id="rId22" Type="http://schemas.openxmlformats.org/officeDocument/2006/relationships/slideLayout" Target="../slideLayouts/slideLayout1225.xml"/><Relationship Id="rId27" Type="http://schemas.openxmlformats.org/officeDocument/2006/relationships/slideLayout" Target="../slideLayouts/slideLayout1230.xml"/><Relationship Id="rId30" Type="http://schemas.openxmlformats.org/officeDocument/2006/relationships/slideLayout" Target="../slideLayouts/slideLayout1233.xml"/><Relationship Id="rId35" Type="http://schemas.openxmlformats.org/officeDocument/2006/relationships/slideLayout" Target="../slideLayouts/slideLayout1238.xml"/><Relationship Id="rId43" Type="http://schemas.openxmlformats.org/officeDocument/2006/relationships/slideLayout" Target="../slideLayouts/slideLayout1246.xml"/><Relationship Id="rId48" Type="http://schemas.openxmlformats.org/officeDocument/2006/relationships/slideLayout" Target="../slideLayouts/slideLayout1251.xml"/><Relationship Id="rId56" Type="http://schemas.openxmlformats.org/officeDocument/2006/relationships/slideLayout" Target="../slideLayouts/slideLayout1259.xml"/><Relationship Id="rId64" Type="http://schemas.openxmlformats.org/officeDocument/2006/relationships/theme" Target="../theme/theme25.xml"/><Relationship Id="rId8" Type="http://schemas.openxmlformats.org/officeDocument/2006/relationships/slideLayout" Target="../slideLayouts/slideLayout1211.xml"/><Relationship Id="rId51" Type="http://schemas.openxmlformats.org/officeDocument/2006/relationships/slideLayout" Target="../slideLayouts/slideLayout1254.xml"/><Relationship Id="rId3" Type="http://schemas.openxmlformats.org/officeDocument/2006/relationships/slideLayout" Target="../slideLayouts/slideLayout1206.xml"/><Relationship Id="rId12" Type="http://schemas.openxmlformats.org/officeDocument/2006/relationships/slideLayout" Target="../slideLayouts/slideLayout1215.xml"/><Relationship Id="rId17" Type="http://schemas.openxmlformats.org/officeDocument/2006/relationships/slideLayout" Target="../slideLayouts/slideLayout1220.xml"/><Relationship Id="rId25" Type="http://schemas.openxmlformats.org/officeDocument/2006/relationships/slideLayout" Target="../slideLayouts/slideLayout1228.xml"/><Relationship Id="rId33" Type="http://schemas.openxmlformats.org/officeDocument/2006/relationships/slideLayout" Target="../slideLayouts/slideLayout1236.xml"/><Relationship Id="rId38" Type="http://schemas.openxmlformats.org/officeDocument/2006/relationships/slideLayout" Target="../slideLayouts/slideLayout1241.xml"/><Relationship Id="rId46" Type="http://schemas.openxmlformats.org/officeDocument/2006/relationships/slideLayout" Target="../slideLayouts/slideLayout1249.xml"/><Relationship Id="rId59" Type="http://schemas.openxmlformats.org/officeDocument/2006/relationships/slideLayout" Target="../slideLayouts/slideLayout1262.xml"/><Relationship Id="rId20" Type="http://schemas.openxmlformats.org/officeDocument/2006/relationships/slideLayout" Target="../slideLayouts/slideLayout1223.xml"/><Relationship Id="rId41" Type="http://schemas.openxmlformats.org/officeDocument/2006/relationships/slideLayout" Target="../slideLayouts/slideLayout1244.xml"/><Relationship Id="rId54" Type="http://schemas.openxmlformats.org/officeDocument/2006/relationships/slideLayout" Target="../slideLayouts/slideLayout1257.xml"/><Relationship Id="rId62" Type="http://schemas.openxmlformats.org/officeDocument/2006/relationships/slideLayout" Target="../slideLayouts/slideLayout1265.xml"/><Relationship Id="rId1" Type="http://schemas.openxmlformats.org/officeDocument/2006/relationships/slideLayout" Target="../slideLayouts/slideLayout1204.xml"/><Relationship Id="rId6" Type="http://schemas.openxmlformats.org/officeDocument/2006/relationships/slideLayout" Target="../slideLayouts/slideLayout1209.xml"/><Relationship Id="rId15" Type="http://schemas.openxmlformats.org/officeDocument/2006/relationships/slideLayout" Target="../slideLayouts/slideLayout1218.xml"/><Relationship Id="rId23" Type="http://schemas.openxmlformats.org/officeDocument/2006/relationships/slideLayout" Target="../slideLayouts/slideLayout1226.xml"/><Relationship Id="rId28" Type="http://schemas.openxmlformats.org/officeDocument/2006/relationships/slideLayout" Target="../slideLayouts/slideLayout1231.xml"/><Relationship Id="rId36" Type="http://schemas.openxmlformats.org/officeDocument/2006/relationships/slideLayout" Target="../slideLayouts/slideLayout1239.xml"/><Relationship Id="rId49" Type="http://schemas.openxmlformats.org/officeDocument/2006/relationships/slideLayout" Target="../slideLayouts/slideLayout1252.xml"/><Relationship Id="rId57" Type="http://schemas.openxmlformats.org/officeDocument/2006/relationships/slideLayout" Target="../slideLayouts/slideLayout1260.xml"/><Relationship Id="rId10" Type="http://schemas.openxmlformats.org/officeDocument/2006/relationships/slideLayout" Target="../slideLayouts/slideLayout1213.xml"/><Relationship Id="rId31" Type="http://schemas.openxmlformats.org/officeDocument/2006/relationships/slideLayout" Target="../slideLayouts/slideLayout1234.xml"/><Relationship Id="rId44" Type="http://schemas.openxmlformats.org/officeDocument/2006/relationships/slideLayout" Target="../slideLayouts/slideLayout1247.xml"/><Relationship Id="rId52" Type="http://schemas.openxmlformats.org/officeDocument/2006/relationships/slideLayout" Target="../slideLayouts/slideLayout1255.xml"/><Relationship Id="rId60" Type="http://schemas.openxmlformats.org/officeDocument/2006/relationships/slideLayout" Target="../slideLayouts/slideLayout1263.xml"/><Relationship Id="rId65" Type="http://schemas.openxmlformats.org/officeDocument/2006/relationships/image" Target="../media/image101.png"/><Relationship Id="rId4" Type="http://schemas.openxmlformats.org/officeDocument/2006/relationships/slideLayout" Target="../slideLayouts/slideLayout1207.xml"/><Relationship Id="rId9" Type="http://schemas.openxmlformats.org/officeDocument/2006/relationships/slideLayout" Target="../slideLayouts/slideLayout1212.xml"/><Relationship Id="rId13" Type="http://schemas.openxmlformats.org/officeDocument/2006/relationships/slideLayout" Target="../slideLayouts/slideLayout1216.xml"/><Relationship Id="rId18" Type="http://schemas.openxmlformats.org/officeDocument/2006/relationships/slideLayout" Target="../slideLayouts/slideLayout1221.xml"/><Relationship Id="rId39" Type="http://schemas.openxmlformats.org/officeDocument/2006/relationships/slideLayout" Target="../slideLayouts/slideLayout1242.xml"/></Relationships>
</file>

<file path=ppt/slideMasters/_rels/slideMaster26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292.xml"/><Relationship Id="rId21" Type="http://schemas.openxmlformats.org/officeDocument/2006/relationships/slideLayout" Target="../slideLayouts/slideLayout1287.xml"/><Relationship Id="rId34" Type="http://schemas.openxmlformats.org/officeDocument/2006/relationships/slideLayout" Target="../slideLayouts/slideLayout1300.xml"/><Relationship Id="rId42" Type="http://schemas.openxmlformats.org/officeDocument/2006/relationships/slideLayout" Target="../slideLayouts/slideLayout1308.xml"/><Relationship Id="rId47" Type="http://schemas.openxmlformats.org/officeDocument/2006/relationships/slideLayout" Target="../slideLayouts/slideLayout1313.xml"/><Relationship Id="rId50" Type="http://schemas.openxmlformats.org/officeDocument/2006/relationships/slideLayout" Target="../slideLayouts/slideLayout1316.xml"/><Relationship Id="rId55" Type="http://schemas.openxmlformats.org/officeDocument/2006/relationships/slideLayout" Target="../slideLayouts/slideLayout1321.xml"/><Relationship Id="rId63" Type="http://schemas.openxmlformats.org/officeDocument/2006/relationships/theme" Target="../theme/theme26.xml"/><Relationship Id="rId7" Type="http://schemas.openxmlformats.org/officeDocument/2006/relationships/slideLayout" Target="../slideLayouts/slideLayout1273.xml"/><Relationship Id="rId2" Type="http://schemas.openxmlformats.org/officeDocument/2006/relationships/slideLayout" Target="../slideLayouts/slideLayout1268.xml"/><Relationship Id="rId16" Type="http://schemas.openxmlformats.org/officeDocument/2006/relationships/slideLayout" Target="../slideLayouts/slideLayout1282.xml"/><Relationship Id="rId29" Type="http://schemas.openxmlformats.org/officeDocument/2006/relationships/slideLayout" Target="../slideLayouts/slideLayout1295.xml"/><Relationship Id="rId11" Type="http://schemas.openxmlformats.org/officeDocument/2006/relationships/slideLayout" Target="../slideLayouts/slideLayout1277.xml"/><Relationship Id="rId24" Type="http://schemas.openxmlformats.org/officeDocument/2006/relationships/slideLayout" Target="../slideLayouts/slideLayout1290.xml"/><Relationship Id="rId32" Type="http://schemas.openxmlformats.org/officeDocument/2006/relationships/slideLayout" Target="../slideLayouts/slideLayout1298.xml"/><Relationship Id="rId37" Type="http://schemas.openxmlformats.org/officeDocument/2006/relationships/slideLayout" Target="../slideLayouts/slideLayout1303.xml"/><Relationship Id="rId40" Type="http://schemas.openxmlformats.org/officeDocument/2006/relationships/slideLayout" Target="../slideLayouts/slideLayout1306.xml"/><Relationship Id="rId45" Type="http://schemas.openxmlformats.org/officeDocument/2006/relationships/slideLayout" Target="../slideLayouts/slideLayout1311.xml"/><Relationship Id="rId53" Type="http://schemas.openxmlformats.org/officeDocument/2006/relationships/slideLayout" Target="../slideLayouts/slideLayout1319.xml"/><Relationship Id="rId58" Type="http://schemas.openxmlformats.org/officeDocument/2006/relationships/slideLayout" Target="../slideLayouts/slideLayout1324.xml"/><Relationship Id="rId5" Type="http://schemas.openxmlformats.org/officeDocument/2006/relationships/slideLayout" Target="../slideLayouts/slideLayout1271.xml"/><Relationship Id="rId61" Type="http://schemas.openxmlformats.org/officeDocument/2006/relationships/slideLayout" Target="../slideLayouts/slideLayout1327.xml"/><Relationship Id="rId19" Type="http://schemas.openxmlformats.org/officeDocument/2006/relationships/slideLayout" Target="../slideLayouts/slideLayout1285.xml"/><Relationship Id="rId14" Type="http://schemas.openxmlformats.org/officeDocument/2006/relationships/slideLayout" Target="../slideLayouts/slideLayout1280.xml"/><Relationship Id="rId22" Type="http://schemas.openxmlformats.org/officeDocument/2006/relationships/slideLayout" Target="../slideLayouts/slideLayout1288.xml"/><Relationship Id="rId27" Type="http://schemas.openxmlformats.org/officeDocument/2006/relationships/slideLayout" Target="../slideLayouts/slideLayout1293.xml"/><Relationship Id="rId30" Type="http://schemas.openxmlformats.org/officeDocument/2006/relationships/slideLayout" Target="../slideLayouts/slideLayout1296.xml"/><Relationship Id="rId35" Type="http://schemas.openxmlformats.org/officeDocument/2006/relationships/slideLayout" Target="../slideLayouts/slideLayout1301.xml"/><Relationship Id="rId43" Type="http://schemas.openxmlformats.org/officeDocument/2006/relationships/slideLayout" Target="../slideLayouts/slideLayout1309.xml"/><Relationship Id="rId48" Type="http://schemas.openxmlformats.org/officeDocument/2006/relationships/slideLayout" Target="../slideLayouts/slideLayout1314.xml"/><Relationship Id="rId56" Type="http://schemas.openxmlformats.org/officeDocument/2006/relationships/slideLayout" Target="../slideLayouts/slideLayout1322.xml"/><Relationship Id="rId64" Type="http://schemas.openxmlformats.org/officeDocument/2006/relationships/image" Target="../media/image64.png"/><Relationship Id="rId8" Type="http://schemas.openxmlformats.org/officeDocument/2006/relationships/slideLayout" Target="../slideLayouts/slideLayout1274.xml"/><Relationship Id="rId51" Type="http://schemas.openxmlformats.org/officeDocument/2006/relationships/slideLayout" Target="../slideLayouts/slideLayout1317.xml"/><Relationship Id="rId3" Type="http://schemas.openxmlformats.org/officeDocument/2006/relationships/slideLayout" Target="../slideLayouts/slideLayout1269.xml"/><Relationship Id="rId12" Type="http://schemas.openxmlformats.org/officeDocument/2006/relationships/slideLayout" Target="../slideLayouts/slideLayout1278.xml"/><Relationship Id="rId17" Type="http://schemas.openxmlformats.org/officeDocument/2006/relationships/slideLayout" Target="../slideLayouts/slideLayout1283.xml"/><Relationship Id="rId25" Type="http://schemas.openxmlformats.org/officeDocument/2006/relationships/slideLayout" Target="../slideLayouts/slideLayout1291.xml"/><Relationship Id="rId33" Type="http://schemas.openxmlformats.org/officeDocument/2006/relationships/slideLayout" Target="../slideLayouts/slideLayout1299.xml"/><Relationship Id="rId38" Type="http://schemas.openxmlformats.org/officeDocument/2006/relationships/slideLayout" Target="../slideLayouts/slideLayout1304.xml"/><Relationship Id="rId46" Type="http://schemas.openxmlformats.org/officeDocument/2006/relationships/slideLayout" Target="../slideLayouts/slideLayout1312.xml"/><Relationship Id="rId59" Type="http://schemas.openxmlformats.org/officeDocument/2006/relationships/slideLayout" Target="../slideLayouts/slideLayout1325.xml"/><Relationship Id="rId20" Type="http://schemas.openxmlformats.org/officeDocument/2006/relationships/slideLayout" Target="../slideLayouts/slideLayout1286.xml"/><Relationship Id="rId41" Type="http://schemas.openxmlformats.org/officeDocument/2006/relationships/slideLayout" Target="../slideLayouts/slideLayout1307.xml"/><Relationship Id="rId54" Type="http://schemas.openxmlformats.org/officeDocument/2006/relationships/slideLayout" Target="../slideLayouts/slideLayout1320.xml"/><Relationship Id="rId62" Type="http://schemas.openxmlformats.org/officeDocument/2006/relationships/slideLayout" Target="../slideLayouts/slideLayout1328.xml"/><Relationship Id="rId1" Type="http://schemas.openxmlformats.org/officeDocument/2006/relationships/slideLayout" Target="../slideLayouts/slideLayout1267.xml"/><Relationship Id="rId6" Type="http://schemas.openxmlformats.org/officeDocument/2006/relationships/slideLayout" Target="../slideLayouts/slideLayout1272.xml"/><Relationship Id="rId15" Type="http://schemas.openxmlformats.org/officeDocument/2006/relationships/slideLayout" Target="../slideLayouts/slideLayout1281.xml"/><Relationship Id="rId23" Type="http://schemas.openxmlformats.org/officeDocument/2006/relationships/slideLayout" Target="../slideLayouts/slideLayout1289.xml"/><Relationship Id="rId28" Type="http://schemas.openxmlformats.org/officeDocument/2006/relationships/slideLayout" Target="../slideLayouts/slideLayout1294.xml"/><Relationship Id="rId36" Type="http://schemas.openxmlformats.org/officeDocument/2006/relationships/slideLayout" Target="../slideLayouts/slideLayout1302.xml"/><Relationship Id="rId49" Type="http://schemas.openxmlformats.org/officeDocument/2006/relationships/slideLayout" Target="../slideLayouts/slideLayout1315.xml"/><Relationship Id="rId57" Type="http://schemas.openxmlformats.org/officeDocument/2006/relationships/slideLayout" Target="../slideLayouts/slideLayout1323.xml"/><Relationship Id="rId10" Type="http://schemas.openxmlformats.org/officeDocument/2006/relationships/slideLayout" Target="../slideLayouts/slideLayout1276.xml"/><Relationship Id="rId31" Type="http://schemas.openxmlformats.org/officeDocument/2006/relationships/slideLayout" Target="../slideLayouts/slideLayout1297.xml"/><Relationship Id="rId44" Type="http://schemas.openxmlformats.org/officeDocument/2006/relationships/slideLayout" Target="../slideLayouts/slideLayout1310.xml"/><Relationship Id="rId52" Type="http://schemas.openxmlformats.org/officeDocument/2006/relationships/slideLayout" Target="../slideLayouts/slideLayout1318.xml"/><Relationship Id="rId60" Type="http://schemas.openxmlformats.org/officeDocument/2006/relationships/slideLayout" Target="../slideLayouts/slideLayout1326.xml"/><Relationship Id="rId65" Type="http://schemas.openxmlformats.org/officeDocument/2006/relationships/image" Target="../media/image65.svg"/><Relationship Id="rId4" Type="http://schemas.openxmlformats.org/officeDocument/2006/relationships/slideLayout" Target="../slideLayouts/slideLayout1270.xml"/><Relationship Id="rId9" Type="http://schemas.openxmlformats.org/officeDocument/2006/relationships/slideLayout" Target="../slideLayouts/slideLayout1275.xml"/><Relationship Id="rId13" Type="http://schemas.openxmlformats.org/officeDocument/2006/relationships/slideLayout" Target="../slideLayouts/slideLayout1279.xml"/><Relationship Id="rId18" Type="http://schemas.openxmlformats.org/officeDocument/2006/relationships/slideLayout" Target="../slideLayouts/slideLayout1284.xml"/><Relationship Id="rId39" Type="http://schemas.openxmlformats.org/officeDocument/2006/relationships/slideLayout" Target="../slideLayouts/slideLayout1305.xml"/></Relationships>
</file>

<file path=ppt/slideMasters/_rels/slideMaster2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41.xml"/><Relationship Id="rId18" Type="http://schemas.openxmlformats.org/officeDocument/2006/relationships/slideLayout" Target="../slideLayouts/slideLayout1346.xml"/><Relationship Id="rId26" Type="http://schemas.openxmlformats.org/officeDocument/2006/relationships/slideLayout" Target="../slideLayouts/slideLayout1354.xml"/><Relationship Id="rId39" Type="http://schemas.openxmlformats.org/officeDocument/2006/relationships/slideLayout" Target="../slideLayouts/slideLayout1367.xml"/><Relationship Id="rId21" Type="http://schemas.openxmlformats.org/officeDocument/2006/relationships/slideLayout" Target="../slideLayouts/slideLayout1349.xml"/><Relationship Id="rId34" Type="http://schemas.openxmlformats.org/officeDocument/2006/relationships/slideLayout" Target="../slideLayouts/slideLayout1362.xml"/><Relationship Id="rId42" Type="http://schemas.openxmlformats.org/officeDocument/2006/relationships/slideLayout" Target="../slideLayouts/slideLayout1370.xml"/><Relationship Id="rId47" Type="http://schemas.openxmlformats.org/officeDocument/2006/relationships/slideLayout" Target="../slideLayouts/slideLayout1375.xml"/><Relationship Id="rId50" Type="http://schemas.openxmlformats.org/officeDocument/2006/relationships/slideLayout" Target="../slideLayouts/slideLayout1378.xml"/><Relationship Id="rId55" Type="http://schemas.openxmlformats.org/officeDocument/2006/relationships/slideLayout" Target="../slideLayouts/slideLayout1383.xml"/><Relationship Id="rId7" Type="http://schemas.openxmlformats.org/officeDocument/2006/relationships/slideLayout" Target="../slideLayouts/slideLayout1335.xml"/><Relationship Id="rId2" Type="http://schemas.openxmlformats.org/officeDocument/2006/relationships/slideLayout" Target="../slideLayouts/slideLayout1330.xml"/><Relationship Id="rId16" Type="http://schemas.openxmlformats.org/officeDocument/2006/relationships/slideLayout" Target="../slideLayouts/slideLayout1344.xml"/><Relationship Id="rId29" Type="http://schemas.openxmlformats.org/officeDocument/2006/relationships/slideLayout" Target="../slideLayouts/slideLayout1357.xml"/><Relationship Id="rId11" Type="http://schemas.openxmlformats.org/officeDocument/2006/relationships/slideLayout" Target="../slideLayouts/slideLayout1339.xml"/><Relationship Id="rId24" Type="http://schemas.openxmlformats.org/officeDocument/2006/relationships/slideLayout" Target="../slideLayouts/slideLayout1352.xml"/><Relationship Id="rId32" Type="http://schemas.openxmlformats.org/officeDocument/2006/relationships/slideLayout" Target="../slideLayouts/slideLayout1360.xml"/><Relationship Id="rId37" Type="http://schemas.openxmlformats.org/officeDocument/2006/relationships/slideLayout" Target="../slideLayouts/slideLayout1365.xml"/><Relationship Id="rId40" Type="http://schemas.openxmlformats.org/officeDocument/2006/relationships/slideLayout" Target="../slideLayouts/slideLayout1368.xml"/><Relationship Id="rId45" Type="http://schemas.openxmlformats.org/officeDocument/2006/relationships/slideLayout" Target="../slideLayouts/slideLayout1373.xml"/><Relationship Id="rId53" Type="http://schemas.openxmlformats.org/officeDocument/2006/relationships/slideLayout" Target="../slideLayouts/slideLayout1381.xml"/><Relationship Id="rId58" Type="http://schemas.openxmlformats.org/officeDocument/2006/relationships/theme" Target="../theme/theme27.xml"/><Relationship Id="rId5" Type="http://schemas.openxmlformats.org/officeDocument/2006/relationships/slideLayout" Target="../slideLayouts/slideLayout1333.xml"/><Relationship Id="rId19" Type="http://schemas.openxmlformats.org/officeDocument/2006/relationships/slideLayout" Target="../slideLayouts/slideLayout1347.xml"/><Relationship Id="rId4" Type="http://schemas.openxmlformats.org/officeDocument/2006/relationships/slideLayout" Target="../slideLayouts/slideLayout1332.xml"/><Relationship Id="rId9" Type="http://schemas.openxmlformats.org/officeDocument/2006/relationships/slideLayout" Target="../slideLayouts/slideLayout1337.xml"/><Relationship Id="rId14" Type="http://schemas.openxmlformats.org/officeDocument/2006/relationships/slideLayout" Target="../slideLayouts/slideLayout1342.xml"/><Relationship Id="rId22" Type="http://schemas.openxmlformats.org/officeDocument/2006/relationships/slideLayout" Target="../slideLayouts/slideLayout1350.xml"/><Relationship Id="rId27" Type="http://schemas.openxmlformats.org/officeDocument/2006/relationships/slideLayout" Target="../slideLayouts/slideLayout1355.xml"/><Relationship Id="rId30" Type="http://schemas.openxmlformats.org/officeDocument/2006/relationships/slideLayout" Target="../slideLayouts/slideLayout1358.xml"/><Relationship Id="rId35" Type="http://schemas.openxmlformats.org/officeDocument/2006/relationships/slideLayout" Target="../slideLayouts/slideLayout1363.xml"/><Relationship Id="rId43" Type="http://schemas.openxmlformats.org/officeDocument/2006/relationships/slideLayout" Target="../slideLayouts/slideLayout1371.xml"/><Relationship Id="rId48" Type="http://schemas.openxmlformats.org/officeDocument/2006/relationships/slideLayout" Target="../slideLayouts/slideLayout1376.xml"/><Relationship Id="rId56" Type="http://schemas.openxmlformats.org/officeDocument/2006/relationships/slideLayout" Target="../slideLayouts/slideLayout1384.xml"/><Relationship Id="rId8" Type="http://schemas.openxmlformats.org/officeDocument/2006/relationships/slideLayout" Target="../slideLayouts/slideLayout1336.xml"/><Relationship Id="rId51" Type="http://schemas.openxmlformats.org/officeDocument/2006/relationships/slideLayout" Target="../slideLayouts/slideLayout1379.xml"/><Relationship Id="rId3" Type="http://schemas.openxmlformats.org/officeDocument/2006/relationships/slideLayout" Target="../slideLayouts/slideLayout1331.xml"/><Relationship Id="rId12" Type="http://schemas.openxmlformats.org/officeDocument/2006/relationships/slideLayout" Target="../slideLayouts/slideLayout1340.xml"/><Relationship Id="rId17" Type="http://schemas.openxmlformats.org/officeDocument/2006/relationships/slideLayout" Target="../slideLayouts/slideLayout1345.xml"/><Relationship Id="rId25" Type="http://schemas.openxmlformats.org/officeDocument/2006/relationships/slideLayout" Target="../slideLayouts/slideLayout1353.xml"/><Relationship Id="rId33" Type="http://schemas.openxmlformats.org/officeDocument/2006/relationships/slideLayout" Target="../slideLayouts/slideLayout1361.xml"/><Relationship Id="rId38" Type="http://schemas.openxmlformats.org/officeDocument/2006/relationships/slideLayout" Target="../slideLayouts/slideLayout1366.xml"/><Relationship Id="rId46" Type="http://schemas.openxmlformats.org/officeDocument/2006/relationships/slideLayout" Target="../slideLayouts/slideLayout1374.xml"/><Relationship Id="rId59" Type="http://schemas.openxmlformats.org/officeDocument/2006/relationships/image" Target="../media/image64.png"/><Relationship Id="rId20" Type="http://schemas.openxmlformats.org/officeDocument/2006/relationships/slideLayout" Target="../slideLayouts/slideLayout1348.xml"/><Relationship Id="rId41" Type="http://schemas.openxmlformats.org/officeDocument/2006/relationships/slideLayout" Target="../slideLayouts/slideLayout1369.xml"/><Relationship Id="rId54" Type="http://schemas.openxmlformats.org/officeDocument/2006/relationships/slideLayout" Target="../slideLayouts/slideLayout1382.xml"/><Relationship Id="rId1" Type="http://schemas.openxmlformats.org/officeDocument/2006/relationships/slideLayout" Target="../slideLayouts/slideLayout1329.xml"/><Relationship Id="rId6" Type="http://schemas.openxmlformats.org/officeDocument/2006/relationships/slideLayout" Target="../slideLayouts/slideLayout1334.xml"/><Relationship Id="rId15" Type="http://schemas.openxmlformats.org/officeDocument/2006/relationships/slideLayout" Target="../slideLayouts/slideLayout1343.xml"/><Relationship Id="rId23" Type="http://schemas.openxmlformats.org/officeDocument/2006/relationships/slideLayout" Target="../slideLayouts/slideLayout1351.xml"/><Relationship Id="rId28" Type="http://schemas.openxmlformats.org/officeDocument/2006/relationships/slideLayout" Target="../slideLayouts/slideLayout1356.xml"/><Relationship Id="rId36" Type="http://schemas.openxmlformats.org/officeDocument/2006/relationships/slideLayout" Target="../slideLayouts/slideLayout1364.xml"/><Relationship Id="rId49" Type="http://schemas.openxmlformats.org/officeDocument/2006/relationships/slideLayout" Target="../slideLayouts/slideLayout1377.xml"/><Relationship Id="rId57" Type="http://schemas.openxmlformats.org/officeDocument/2006/relationships/slideLayout" Target="../slideLayouts/slideLayout1385.xml"/><Relationship Id="rId10" Type="http://schemas.openxmlformats.org/officeDocument/2006/relationships/slideLayout" Target="../slideLayouts/slideLayout1338.xml"/><Relationship Id="rId31" Type="http://schemas.openxmlformats.org/officeDocument/2006/relationships/slideLayout" Target="../slideLayouts/slideLayout1359.xml"/><Relationship Id="rId44" Type="http://schemas.openxmlformats.org/officeDocument/2006/relationships/slideLayout" Target="../slideLayouts/slideLayout1372.xml"/><Relationship Id="rId52" Type="http://schemas.openxmlformats.org/officeDocument/2006/relationships/slideLayout" Target="../slideLayouts/slideLayout1380.xml"/><Relationship Id="rId60" Type="http://schemas.openxmlformats.org/officeDocument/2006/relationships/image" Target="../media/image65.svg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9.xml"/><Relationship Id="rId18" Type="http://schemas.openxmlformats.org/officeDocument/2006/relationships/slideLayout" Target="../slideLayouts/slideLayout154.xml"/><Relationship Id="rId26" Type="http://schemas.openxmlformats.org/officeDocument/2006/relationships/slideLayout" Target="../slideLayouts/slideLayout162.xml"/><Relationship Id="rId21" Type="http://schemas.openxmlformats.org/officeDocument/2006/relationships/slideLayout" Target="../slideLayouts/slideLayout157.xml"/><Relationship Id="rId34" Type="http://schemas.openxmlformats.org/officeDocument/2006/relationships/slideLayout" Target="../slideLayouts/slideLayout170.xml"/><Relationship Id="rId7" Type="http://schemas.openxmlformats.org/officeDocument/2006/relationships/slideLayout" Target="../slideLayouts/slideLayout143.xml"/><Relationship Id="rId12" Type="http://schemas.openxmlformats.org/officeDocument/2006/relationships/slideLayout" Target="../slideLayouts/slideLayout148.xml"/><Relationship Id="rId17" Type="http://schemas.openxmlformats.org/officeDocument/2006/relationships/slideLayout" Target="../slideLayouts/slideLayout153.xml"/><Relationship Id="rId25" Type="http://schemas.openxmlformats.org/officeDocument/2006/relationships/slideLayout" Target="../slideLayouts/slideLayout161.xml"/><Relationship Id="rId33" Type="http://schemas.openxmlformats.org/officeDocument/2006/relationships/slideLayout" Target="../slideLayouts/slideLayout169.xml"/><Relationship Id="rId2" Type="http://schemas.openxmlformats.org/officeDocument/2006/relationships/slideLayout" Target="../slideLayouts/slideLayout138.xml"/><Relationship Id="rId16" Type="http://schemas.openxmlformats.org/officeDocument/2006/relationships/slideLayout" Target="../slideLayouts/slideLayout152.xml"/><Relationship Id="rId20" Type="http://schemas.openxmlformats.org/officeDocument/2006/relationships/slideLayout" Target="../slideLayouts/slideLayout156.xml"/><Relationship Id="rId29" Type="http://schemas.openxmlformats.org/officeDocument/2006/relationships/slideLayout" Target="../slideLayouts/slideLayout165.xml"/><Relationship Id="rId1" Type="http://schemas.openxmlformats.org/officeDocument/2006/relationships/slideLayout" Target="../slideLayouts/slideLayout137.xml"/><Relationship Id="rId6" Type="http://schemas.openxmlformats.org/officeDocument/2006/relationships/slideLayout" Target="../slideLayouts/slideLayout142.xml"/><Relationship Id="rId11" Type="http://schemas.openxmlformats.org/officeDocument/2006/relationships/slideLayout" Target="../slideLayouts/slideLayout147.xml"/><Relationship Id="rId24" Type="http://schemas.openxmlformats.org/officeDocument/2006/relationships/slideLayout" Target="../slideLayouts/slideLayout160.xml"/><Relationship Id="rId32" Type="http://schemas.openxmlformats.org/officeDocument/2006/relationships/slideLayout" Target="../slideLayouts/slideLayout168.xml"/><Relationship Id="rId37" Type="http://schemas.openxmlformats.org/officeDocument/2006/relationships/image" Target="../media/image24.emf"/><Relationship Id="rId5" Type="http://schemas.openxmlformats.org/officeDocument/2006/relationships/slideLayout" Target="../slideLayouts/slideLayout141.xml"/><Relationship Id="rId15" Type="http://schemas.openxmlformats.org/officeDocument/2006/relationships/slideLayout" Target="../slideLayouts/slideLayout151.xml"/><Relationship Id="rId23" Type="http://schemas.openxmlformats.org/officeDocument/2006/relationships/slideLayout" Target="../slideLayouts/slideLayout159.xml"/><Relationship Id="rId28" Type="http://schemas.openxmlformats.org/officeDocument/2006/relationships/slideLayout" Target="../slideLayouts/slideLayout164.xml"/><Relationship Id="rId36" Type="http://schemas.openxmlformats.org/officeDocument/2006/relationships/theme" Target="../theme/theme3.xml"/><Relationship Id="rId10" Type="http://schemas.openxmlformats.org/officeDocument/2006/relationships/slideLayout" Target="../slideLayouts/slideLayout146.xml"/><Relationship Id="rId19" Type="http://schemas.openxmlformats.org/officeDocument/2006/relationships/slideLayout" Target="../slideLayouts/slideLayout155.xml"/><Relationship Id="rId31" Type="http://schemas.openxmlformats.org/officeDocument/2006/relationships/slideLayout" Target="../slideLayouts/slideLayout167.xml"/><Relationship Id="rId4" Type="http://schemas.openxmlformats.org/officeDocument/2006/relationships/slideLayout" Target="../slideLayouts/slideLayout140.xml"/><Relationship Id="rId9" Type="http://schemas.openxmlformats.org/officeDocument/2006/relationships/slideLayout" Target="../slideLayouts/slideLayout145.xml"/><Relationship Id="rId14" Type="http://schemas.openxmlformats.org/officeDocument/2006/relationships/slideLayout" Target="../slideLayouts/slideLayout150.xml"/><Relationship Id="rId22" Type="http://schemas.openxmlformats.org/officeDocument/2006/relationships/slideLayout" Target="../slideLayouts/slideLayout158.xml"/><Relationship Id="rId27" Type="http://schemas.openxmlformats.org/officeDocument/2006/relationships/slideLayout" Target="../slideLayouts/slideLayout163.xml"/><Relationship Id="rId30" Type="http://schemas.openxmlformats.org/officeDocument/2006/relationships/slideLayout" Target="../slideLayouts/slideLayout166.xml"/><Relationship Id="rId35" Type="http://schemas.openxmlformats.org/officeDocument/2006/relationships/slideLayout" Target="../slideLayouts/slideLayout171.xml"/><Relationship Id="rId8" Type="http://schemas.openxmlformats.org/officeDocument/2006/relationships/slideLayout" Target="../slideLayouts/slideLayout144.xml"/><Relationship Id="rId3" Type="http://schemas.openxmlformats.org/officeDocument/2006/relationships/slideLayout" Target="../slideLayouts/slideLayout139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197.xml"/><Relationship Id="rId21" Type="http://schemas.openxmlformats.org/officeDocument/2006/relationships/slideLayout" Target="../slideLayouts/slideLayout192.xml"/><Relationship Id="rId42" Type="http://schemas.openxmlformats.org/officeDocument/2006/relationships/slideLayout" Target="../slideLayouts/slideLayout213.xml"/><Relationship Id="rId47" Type="http://schemas.openxmlformats.org/officeDocument/2006/relationships/slideLayout" Target="../slideLayouts/slideLayout218.xml"/><Relationship Id="rId63" Type="http://schemas.openxmlformats.org/officeDocument/2006/relationships/slideLayout" Target="../slideLayouts/slideLayout234.xml"/><Relationship Id="rId68" Type="http://schemas.openxmlformats.org/officeDocument/2006/relationships/slideLayout" Target="../slideLayouts/slideLayout239.xml"/><Relationship Id="rId2" Type="http://schemas.openxmlformats.org/officeDocument/2006/relationships/slideLayout" Target="../slideLayouts/slideLayout173.xml"/><Relationship Id="rId16" Type="http://schemas.openxmlformats.org/officeDocument/2006/relationships/slideLayout" Target="../slideLayouts/slideLayout187.xml"/><Relationship Id="rId29" Type="http://schemas.openxmlformats.org/officeDocument/2006/relationships/slideLayout" Target="../slideLayouts/slideLayout200.xml"/><Relationship Id="rId11" Type="http://schemas.openxmlformats.org/officeDocument/2006/relationships/slideLayout" Target="../slideLayouts/slideLayout182.xml"/><Relationship Id="rId24" Type="http://schemas.openxmlformats.org/officeDocument/2006/relationships/slideLayout" Target="../slideLayouts/slideLayout195.xml"/><Relationship Id="rId32" Type="http://schemas.openxmlformats.org/officeDocument/2006/relationships/slideLayout" Target="../slideLayouts/slideLayout203.xml"/><Relationship Id="rId37" Type="http://schemas.openxmlformats.org/officeDocument/2006/relationships/slideLayout" Target="../slideLayouts/slideLayout208.xml"/><Relationship Id="rId40" Type="http://schemas.openxmlformats.org/officeDocument/2006/relationships/slideLayout" Target="../slideLayouts/slideLayout211.xml"/><Relationship Id="rId45" Type="http://schemas.openxmlformats.org/officeDocument/2006/relationships/slideLayout" Target="../slideLayouts/slideLayout216.xml"/><Relationship Id="rId53" Type="http://schemas.openxmlformats.org/officeDocument/2006/relationships/slideLayout" Target="../slideLayouts/slideLayout224.xml"/><Relationship Id="rId58" Type="http://schemas.openxmlformats.org/officeDocument/2006/relationships/slideLayout" Target="../slideLayouts/slideLayout229.xml"/><Relationship Id="rId66" Type="http://schemas.openxmlformats.org/officeDocument/2006/relationships/slideLayout" Target="../slideLayouts/slideLayout237.xml"/><Relationship Id="rId5" Type="http://schemas.openxmlformats.org/officeDocument/2006/relationships/slideLayout" Target="../slideLayouts/slideLayout176.xml"/><Relationship Id="rId61" Type="http://schemas.openxmlformats.org/officeDocument/2006/relationships/slideLayout" Target="../slideLayouts/slideLayout232.xml"/><Relationship Id="rId19" Type="http://schemas.openxmlformats.org/officeDocument/2006/relationships/slideLayout" Target="../slideLayouts/slideLayout190.xml"/><Relationship Id="rId14" Type="http://schemas.openxmlformats.org/officeDocument/2006/relationships/slideLayout" Target="../slideLayouts/slideLayout185.xml"/><Relationship Id="rId22" Type="http://schemas.openxmlformats.org/officeDocument/2006/relationships/slideLayout" Target="../slideLayouts/slideLayout193.xml"/><Relationship Id="rId27" Type="http://schemas.openxmlformats.org/officeDocument/2006/relationships/slideLayout" Target="../slideLayouts/slideLayout198.xml"/><Relationship Id="rId30" Type="http://schemas.openxmlformats.org/officeDocument/2006/relationships/slideLayout" Target="../slideLayouts/slideLayout201.xml"/><Relationship Id="rId35" Type="http://schemas.openxmlformats.org/officeDocument/2006/relationships/slideLayout" Target="../slideLayouts/slideLayout206.xml"/><Relationship Id="rId43" Type="http://schemas.openxmlformats.org/officeDocument/2006/relationships/slideLayout" Target="../slideLayouts/slideLayout214.xml"/><Relationship Id="rId48" Type="http://schemas.openxmlformats.org/officeDocument/2006/relationships/slideLayout" Target="../slideLayouts/slideLayout219.xml"/><Relationship Id="rId56" Type="http://schemas.openxmlformats.org/officeDocument/2006/relationships/slideLayout" Target="../slideLayouts/slideLayout227.xml"/><Relationship Id="rId64" Type="http://schemas.openxmlformats.org/officeDocument/2006/relationships/slideLayout" Target="../slideLayouts/slideLayout235.xml"/><Relationship Id="rId69" Type="http://schemas.openxmlformats.org/officeDocument/2006/relationships/slideLayout" Target="../slideLayouts/slideLayout240.xml"/><Relationship Id="rId8" Type="http://schemas.openxmlformats.org/officeDocument/2006/relationships/slideLayout" Target="../slideLayouts/slideLayout179.xml"/><Relationship Id="rId51" Type="http://schemas.openxmlformats.org/officeDocument/2006/relationships/slideLayout" Target="../slideLayouts/slideLayout222.xml"/><Relationship Id="rId72" Type="http://schemas.openxmlformats.org/officeDocument/2006/relationships/image" Target="../media/image9.png"/><Relationship Id="rId3" Type="http://schemas.openxmlformats.org/officeDocument/2006/relationships/slideLayout" Target="../slideLayouts/slideLayout174.xml"/><Relationship Id="rId12" Type="http://schemas.openxmlformats.org/officeDocument/2006/relationships/slideLayout" Target="../slideLayouts/slideLayout183.xml"/><Relationship Id="rId17" Type="http://schemas.openxmlformats.org/officeDocument/2006/relationships/slideLayout" Target="../slideLayouts/slideLayout188.xml"/><Relationship Id="rId25" Type="http://schemas.openxmlformats.org/officeDocument/2006/relationships/slideLayout" Target="../slideLayouts/slideLayout196.xml"/><Relationship Id="rId33" Type="http://schemas.openxmlformats.org/officeDocument/2006/relationships/slideLayout" Target="../slideLayouts/slideLayout204.xml"/><Relationship Id="rId38" Type="http://schemas.openxmlformats.org/officeDocument/2006/relationships/slideLayout" Target="../slideLayouts/slideLayout209.xml"/><Relationship Id="rId46" Type="http://schemas.openxmlformats.org/officeDocument/2006/relationships/slideLayout" Target="../slideLayouts/slideLayout217.xml"/><Relationship Id="rId59" Type="http://schemas.openxmlformats.org/officeDocument/2006/relationships/slideLayout" Target="../slideLayouts/slideLayout230.xml"/><Relationship Id="rId67" Type="http://schemas.openxmlformats.org/officeDocument/2006/relationships/slideLayout" Target="../slideLayouts/slideLayout238.xml"/><Relationship Id="rId20" Type="http://schemas.openxmlformats.org/officeDocument/2006/relationships/slideLayout" Target="../slideLayouts/slideLayout191.xml"/><Relationship Id="rId41" Type="http://schemas.openxmlformats.org/officeDocument/2006/relationships/slideLayout" Target="../slideLayouts/slideLayout212.xml"/><Relationship Id="rId54" Type="http://schemas.openxmlformats.org/officeDocument/2006/relationships/slideLayout" Target="../slideLayouts/slideLayout225.xml"/><Relationship Id="rId62" Type="http://schemas.openxmlformats.org/officeDocument/2006/relationships/slideLayout" Target="../slideLayouts/slideLayout233.xml"/><Relationship Id="rId70" Type="http://schemas.openxmlformats.org/officeDocument/2006/relationships/slideLayout" Target="../slideLayouts/slideLayout241.xml"/><Relationship Id="rId1" Type="http://schemas.openxmlformats.org/officeDocument/2006/relationships/slideLayout" Target="../slideLayouts/slideLayout172.xml"/><Relationship Id="rId6" Type="http://schemas.openxmlformats.org/officeDocument/2006/relationships/slideLayout" Target="../slideLayouts/slideLayout177.xml"/><Relationship Id="rId15" Type="http://schemas.openxmlformats.org/officeDocument/2006/relationships/slideLayout" Target="../slideLayouts/slideLayout186.xml"/><Relationship Id="rId23" Type="http://schemas.openxmlformats.org/officeDocument/2006/relationships/slideLayout" Target="../slideLayouts/slideLayout194.xml"/><Relationship Id="rId28" Type="http://schemas.openxmlformats.org/officeDocument/2006/relationships/slideLayout" Target="../slideLayouts/slideLayout199.xml"/><Relationship Id="rId36" Type="http://schemas.openxmlformats.org/officeDocument/2006/relationships/slideLayout" Target="../slideLayouts/slideLayout207.xml"/><Relationship Id="rId49" Type="http://schemas.openxmlformats.org/officeDocument/2006/relationships/slideLayout" Target="../slideLayouts/slideLayout220.xml"/><Relationship Id="rId57" Type="http://schemas.openxmlformats.org/officeDocument/2006/relationships/slideLayout" Target="../slideLayouts/slideLayout228.xml"/><Relationship Id="rId10" Type="http://schemas.openxmlformats.org/officeDocument/2006/relationships/slideLayout" Target="../slideLayouts/slideLayout181.xml"/><Relationship Id="rId31" Type="http://schemas.openxmlformats.org/officeDocument/2006/relationships/slideLayout" Target="../slideLayouts/slideLayout202.xml"/><Relationship Id="rId44" Type="http://schemas.openxmlformats.org/officeDocument/2006/relationships/slideLayout" Target="../slideLayouts/slideLayout215.xml"/><Relationship Id="rId52" Type="http://schemas.openxmlformats.org/officeDocument/2006/relationships/slideLayout" Target="../slideLayouts/slideLayout223.xml"/><Relationship Id="rId60" Type="http://schemas.openxmlformats.org/officeDocument/2006/relationships/slideLayout" Target="../slideLayouts/slideLayout231.xml"/><Relationship Id="rId65" Type="http://schemas.openxmlformats.org/officeDocument/2006/relationships/slideLayout" Target="../slideLayouts/slideLayout236.xml"/><Relationship Id="rId73" Type="http://schemas.microsoft.com/office/2007/relationships/hdphoto" Target="../media/hdphoto1.wdp"/><Relationship Id="rId4" Type="http://schemas.openxmlformats.org/officeDocument/2006/relationships/slideLayout" Target="../slideLayouts/slideLayout175.xml"/><Relationship Id="rId9" Type="http://schemas.openxmlformats.org/officeDocument/2006/relationships/slideLayout" Target="../slideLayouts/slideLayout180.xml"/><Relationship Id="rId13" Type="http://schemas.openxmlformats.org/officeDocument/2006/relationships/slideLayout" Target="../slideLayouts/slideLayout184.xml"/><Relationship Id="rId18" Type="http://schemas.openxmlformats.org/officeDocument/2006/relationships/slideLayout" Target="../slideLayouts/slideLayout189.xml"/><Relationship Id="rId39" Type="http://schemas.openxmlformats.org/officeDocument/2006/relationships/slideLayout" Target="../slideLayouts/slideLayout210.xml"/><Relationship Id="rId34" Type="http://schemas.openxmlformats.org/officeDocument/2006/relationships/slideLayout" Target="../slideLayouts/slideLayout205.xml"/><Relationship Id="rId50" Type="http://schemas.openxmlformats.org/officeDocument/2006/relationships/slideLayout" Target="../slideLayouts/slideLayout221.xml"/><Relationship Id="rId55" Type="http://schemas.openxmlformats.org/officeDocument/2006/relationships/slideLayout" Target="../slideLayouts/slideLayout226.xml"/><Relationship Id="rId7" Type="http://schemas.openxmlformats.org/officeDocument/2006/relationships/slideLayout" Target="../slideLayouts/slideLayout178.xml"/><Relationship Id="rId71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7.xml"/><Relationship Id="rId21" Type="http://schemas.openxmlformats.org/officeDocument/2006/relationships/slideLayout" Target="../slideLayouts/slideLayout262.xml"/><Relationship Id="rId42" Type="http://schemas.openxmlformats.org/officeDocument/2006/relationships/slideLayout" Target="../slideLayouts/slideLayout283.xml"/><Relationship Id="rId47" Type="http://schemas.openxmlformats.org/officeDocument/2006/relationships/slideLayout" Target="../slideLayouts/slideLayout288.xml"/><Relationship Id="rId63" Type="http://schemas.openxmlformats.org/officeDocument/2006/relationships/slideLayout" Target="../slideLayouts/slideLayout304.xml"/><Relationship Id="rId68" Type="http://schemas.openxmlformats.org/officeDocument/2006/relationships/slideLayout" Target="../slideLayouts/slideLayout309.xml"/><Relationship Id="rId7" Type="http://schemas.openxmlformats.org/officeDocument/2006/relationships/slideLayout" Target="../slideLayouts/slideLayout248.xml"/><Relationship Id="rId71" Type="http://schemas.microsoft.com/office/2007/relationships/hdphoto" Target="../media/hdphoto2.wdp"/><Relationship Id="rId2" Type="http://schemas.openxmlformats.org/officeDocument/2006/relationships/slideLayout" Target="../slideLayouts/slideLayout243.xml"/><Relationship Id="rId16" Type="http://schemas.openxmlformats.org/officeDocument/2006/relationships/slideLayout" Target="../slideLayouts/slideLayout257.xml"/><Relationship Id="rId29" Type="http://schemas.openxmlformats.org/officeDocument/2006/relationships/slideLayout" Target="../slideLayouts/slideLayout270.xml"/><Relationship Id="rId11" Type="http://schemas.openxmlformats.org/officeDocument/2006/relationships/slideLayout" Target="../slideLayouts/slideLayout252.xml"/><Relationship Id="rId24" Type="http://schemas.openxmlformats.org/officeDocument/2006/relationships/slideLayout" Target="../slideLayouts/slideLayout265.xml"/><Relationship Id="rId32" Type="http://schemas.openxmlformats.org/officeDocument/2006/relationships/slideLayout" Target="../slideLayouts/slideLayout273.xml"/><Relationship Id="rId37" Type="http://schemas.openxmlformats.org/officeDocument/2006/relationships/slideLayout" Target="../slideLayouts/slideLayout278.xml"/><Relationship Id="rId40" Type="http://schemas.openxmlformats.org/officeDocument/2006/relationships/slideLayout" Target="../slideLayouts/slideLayout281.xml"/><Relationship Id="rId45" Type="http://schemas.openxmlformats.org/officeDocument/2006/relationships/slideLayout" Target="../slideLayouts/slideLayout286.xml"/><Relationship Id="rId53" Type="http://schemas.openxmlformats.org/officeDocument/2006/relationships/slideLayout" Target="../slideLayouts/slideLayout294.xml"/><Relationship Id="rId58" Type="http://schemas.openxmlformats.org/officeDocument/2006/relationships/slideLayout" Target="../slideLayouts/slideLayout299.xml"/><Relationship Id="rId66" Type="http://schemas.openxmlformats.org/officeDocument/2006/relationships/slideLayout" Target="../slideLayouts/slideLayout307.xml"/><Relationship Id="rId5" Type="http://schemas.openxmlformats.org/officeDocument/2006/relationships/slideLayout" Target="../slideLayouts/slideLayout246.xml"/><Relationship Id="rId61" Type="http://schemas.openxmlformats.org/officeDocument/2006/relationships/slideLayout" Target="../slideLayouts/slideLayout302.xml"/><Relationship Id="rId19" Type="http://schemas.openxmlformats.org/officeDocument/2006/relationships/slideLayout" Target="../slideLayouts/slideLayout260.xml"/><Relationship Id="rId14" Type="http://schemas.openxmlformats.org/officeDocument/2006/relationships/slideLayout" Target="../slideLayouts/slideLayout255.xml"/><Relationship Id="rId22" Type="http://schemas.openxmlformats.org/officeDocument/2006/relationships/slideLayout" Target="../slideLayouts/slideLayout263.xml"/><Relationship Id="rId27" Type="http://schemas.openxmlformats.org/officeDocument/2006/relationships/slideLayout" Target="../slideLayouts/slideLayout268.xml"/><Relationship Id="rId30" Type="http://schemas.openxmlformats.org/officeDocument/2006/relationships/slideLayout" Target="../slideLayouts/slideLayout271.xml"/><Relationship Id="rId35" Type="http://schemas.openxmlformats.org/officeDocument/2006/relationships/slideLayout" Target="../slideLayouts/slideLayout276.xml"/><Relationship Id="rId43" Type="http://schemas.openxmlformats.org/officeDocument/2006/relationships/slideLayout" Target="../slideLayouts/slideLayout284.xml"/><Relationship Id="rId48" Type="http://schemas.openxmlformats.org/officeDocument/2006/relationships/slideLayout" Target="../slideLayouts/slideLayout289.xml"/><Relationship Id="rId56" Type="http://schemas.openxmlformats.org/officeDocument/2006/relationships/slideLayout" Target="../slideLayouts/slideLayout297.xml"/><Relationship Id="rId64" Type="http://schemas.openxmlformats.org/officeDocument/2006/relationships/slideLayout" Target="../slideLayouts/slideLayout305.xml"/><Relationship Id="rId69" Type="http://schemas.openxmlformats.org/officeDocument/2006/relationships/theme" Target="../theme/theme5.xml"/><Relationship Id="rId8" Type="http://schemas.openxmlformats.org/officeDocument/2006/relationships/slideLayout" Target="../slideLayouts/slideLayout249.xml"/><Relationship Id="rId51" Type="http://schemas.openxmlformats.org/officeDocument/2006/relationships/slideLayout" Target="../slideLayouts/slideLayout292.xml"/><Relationship Id="rId3" Type="http://schemas.openxmlformats.org/officeDocument/2006/relationships/slideLayout" Target="../slideLayouts/slideLayout244.xml"/><Relationship Id="rId12" Type="http://schemas.openxmlformats.org/officeDocument/2006/relationships/slideLayout" Target="../slideLayouts/slideLayout253.xml"/><Relationship Id="rId17" Type="http://schemas.openxmlformats.org/officeDocument/2006/relationships/slideLayout" Target="../slideLayouts/slideLayout258.xml"/><Relationship Id="rId25" Type="http://schemas.openxmlformats.org/officeDocument/2006/relationships/slideLayout" Target="../slideLayouts/slideLayout266.xml"/><Relationship Id="rId33" Type="http://schemas.openxmlformats.org/officeDocument/2006/relationships/slideLayout" Target="../slideLayouts/slideLayout274.xml"/><Relationship Id="rId38" Type="http://schemas.openxmlformats.org/officeDocument/2006/relationships/slideLayout" Target="../slideLayouts/slideLayout279.xml"/><Relationship Id="rId46" Type="http://schemas.openxmlformats.org/officeDocument/2006/relationships/slideLayout" Target="../slideLayouts/slideLayout287.xml"/><Relationship Id="rId59" Type="http://schemas.openxmlformats.org/officeDocument/2006/relationships/slideLayout" Target="../slideLayouts/slideLayout300.xml"/><Relationship Id="rId67" Type="http://schemas.openxmlformats.org/officeDocument/2006/relationships/slideLayout" Target="../slideLayouts/slideLayout308.xml"/><Relationship Id="rId20" Type="http://schemas.openxmlformats.org/officeDocument/2006/relationships/slideLayout" Target="../slideLayouts/slideLayout261.xml"/><Relationship Id="rId41" Type="http://schemas.openxmlformats.org/officeDocument/2006/relationships/slideLayout" Target="../slideLayouts/slideLayout282.xml"/><Relationship Id="rId54" Type="http://schemas.openxmlformats.org/officeDocument/2006/relationships/slideLayout" Target="../slideLayouts/slideLayout295.xml"/><Relationship Id="rId62" Type="http://schemas.openxmlformats.org/officeDocument/2006/relationships/slideLayout" Target="../slideLayouts/slideLayout303.xml"/><Relationship Id="rId70" Type="http://schemas.openxmlformats.org/officeDocument/2006/relationships/image" Target="../media/image43.png"/><Relationship Id="rId1" Type="http://schemas.openxmlformats.org/officeDocument/2006/relationships/slideLayout" Target="../slideLayouts/slideLayout242.xml"/><Relationship Id="rId6" Type="http://schemas.openxmlformats.org/officeDocument/2006/relationships/slideLayout" Target="../slideLayouts/slideLayout247.xml"/><Relationship Id="rId15" Type="http://schemas.openxmlformats.org/officeDocument/2006/relationships/slideLayout" Target="../slideLayouts/slideLayout256.xml"/><Relationship Id="rId23" Type="http://schemas.openxmlformats.org/officeDocument/2006/relationships/slideLayout" Target="../slideLayouts/slideLayout264.xml"/><Relationship Id="rId28" Type="http://schemas.openxmlformats.org/officeDocument/2006/relationships/slideLayout" Target="../slideLayouts/slideLayout269.xml"/><Relationship Id="rId36" Type="http://schemas.openxmlformats.org/officeDocument/2006/relationships/slideLayout" Target="../slideLayouts/slideLayout277.xml"/><Relationship Id="rId49" Type="http://schemas.openxmlformats.org/officeDocument/2006/relationships/slideLayout" Target="../slideLayouts/slideLayout290.xml"/><Relationship Id="rId57" Type="http://schemas.openxmlformats.org/officeDocument/2006/relationships/slideLayout" Target="../slideLayouts/slideLayout298.xml"/><Relationship Id="rId10" Type="http://schemas.openxmlformats.org/officeDocument/2006/relationships/slideLayout" Target="../slideLayouts/slideLayout251.xml"/><Relationship Id="rId31" Type="http://schemas.openxmlformats.org/officeDocument/2006/relationships/slideLayout" Target="../slideLayouts/slideLayout272.xml"/><Relationship Id="rId44" Type="http://schemas.openxmlformats.org/officeDocument/2006/relationships/slideLayout" Target="../slideLayouts/slideLayout285.xml"/><Relationship Id="rId52" Type="http://schemas.openxmlformats.org/officeDocument/2006/relationships/slideLayout" Target="../slideLayouts/slideLayout293.xml"/><Relationship Id="rId60" Type="http://schemas.openxmlformats.org/officeDocument/2006/relationships/slideLayout" Target="../slideLayouts/slideLayout301.xml"/><Relationship Id="rId65" Type="http://schemas.openxmlformats.org/officeDocument/2006/relationships/slideLayout" Target="../slideLayouts/slideLayout306.xml"/><Relationship Id="rId4" Type="http://schemas.openxmlformats.org/officeDocument/2006/relationships/slideLayout" Target="../slideLayouts/slideLayout245.xml"/><Relationship Id="rId9" Type="http://schemas.openxmlformats.org/officeDocument/2006/relationships/slideLayout" Target="../slideLayouts/slideLayout250.xml"/><Relationship Id="rId13" Type="http://schemas.openxmlformats.org/officeDocument/2006/relationships/slideLayout" Target="../slideLayouts/slideLayout254.xml"/><Relationship Id="rId18" Type="http://schemas.openxmlformats.org/officeDocument/2006/relationships/slideLayout" Target="../slideLayouts/slideLayout259.xml"/><Relationship Id="rId39" Type="http://schemas.openxmlformats.org/officeDocument/2006/relationships/slideLayout" Target="../slideLayouts/slideLayout280.xml"/><Relationship Id="rId34" Type="http://schemas.openxmlformats.org/officeDocument/2006/relationships/slideLayout" Target="../slideLayouts/slideLayout275.xml"/><Relationship Id="rId50" Type="http://schemas.openxmlformats.org/officeDocument/2006/relationships/slideLayout" Target="../slideLayouts/slideLayout291.xml"/><Relationship Id="rId55" Type="http://schemas.openxmlformats.org/officeDocument/2006/relationships/slideLayout" Target="../slideLayouts/slideLayout296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7.xml"/><Relationship Id="rId13" Type="http://schemas.openxmlformats.org/officeDocument/2006/relationships/slideLayout" Target="../slideLayouts/slideLayout322.xml"/><Relationship Id="rId18" Type="http://schemas.openxmlformats.org/officeDocument/2006/relationships/slideLayout" Target="../slideLayouts/slideLayout327.xml"/><Relationship Id="rId3" Type="http://schemas.openxmlformats.org/officeDocument/2006/relationships/slideLayout" Target="../slideLayouts/slideLayout312.xml"/><Relationship Id="rId21" Type="http://schemas.openxmlformats.org/officeDocument/2006/relationships/image" Target="../media/image24.emf"/><Relationship Id="rId7" Type="http://schemas.openxmlformats.org/officeDocument/2006/relationships/slideLayout" Target="../slideLayouts/slideLayout316.xml"/><Relationship Id="rId12" Type="http://schemas.openxmlformats.org/officeDocument/2006/relationships/slideLayout" Target="../slideLayouts/slideLayout321.xml"/><Relationship Id="rId17" Type="http://schemas.openxmlformats.org/officeDocument/2006/relationships/slideLayout" Target="../slideLayouts/slideLayout326.xml"/><Relationship Id="rId2" Type="http://schemas.openxmlformats.org/officeDocument/2006/relationships/slideLayout" Target="../slideLayouts/slideLayout311.xml"/><Relationship Id="rId16" Type="http://schemas.openxmlformats.org/officeDocument/2006/relationships/slideLayout" Target="../slideLayouts/slideLayout325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310.xml"/><Relationship Id="rId6" Type="http://schemas.openxmlformats.org/officeDocument/2006/relationships/slideLayout" Target="../slideLayouts/slideLayout315.xml"/><Relationship Id="rId11" Type="http://schemas.openxmlformats.org/officeDocument/2006/relationships/slideLayout" Target="../slideLayouts/slideLayout320.xml"/><Relationship Id="rId5" Type="http://schemas.openxmlformats.org/officeDocument/2006/relationships/slideLayout" Target="../slideLayouts/slideLayout314.xml"/><Relationship Id="rId15" Type="http://schemas.openxmlformats.org/officeDocument/2006/relationships/slideLayout" Target="../slideLayouts/slideLayout324.xml"/><Relationship Id="rId10" Type="http://schemas.openxmlformats.org/officeDocument/2006/relationships/slideLayout" Target="../slideLayouts/slideLayout319.xml"/><Relationship Id="rId19" Type="http://schemas.openxmlformats.org/officeDocument/2006/relationships/slideLayout" Target="../slideLayouts/slideLayout328.xml"/><Relationship Id="rId4" Type="http://schemas.openxmlformats.org/officeDocument/2006/relationships/slideLayout" Target="../slideLayouts/slideLayout313.xml"/><Relationship Id="rId9" Type="http://schemas.openxmlformats.org/officeDocument/2006/relationships/slideLayout" Target="../slideLayouts/slideLayout318.xml"/><Relationship Id="rId14" Type="http://schemas.openxmlformats.org/officeDocument/2006/relationships/slideLayout" Target="../slideLayouts/slideLayout323.xml"/></Relationships>
</file>

<file path=ppt/slideMasters/_rels/slideMaster7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354.xml"/><Relationship Id="rId21" Type="http://schemas.openxmlformats.org/officeDocument/2006/relationships/slideLayout" Target="../slideLayouts/slideLayout349.xml"/><Relationship Id="rId42" Type="http://schemas.openxmlformats.org/officeDocument/2006/relationships/slideLayout" Target="../slideLayouts/slideLayout370.xml"/><Relationship Id="rId47" Type="http://schemas.openxmlformats.org/officeDocument/2006/relationships/slideLayout" Target="../slideLayouts/slideLayout375.xml"/><Relationship Id="rId63" Type="http://schemas.openxmlformats.org/officeDocument/2006/relationships/slideLayout" Target="../slideLayouts/slideLayout391.xml"/><Relationship Id="rId68" Type="http://schemas.openxmlformats.org/officeDocument/2006/relationships/slideLayout" Target="../slideLayouts/slideLayout396.xml"/><Relationship Id="rId7" Type="http://schemas.openxmlformats.org/officeDocument/2006/relationships/slideLayout" Target="../slideLayouts/slideLayout335.xml"/><Relationship Id="rId71" Type="http://schemas.openxmlformats.org/officeDocument/2006/relationships/image" Target="../media/image64.png"/><Relationship Id="rId2" Type="http://schemas.openxmlformats.org/officeDocument/2006/relationships/slideLayout" Target="../slideLayouts/slideLayout330.xml"/><Relationship Id="rId16" Type="http://schemas.openxmlformats.org/officeDocument/2006/relationships/slideLayout" Target="../slideLayouts/slideLayout344.xml"/><Relationship Id="rId29" Type="http://schemas.openxmlformats.org/officeDocument/2006/relationships/slideLayout" Target="../slideLayouts/slideLayout357.xml"/><Relationship Id="rId11" Type="http://schemas.openxmlformats.org/officeDocument/2006/relationships/slideLayout" Target="../slideLayouts/slideLayout339.xml"/><Relationship Id="rId24" Type="http://schemas.openxmlformats.org/officeDocument/2006/relationships/slideLayout" Target="../slideLayouts/slideLayout352.xml"/><Relationship Id="rId32" Type="http://schemas.openxmlformats.org/officeDocument/2006/relationships/slideLayout" Target="../slideLayouts/slideLayout360.xml"/><Relationship Id="rId37" Type="http://schemas.openxmlformats.org/officeDocument/2006/relationships/slideLayout" Target="../slideLayouts/slideLayout365.xml"/><Relationship Id="rId40" Type="http://schemas.openxmlformats.org/officeDocument/2006/relationships/slideLayout" Target="../slideLayouts/slideLayout368.xml"/><Relationship Id="rId45" Type="http://schemas.openxmlformats.org/officeDocument/2006/relationships/slideLayout" Target="../slideLayouts/slideLayout373.xml"/><Relationship Id="rId53" Type="http://schemas.openxmlformats.org/officeDocument/2006/relationships/slideLayout" Target="../slideLayouts/slideLayout381.xml"/><Relationship Id="rId58" Type="http://schemas.openxmlformats.org/officeDocument/2006/relationships/slideLayout" Target="../slideLayouts/slideLayout386.xml"/><Relationship Id="rId66" Type="http://schemas.openxmlformats.org/officeDocument/2006/relationships/slideLayout" Target="../slideLayouts/slideLayout394.xml"/><Relationship Id="rId5" Type="http://schemas.openxmlformats.org/officeDocument/2006/relationships/slideLayout" Target="../slideLayouts/slideLayout333.xml"/><Relationship Id="rId61" Type="http://schemas.openxmlformats.org/officeDocument/2006/relationships/slideLayout" Target="../slideLayouts/slideLayout389.xml"/><Relationship Id="rId19" Type="http://schemas.openxmlformats.org/officeDocument/2006/relationships/slideLayout" Target="../slideLayouts/slideLayout347.xml"/><Relationship Id="rId14" Type="http://schemas.openxmlformats.org/officeDocument/2006/relationships/slideLayout" Target="../slideLayouts/slideLayout342.xml"/><Relationship Id="rId22" Type="http://schemas.openxmlformats.org/officeDocument/2006/relationships/slideLayout" Target="../slideLayouts/slideLayout350.xml"/><Relationship Id="rId27" Type="http://schemas.openxmlformats.org/officeDocument/2006/relationships/slideLayout" Target="../slideLayouts/slideLayout355.xml"/><Relationship Id="rId30" Type="http://schemas.openxmlformats.org/officeDocument/2006/relationships/slideLayout" Target="../slideLayouts/slideLayout358.xml"/><Relationship Id="rId35" Type="http://schemas.openxmlformats.org/officeDocument/2006/relationships/slideLayout" Target="../slideLayouts/slideLayout363.xml"/><Relationship Id="rId43" Type="http://schemas.openxmlformats.org/officeDocument/2006/relationships/slideLayout" Target="../slideLayouts/slideLayout371.xml"/><Relationship Id="rId48" Type="http://schemas.openxmlformats.org/officeDocument/2006/relationships/slideLayout" Target="../slideLayouts/slideLayout376.xml"/><Relationship Id="rId56" Type="http://schemas.openxmlformats.org/officeDocument/2006/relationships/slideLayout" Target="../slideLayouts/slideLayout384.xml"/><Relationship Id="rId64" Type="http://schemas.openxmlformats.org/officeDocument/2006/relationships/slideLayout" Target="../slideLayouts/slideLayout392.xml"/><Relationship Id="rId69" Type="http://schemas.openxmlformats.org/officeDocument/2006/relationships/theme" Target="../theme/theme7.xml"/><Relationship Id="rId8" Type="http://schemas.openxmlformats.org/officeDocument/2006/relationships/slideLayout" Target="../slideLayouts/slideLayout336.xml"/><Relationship Id="rId51" Type="http://schemas.openxmlformats.org/officeDocument/2006/relationships/slideLayout" Target="../slideLayouts/slideLayout379.xml"/><Relationship Id="rId72" Type="http://schemas.openxmlformats.org/officeDocument/2006/relationships/image" Target="../media/image65.svg"/><Relationship Id="rId3" Type="http://schemas.openxmlformats.org/officeDocument/2006/relationships/slideLayout" Target="../slideLayouts/slideLayout331.xml"/><Relationship Id="rId12" Type="http://schemas.openxmlformats.org/officeDocument/2006/relationships/slideLayout" Target="../slideLayouts/slideLayout340.xml"/><Relationship Id="rId17" Type="http://schemas.openxmlformats.org/officeDocument/2006/relationships/slideLayout" Target="../slideLayouts/slideLayout345.xml"/><Relationship Id="rId25" Type="http://schemas.openxmlformats.org/officeDocument/2006/relationships/slideLayout" Target="../slideLayouts/slideLayout353.xml"/><Relationship Id="rId33" Type="http://schemas.openxmlformats.org/officeDocument/2006/relationships/slideLayout" Target="../slideLayouts/slideLayout361.xml"/><Relationship Id="rId38" Type="http://schemas.openxmlformats.org/officeDocument/2006/relationships/slideLayout" Target="../slideLayouts/slideLayout366.xml"/><Relationship Id="rId46" Type="http://schemas.openxmlformats.org/officeDocument/2006/relationships/slideLayout" Target="../slideLayouts/slideLayout374.xml"/><Relationship Id="rId59" Type="http://schemas.openxmlformats.org/officeDocument/2006/relationships/slideLayout" Target="../slideLayouts/slideLayout387.xml"/><Relationship Id="rId67" Type="http://schemas.openxmlformats.org/officeDocument/2006/relationships/slideLayout" Target="../slideLayouts/slideLayout395.xml"/><Relationship Id="rId20" Type="http://schemas.openxmlformats.org/officeDocument/2006/relationships/slideLayout" Target="../slideLayouts/slideLayout348.xml"/><Relationship Id="rId41" Type="http://schemas.openxmlformats.org/officeDocument/2006/relationships/slideLayout" Target="../slideLayouts/slideLayout369.xml"/><Relationship Id="rId54" Type="http://schemas.openxmlformats.org/officeDocument/2006/relationships/slideLayout" Target="../slideLayouts/slideLayout382.xml"/><Relationship Id="rId62" Type="http://schemas.openxmlformats.org/officeDocument/2006/relationships/slideLayout" Target="../slideLayouts/slideLayout390.xml"/><Relationship Id="rId70" Type="http://schemas.openxmlformats.org/officeDocument/2006/relationships/image" Target="../media/image63.png"/><Relationship Id="rId1" Type="http://schemas.openxmlformats.org/officeDocument/2006/relationships/slideLayout" Target="../slideLayouts/slideLayout329.xml"/><Relationship Id="rId6" Type="http://schemas.openxmlformats.org/officeDocument/2006/relationships/slideLayout" Target="../slideLayouts/slideLayout334.xml"/><Relationship Id="rId15" Type="http://schemas.openxmlformats.org/officeDocument/2006/relationships/slideLayout" Target="../slideLayouts/slideLayout343.xml"/><Relationship Id="rId23" Type="http://schemas.openxmlformats.org/officeDocument/2006/relationships/slideLayout" Target="../slideLayouts/slideLayout351.xml"/><Relationship Id="rId28" Type="http://schemas.openxmlformats.org/officeDocument/2006/relationships/slideLayout" Target="../slideLayouts/slideLayout356.xml"/><Relationship Id="rId36" Type="http://schemas.openxmlformats.org/officeDocument/2006/relationships/slideLayout" Target="../slideLayouts/slideLayout364.xml"/><Relationship Id="rId49" Type="http://schemas.openxmlformats.org/officeDocument/2006/relationships/slideLayout" Target="../slideLayouts/slideLayout377.xml"/><Relationship Id="rId57" Type="http://schemas.openxmlformats.org/officeDocument/2006/relationships/slideLayout" Target="../slideLayouts/slideLayout385.xml"/><Relationship Id="rId10" Type="http://schemas.openxmlformats.org/officeDocument/2006/relationships/slideLayout" Target="../slideLayouts/slideLayout338.xml"/><Relationship Id="rId31" Type="http://schemas.openxmlformats.org/officeDocument/2006/relationships/slideLayout" Target="../slideLayouts/slideLayout359.xml"/><Relationship Id="rId44" Type="http://schemas.openxmlformats.org/officeDocument/2006/relationships/slideLayout" Target="../slideLayouts/slideLayout372.xml"/><Relationship Id="rId52" Type="http://schemas.openxmlformats.org/officeDocument/2006/relationships/slideLayout" Target="../slideLayouts/slideLayout380.xml"/><Relationship Id="rId60" Type="http://schemas.openxmlformats.org/officeDocument/2006/relationships/slideLayout" Target="../slideLayouts/slideLayout388.xml"/><Relationship Id="rId65" Type="http://schemas.openxmlformats.org/officeDocument/2006/relationships/slideLayout" Target="../slideLayouts/slideLayout393.xml"/><Relationship Id="rId4" Type="http://schemas.openxmlformats.org/officeDocument/2006/relationships/slideLayout" Target="../slideLayouts/slideLayout332.xml"/><Relationship Id="rId9" Type="http://schemas.openxmlformats.org/officeDocument/2006/relationships/slideLayout" Target="../slideLayouts/slideLayout337.xml"/><Relationship Id="rId13" Type="http://schemas.openxmlformats.org/officeDocument/2006/relationships/slideLayout" Target="../slideLayouts/slideLayout341.xml"/><Relationship Id="rId18" Type="http://schemas.openxmlformats.org/officeDocument/2006/relationships/slideLayout" Target="../slideLayouts/slideLayout346.xml"/><Relationship Id="rId39" Type="http://schemas.openxmlformats.org/officeDocument/2006/relationships/slideLayout" Target="../slideLayouts/slideLayout367.xml"/><Relationship Id="rId34" Type="http://schemas.openxmlformats.org/officeDocument/2006/relationships/slideLayout" Target="../slideLayouts/slideLayout362.xml"/><Relationship Id="rId50" Type="http://schemas.openxmlformats.org/officeDocument/2006/relationships/slideLayout" Target="../slideLayouts/slideLayout378.xml"/><Relationship Id="rId55" Type="http://schemas.openxmlformats.org/officeDocument/2006/relationships/slideLayout" Target="../slideLayouts/slideLayout383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09.xml"/><Relationship Id="rId18" Type="http://schemas.openxmlformats.org/officeDocument/2006/relationships/slideLayout" Target="../slideLayouts/slideLayout414.xml"/><Relationship Id="rId26" Type="http://schemas.openxmlformats.org/officeDocument/2006/relationships/slideLayout" Target="../slideLayouts/slideLayout422.xml"/><Relationship Id="rId39" Type="http://schemas.openxmlformats.org/officeDocument/2006/relationships/slideLayout" Target="../slideLayouts/slideLayout435.xml"/><Relationship Id="rId21" Type="http://schemas.openxmlformats.org/officeDocument/2006/relationships/slideLayout" Target="../slideLayouts/slideLayout417.xml"/><Relationship Id="rId34" Type="http://schemas.openxmlformats.org/officeDocument/2006/relationships/slideLayout" Target="../slideLayouts/slideLayout430.xml"/><Relationship Id="rId42" Type="http://schemas.openxmlformats.org/officeDocument/2006/relationships/slideLayout" Target="../slideLayouts/slideLayout438.xml"/><Relationship Id="rId47" Type="http://schemas.openxmlformats.org/officeDocument/2006/relationships/slideLayout" Target="../slideLayouts/slideLayout443.xml"/><Relationship Id="rId50" Type="http://schemas.openxmlformats.org/officeDocument/2006/relationships/slideLayout" Target="../slideLayouts/slideLayout446.xml"/><Relationship Id="rId55" Type="http://schemas.openxmlformats.org/officeDocument/2006/relationships/theme" Target="../theme/theme8.xml"/><Relationship Id="rId7" Type="http://schemas.openxmlformats.org/officeDocument/2006/relationships/slideLayout" Target="../slideLayouts/slideLayout403.xml"/><Relationship Id="rId2" Type="http://schemas.openxmlformats.org/officeDocument/2006/relationships/slideLayout" Target="../slideLayouts/slideLayout398.xml"/><Relationship Id="rId16" Type="http://schemas.openxmlformats.org/officeDocument/2006/relationships/slideLayout" Target="../slideLayouts/slideLayout412.xml"/><Relationship Id="rId29" Type="http://schemas.openxmlformats.org/officeDocument/2006/relationships/slideLayout" Target="../slideLayouts/slideLayout425.xml"/><Relationship Id="rId11" Type="http://schemas.openxmlformats.org/officeDocument/2006/relationships/slideLayout" Target="../slideLayouts/slideLayout407.xml"/><Relationship Id="rId24" Type="http://schemas.openxmlformats.org/officeDocument/2006/relationships/slideLayout" Target="../slideLayouts/slideLayout420.xml"/><Relationship Id="rId32" Type="http://schemas.openxmlformats.org/officeDocument/2006/relationships/slideLayout" Target="../slideLayouts/slideLayout428.xml"/><Relationship Id="rId37" Type="http://schemas.openxmlformats.org/officeDocument/2006/relationships/slideLayout" Target="../slideLayouts/slideLayout433.xml"/><Relationship Id="rId40" Type="http://schemas.openxmlformats.org/officeDocument/2006/relationships/slideLayout" Target="../slideLayouts/slideLayout436.xml"/><Relationship Id="rId45" Type="http://schemas.openxmlformats.org/officeDocument/2006/relationships/slideLayout" Target="../slideLayouts/slideLayout441.xml"/><Relationship Id="rId53" Type="http://schemas.openxmlformats.org/officeDocument/2006/relationships/slideLayout" Target="../slideLayouts/slideLayout449.xml"/><Relationship Id="rId5" Type="http://schemas.openxmlformats.org/officeDocument/2006/relationships/slideLayout" Target="../slideLayouts/slideLayout401.xml"/><Relationship Id="rId19" Type="http://schemas.openxmlformats.org/officeDocument/2006/relationships/slideLayout" Target="../slideLayouts/slideLayout415.xml"/><Relationship Id="rId4" Type="http://schemas.openxmlformats.org/officeDocument/2006/relationships/slideLayout" Target="../slideLayouts/slideLayout400.xml"/><Relationship Id="rId9" Type="http://schemas.openxmlformats.org/officeDocument/2006/relationships/slideLayout" Target="../slideLayouts/slideLayout405.xml"/><Relationship Id="rId14" Type="http://schemas.openxmlformats.org/officeDocument/2006/relationships/slideLayout" Target="../slideLayouts/slideLayout410.xml"/><Relationship Id="rId22" Type="http://schemas.openxmlformats.org/officeDocument/2006/relationships/slideLayout" Target="../slideLayouts/slideLayout418.xml"/><Relationship Id="rId27" Type="http://schemas.openxmlformats.org/officeDocument/2006/relationships/slideLayout" Target="../slideLayouts/slideLayout423.xml"/><Relationship Id="rId30" Type="http://schemas.openxmlformats.org/officeDocument/2006/relationships/slideLayout" Target="../slideLayouts/slideLayout426.xml"/><Relationship Id="rId35" Type="http://schemas.openxmlformats.org/officeDocument/2006/relationships/slideLayout" Target="../slideLayouts/slideLayout431.xml"/><Relationship Id="rId43" Type="http://schemas.openxmlformats.org/officeDocument/2006/relationships/slideLayout" Target="../slideLayouts/slideLayout439.xml"/><Relationship Id="rId48" Type="http://schemas.openxmlformats.org/officeDocument/2006/relationships/slideLayout" Target="../slideLayouts/slideLayout444.xml"/><Relationship Id="rId56" Type="http://schemas.openxmlformats.org/officeDocument/2006/relationships/image" Target="../media/image64.png"/><Relationship Id="rId8" Type="http://schemas.openxmlformats.org/officeDocument/2006/relationships/slideLayout" Target="../slideLayouts/slideLayout404.xml"/><Relationship Id="rId51" Type="http://schemas.openxmlformats.org/officeDocument/2006/relationships/slideLayout" Target="../slideLayouts/slideLayout447.xml"/><Relationship Id="rId3" Type="http://schemas.openxmlformats.org/officeDocument/2006/relationships/slideLayout" Target="../slideLayouts/slideLayout399.xml"/><Relationship Id="rId12" Type="http://schemas.openxmlformats.org/officeDocument/2006/relationships/slideLayout" Target="../slideLayouts/slideLayout408.xml"/><Relationship Id="rId17" Type="http://schemas.openxmlformats.org/officeDocument/2006/relationships/slideLayout" Target="../slideLayouts/slideLayout413.xml"/><Relationship Id="rId25" Type="http://schemas.openxmlformats.org/officeDocument/2006/relationships/slideLayout" Target="../slideLayouts/slideLayout421.xml"/><Relationship Id="rId33" Type="http://schemas.openxmlformats.org/officeDocument/2006/relationships/slideLayout" Target="../slideLayouts/slideLayout429.xml"/><Relationship Id="rId38" Type="http://schemas.openxmlformats.org/officeDocument/2006/relationships/slideLayout" Target="../slideLayouts/slideLayout434.xml"/><Relationship Id="rId46" Type="http://schemas.openxmlformats.org/officeDocument/2006/relationships/slideLayout" Target="../slideLayouts/slideLayout442.xml"/><Relationship Id="rId20" Type="http://schemas.openxmlformats.org/officeDocument/2006/relationships/slideLayout" Target="../slideLayouts/slideLayout416.xml"/><Relationship Id="rId41" Type="http://schemas.openxmlformats.org/officeDocument/2006/relationships/slideLayout" Target="../slideLayouts/slideLayout437.xml"/><Relationship Id="rId54" Type="http://schemas.openxmlformats.org/officeDocument/2006/relationships/slideLayout" Target="../slideLayouts/slideLayout450.xml"/><Relationship Id="rId1" Type="http://schemas.openxmlformats.org/officeDocument/2006/relationships/slideLayout" Target="../slideLayouts/slideLayout397.xml"/><Relationship Id="rId6" Type="http://schemas.openxmlformats.org/officeDocument/2006/relationships/slideLayout" Target="../slideLayouts/slideLayout402.xml"/><Relationship Id="rId15" Type="http://schemas.openxmlformats.org/officeDocument/2006/relationships/slideLayout" Target="../slideLayouts/slideLayout411.xml"/><Relationship Id="rId23" Type="http://schemas.openxmlformats.org/officeDocument/2006/relationships/slideLayout" Target="../slideLayouts/slideLayout419.xml"/><Relationship Id="rId28" Type="http://schemas.openxmlformats.org/officeDocument/2006/relationships/slideLayout" Target="../slideLayouts/slideLayout424.xml"/><Relationship Id="rId36" Type="http://schemas.openxmlformats.org/officeDocument/2006/relationships/slideLayout" Target="../slideLayouts/slideLayout432.xml"/><Relationship Id="rId49" Type="http://schemas.openxmlformats.org/officeDocument/2006/relationships/slideLayout" Target="../slideLayouts/slideLayout445.xml"/><Relationship Id="rId57" Type="http://schemas.openxmlformats.org/officeDocument/2006/relationships/image" Target="../media/image65.svg"/><Relationship Id="rId10" Type="http://schemas.openxmlformats.org/officeDocument/2006/relationships/slideLayout" Target="../slideLayouts/slideLayout406.xml"/><Relationship Id="rId31" Type="http://schemas.openxmlformats.org/officeDocument/2006/relationships/slideLayout" Target="../slideLayouts/slideLayout427.xml"/><Relationship Id="rId44" Type="http://schemas.openxmlformats.org/officeDocument/2006/relationships/slideLayout" Target="../slideLayouts/slideLayout440.xml"/><Relationship Id="rId52" Type="http://schemas.openxmlformats.org/officeDocument/2006/relationships/slideLayout" Target="../slideLayouts/slideLayout448.xml"/></Relationships>
</file>

<file path=ppt/slideMasters/_rels/slideMaster9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63.xml"/><Relationship Id="rId18" Type="http://schemas.openxmlformats.org/officeDocument/2006/relationships/slideLayout" Target="../slideLayouts/slideLayout468.xml"/><Relationship Id="rId26" Type="http://schemas.openxmlformats.org/officeDocument/2006/relationships/slideLayout" Target="../slideLayouts/slideLayout476.xml"/><Relationship Id="rId39" Type="http://schemas.openxmlformats.org/officeDocument/2006/relationships/slideLayout" Target="../slideLayouts/slideLayout489.xml"/><Relationship Id="rId21" Type="http://schemas.openxmlformats.org/officeDocument/2006/relationships/slideLayout" Target="../slideLayouts/slideLayout471.xml"/><Relationship Id="rId34" Type="http://schemas.openxmlformats.org/officeDocument/2006/relationships/slideLayout" Target="../slideLayouts/slideLayout484.xml"/><Relationship Id="rId42" Type="http://schemas.openxmlformats.org/officeDocument/2006/relationships/slideLayout" Target="../slideLayouts/slideLayout492.xml"/><Relationship Id="rId47" Type="http://schemas.openxmlformats.org/officeDocument/2006/relationships/slideLayout" Target="../slideLayouts/slideLayout497.xml"/><Relationship Id="rId50" Type="http://schemas.openxmlformats.org/officeDocument/2006/relationships/slideLayout" Target="../slideLayouts/slideLayout500.xml"/><Relationship Id="rId55" Type="http://schemas.openxmlformats.org/officeDocument/2006/relationships/image" Target="../media/image64.png"/><Relationship Id="rId7" Type="http://schemas.openxmlformats.org/officeDocument/2006/relationships/slideLayout" Target="../slideLayouts/slideLayout457.xml"/><Relationship Id="rId2" Type="http://schemas.openxmlformats.org/officeDocument/2006/relationships/slideLayout" Target="../slideLayouts/slideLayout452.xml"/><Relationship Id="rId16" Type="http://schemas.openxmlformats.org/officeDocument/2006/relationships/slideLayout" Target="../slideLayouts/slideLayout466.xml"/><Relationship Id="rId29" Type="http://schemas.openxmlformats.org/officeDocument/2006/relationships/slideLayout" Target="../slideLayouts/slideLayout479.xml"/><Relationship Id="rId11" Type="http://schemas.openxmlformats.org/officeDocument/2006/relationships/slideLayout" Target="../slideLayouts/slideLayout461.xml"/><Relationship Id="rId24" Type="http://schemas.openxmlformats.org/officeDocument/2006/relationships/slideLayout" Target="../slideLayouts/slideLayout474.xml"/><Relationship Id="rId32" Type="http://schemas.openxmlformats.org/officeDocument/2006/relationships/slideLayout" Target="../slideLayouts/slideLayout482.xml"/><Relationship Id="rId37" Type="http://schemas.openxmlformats.org/officeDocument/2006/relationships/slideLayout" Target="../slideLayouts/slideLayout487.xml"/><Relationship Id="rId40" Type="http://schemas.openxmlformats.org/officeDocument/2006/relationships/slideLayout" Target="../slideLayouts/slideLayout490.xml"/><Relationship Id="rId45" Type="http://schemas.openxmlformats.org/officeDocument/2006/relationships/slideLayout" Target="../slideLayouts/slideLayout495.xml"/><Relationship Id="rId53" Type="http://schemas.openxmlformats.org/officeDocument/2006/relationships/slideLayout" Target="../slideLayouts/slideLayout503.xml"/><Relationship Id="rId5" Type="http://schemas.openxmlformats.org/officeDocument/2006/relationships/slideLayout" Target="../slideLayouts/slideLayout455.xml"/><Relationship Id="rId10" Type="http://schemas.openxmlformats.org/officeDocument/2006/relationships/slideLayout" Target="../slideLayouts/slideLayout460.xml"/><Relationship Id="rId19" Type="http://schemas.openxmlformats.org/officeDocument/2006/relationships/slideLayout" Target="../slideLayouts/slideLayout469.xml"/><Relationship Id="rId31" Type="http://schemas.openxmlformats.org/officeDocument/2006/relationships/slideLayout" Target="../slideLayouts/slideLayout481.xml"/><Relationship Id="rId44" Type="http://schemas.openxmlformats.org/officeDocument/2006/relationships/slideLayout" Target="../slideLayouts/slideLayout494.xml"/><Relationship Id="rId52" Type="http://schemas.openxmlformats.org/officeDocument/2006/relationships/slideLayout" Target="../slideLayouts/slideLayout502.xml"/><Relationship Id="rId4" Type="http://schemas.openxmlformats.org/officeDocument/2006/relationships/slideLayout" Target="../slideLayouts/slideLayout454.xml"/><Relationship Id="rId9" Type="http://schemas.openxmlformats.org/officeDocument/2006/relationships/slideLayout" Target="../slideLayouts/slideLayout459.xml"/><Relationship Id="rId14" Type="http://schemas.openxmlformats.org/officeDocument/2006/relationships/slideLayout" Target="../slideLayouts/slideLayout464.xml"/><Relationship Id="rId22" Type="http://schemas.openxmlformats.org/officeDocument/2006/relationships/slideLayout" Target="../slideLayouts/slideLayout472.xml"/><Relationship Id="rId27" Type="http://schemas.openxmlformats.org/officeDocument/2006/relationships/slideLayout" Target="../slideLayouts/slideLayout477.xml"/><Relationship Id="rId30" Type="http://schemas.openxmlformats.org/officeDocument/2006/relationships/slideLayout" Target="../slideLayouts/slideLayout480.xml"/><Relationship Id="rId35" Type="http://schemas.openxmlformats.org/officeDocument/2006/relationships/slideLayout" Target="../slideLayouts/slideLayout485.xml"/><Relationship Id="rId43" Type="http://schemas.openxmlformats.org/officeDocument/2006/relationships/slideLayout" Target="../slideLayouts/slideLayout493.xml"/><Relationship Id="rId48" Type="http://schemas.openxmlformats.org/officeDocument/2006/relationships/slideLayout" Target="../slideLayouts/slideLayout498.xml"/><Relationship Id="rId56" Type="http://schemas.openxmlformats.org/officeDocument/2006/relationships/image" Target="../media/image65.svg"/><Relationship Id="rId8" Type="http://schemas.openxmlformats.org/officeDocument/2006/relationships/slideLayout" Target="../slideLayouts/slideLayout458.xml"/><Relationship Id="rId51" Type="http://schemas.openxmlformats.org/officeDocument/2006/relationships/slideLayout" Target="../slideLayouts/slideLayout501.xml"/><Relationship Id="rId3" Type="http://schemas.openxmlformats.org/officeDocument/2006/relationships/slideLayout" Target="../slideLayouts/slideLayout453.xml"/><Relationship Id="rId12" Type="http://schemas.openxmlformats.org/officeDocument/2006/relationships/slideLayout" Target="../slideLayouts/slideLayout462.xml"/><Relationship Id="rId17" Type="http://schemas.openxmlformats.org/officeDocument/2006/relationships/slideLayout" Target="../slideLayouts/slideLayout467.xml"/><Relationship Id="rId25" Type="http://schemas.openxmlformats.org/officeDocument/2006/relationships/slideLayout" Target="../slideLayouts/slideLayout475.xml"/><Relationship Id="rId33" Type="http://schemas.openxmlformats.org/officeDocument/2006/relationships/slideLayout" Target="../slideLayouts/slideLayout483.xml"/><Relationship Id="rId38" Type="http://schemas.openxmlformats.org/officeDocument/2006/relationships/slideLayout" Target="../slideLayouts/slideLayout488.xml"/><Relationship Id="rId46" Type="http://schemas.openxmlformats.org/officeDocument/2006/relationships/slideLayout" Target="../slideLayouts/slideLayout496.xml"/><Relationship Id="rId20" Type="http://schemas.openxmlformats.org/officeDocument/2006/relationships/slideLayout" Target="../slideLayouts/slideLayout470.xml"/><Relationship Id="rId41" Type="http://schemas.openxmlformats.org/officeDocument/2006/relationships/slideLayout" Target="../slideLayouts/slideLayout491.xml"/><Relationship Id="rId54" Type="http://schemas.openxmlformats.org/officeDocument/2006/relationships/theme" Target="../theme/theme9.xml"/><Relationship Id="rId1" Type="http://schemas.openxmlformats.org/officeDocument/2006/relationships/slideLayout" Target="../slideLayouts/slideLayout451.xml"/><Relationship Id="rId6" Type="http://schemas.openxmlformats.org/officeDocument/2006/relationships/slideLayout" Target="../slideLayouts/slideLayout456.xml"/><Relationship Id="rId15" Type="http://schemas.openxmlformats.org/officeDocument/2006/relationships/slideLayout" Target="../slideLayouts/slideLayout465.xml"/><Relationship Id="rId23" Type="http://schemas.openxmlformats.org/officeDocument/2006/relationships/slideLayout" Target="../slideLayouts/slideLayout473.xml"/><Relationship Id="rId28" Type="http://schemas.openxmlformats.org/officeDocument/2006/relationships/slideLayout" Target="../slideLayouts/slideLayout478.xml"/><Relationship Id="rId36" Type="http://schemas.openxmlformats.org/officeDocument/2006/relationships/slideLayout" Target="../slideLayouts/slideLayout486.xml"/><Relationship Id="rId49" Type="http://schemas.openxmlformats.org/officeDocument/2006/relationships/slideLayout" Target="../slideLayouts/slideLayout49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47EC9D-596C-4E44-B83E-18AAA49AA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904" y="990601"/>
            <a:ext cx="11077296" cy="126135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E00F6-F701-4424-BC1C-C234A2D50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352" y="2431880"/>
            <a:ext cx="11077296" cy="3744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DB9C2F-AEDD-46EC-AC15-828A57E3BB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33559E-7ED2-43CE-955D-B8AD83F21F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8E091B7-206D-425C-8EC9-DD0ADFDEA73B}"/>
              </a:ext>
            </a:extLst>
          </p:cNvPr>
          <p:cNvPicPr>
            <a:picLocks noChangeAspect="1"/>
          </p:cNvPicPr>
          <p:nvPr/>
        </p:nvPicPr>
        <p:blipFill>
          <a:blip r:embed="rId70"/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51173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  <p:sldLayoutId id="2147483717" r:id="rId57"/>
    <p:sldLayoutId id="2147483718" r:id="rId58"/>
    <p:sldLayoutId id="2147483719" r:id="rId59"/>
    <p:sldLayoutId id="2147483720" r:id="rId60"/>
    <p:sldLayoutId id="2147483721" r:id="rId61"/>
    <p:sldLayoutId id="2147483722" r:id="rId62"/>
    <p:sldLayoutId id="2147483723" r:id="rId63"/>
    <p:sldLayoutId id="2147483724" r:id="rId64"/>
    <p:sldLayoutId id="2147483725" r:id="rId65"/>
    <p:sldLayoutId id="2147483726" r:id="rId66"/>
    <p:sldLayoutId id="2147483727" r:id="rId67"/>
    <p:sldLayoutId id="2147483798" r:id="rId68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txStyles>
    <p:titleStyle>
      <a:lvl1pPr algn="l" defTabSz="882171" rtl="0" eaLnBrk="1" latinLnBrk="0" hangingPunct="1">
        <a:lnSpc>
          <a:spcPct val="90000"/>
        </a:lnSpc>
        <a:spcBef>
          <a:spcPct val="0"/>
        </a:spcBef>
        <a:buNone/>
        <a:defRPr lang="en-US" sz="4267" b="0" i="0" kern="100" spc="-133" baseline="0" dirty="0">
          <a:solidFill>
            <a:schemeClr val="tx1"/>
          </a:solidFill>
          <a:latin typeface="CiscoSansTT" panose="020B0503020201020303" pitchFamily="34" charset="0"/>
          <a:ea typeface="+mj-ea"/>
          <a:cs typeface="+mj-cs"/>
        </a:defRPr>
      </a:lvl1pPr>
    </p:titleStyle>
    <p:bodyStyle>
      <a:lvl1pPr marL="0" indent="0" algn="l" defTabSz="882171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600" b="0" i="0" kern="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531271" indent="-228594" algn="l" defTabSz="882171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2pPr>
      <a:lvl3pPr marL="840296" indent="-232828" algn="l" defTabSz="882171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2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3pPr>
      <a:lvl4pPr marL="1142971" indent="-226478" algn="l" defTabSz="882171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800" b="0" i="0" kern="0" spc="0" baseline="0">
          <a:solidFill>
            <a:schemeClr val="tx1"/>
          </a:solidFill>
          <a:latin typeface="CiscoSansTT" panose="020B0503020201020303" pitchFamily="34" charset="0"/>
          <a:ea typeface="+mn-ea"/>
          <a:cs typeface="CiscoSansTT" panose="020B0503020201020303" pitchFamily="34" charset="0"/>
        </a:defRPr>
      </a:lvl4pPr>
      <a:lvl5pPr marL="1295368" marR="0" indent="-228594" algn="l" defTabSz="882171" rtl="0" eaLnBrk="1" fontAlgn="auto" latinLnBrk="0" hangingPunct="1">
        <a:lnSpc>
          <a:spcPct val="150000"/>
        </a:lnSpc>
        <a:spcBef>
          <a:spcPts val="0"/>
        </a:spcBef>
        <a:spcAft>
          <a:spcPts val="800"/>
        </a:spcAft>
        <a:buClrTx/>
        <a:buSzTx/>
        <a:buFont typeface="Arial" panose="020B0604020202020204" pitchFamily="34" charset="0"/>
        <a:buChar char="•"/>
        <a:tabLst/>
        <a:defRPr sz="667" b="0" i="0" kern="1200" spc="0" baseline="0">
          <a:solidFill>
            <a:schemeClr val="tx1"/>
          </a:solidFill>
          <a:latin typeface="CiscoSansTT Light" panose="020B0503020201020303" pitchFamily="34" charset="0"/>
          <a:ea typeface="+mn-ea"/>
          <a:cs typeface="+mn-cs"/>
        </a:defRPr>
      </a:lvl5pPr>
      <a:lvl6pPr marL="242597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867060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308145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74923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1pPr>
      <a:lvl2pPr marL="441088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2pPr>
      <a:lvl3pPr marL="882171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3pPr>
      <a:lvl4pPr marL="132325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4pPr>
      <a:lvl5pPr marL="1764344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5pPr>
      <a:lvl6pPr marL="2205432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646515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087603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52868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pos="5496">
          <p15:clr>
            <a:srgbClr val="F26B43"/>
          </p15:clr>
        </p15:guide>
        <p15:guide id="3" pos="264">
          <p15:clr>
            <a:srgbClr val="F26B43"/>
          </p15:clr>
        </p15:guide>
        <p15:guide id="4" orient="horz" pos="1620">
          <p15:clr>
            <a:srgbClr val="F26B43"/>
          </p15:clr>
        </p15:guide>
        <p15:guide id="5" orient="horz" pos="3060">
          <p15:clr>
            <a:srgbClr val="F26B43"/>
          </p15:clr>
        </p15:guide>
        <p15:guide id="6" orient="horz" pos="180">
          <p15:clr>
            <a:srgbClr val="F26B43"/>
          </p15:clr>
        </p15:guide>
        <p15:guide id="8" pos="2808">
          <p15:clr>
            <a:srgbClr val="F26B43"/>
          </p15:clr>
        </p15:guide>
        <p15:guide id="9" pos="2952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47EC9D-596C-4E44-B83E-18AAA49AA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0287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E00F6-F701-4424-BC1C-C234A2D50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1905000"/>
            <a:ext cx="110490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50EDDB-BE28-44D4-9435-5B2F3C7B1FB0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250997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7" r:id="rId3"/>
    <p:sldLayoutId id="2147484178" r:id="rId4"/>
    <p:sldLayoutId id="2147484179" r:id="rId5"/>
    <p:sldLayoutId id="2147484180" r:id="rId6"/>
    <p:sldLayoutId id="2147484181" r:id="rId7"/>
    <p:sldLayoutId id="2147484182" r:id="rId8"/>
    <p:sldLayoutId id="2147484183" r:id="rId9"/>
    <p:sldLayoutId id="2147484184" r:id="rId10"/>
    <p:sldLayoutId id="2147484185" r:id="rId11"/>
    <p:sldLayoutId id="2147484186" r:id="rId12"/>
    <p:sldLayoutId id="2147484187" r:id="rId13"/>
    <p:sldLayoutId id="2147484188" r:id="rId14"/>
    <p:sldLayoutId id="2147484189" r:id="rId15"/>
    <p:sldLayoutId id="2147484190" r:id="rId16"/>
    <p:sldLayoutId id="2147484191" r:id="rId17"/>
    <p:sldLayoutId id="2147484192" r:id="rId18"/>
    <p:sldLayoutId id="2147484193" r:id="rId19"/>
    <p:sldLayoutId id="2147484194" r:id="rId20"/>
    <p:sldLayoutId id="2147484195" r:id="rId21"/>
    <p:sldLayoutId id="2147484196" r:id="rId22"/>
    <p:sldLayoutId id="2147484197" r:id="rId23"/>
    <p:sldLayoutId id="2147484198" r:id="rId24"/>
    <p:sldLayoutId id="2147484199" r:id="rId25"/>
    <p:sldLayoutId id="2147484200" r:id="rId26"/>
    <p:sldLayoutId id="2147484201" r:id="rId27"/>
    <p:sldLayoutId id="2147484202" r:id="rId28"/>
    <p:sldLayoutId id="2147484203" r:id="rId29"/>
    <p:sldLayoutId id="2147484204" r:id="rId30"/>
    <p:sldLayoutId id="2147484205" r:id="rId31"/>
    <p:sldLayoutId id="2147484206" r:id="rId32"/>
    <p:sldLayoutId id="2147484207" r:id="rId33"/>
    <p:sldLayoutId id="2147484208" r:id="rId34"/>
    <p:sldLayoutId id="2147484209" r:id="rId35"/>
    <p:sldLayoutId id="2147484210" r:id="rId36"/>
    <p:sldLayoutId id="2147484211" r:id="rId37"/>
    <p:sldLayoutId id="2147484212" r:id="rId38"/>
    <p:sldLayoutId id="2147484213" r:id="rId39"/>
    <p:sldLayoutId id="2147484214" r:id="rId40"/>
    <p:sldLayoutId id="2147484215" r:id="rId41"/>
    <p:sldLayoutId id="2147484216" r:id="rId42"/>
    <p:sldLayoutId id="2147484217" r:id="rId43"/>
    <p:sldLayoutId id="2147484218" r:id="rId44"/>
    <p:sldLayoutId id="2147484219" r:id="rId45"/>
    <p:sldLayoutId id="2147484220" r:id="rId46"/>
    <p:sldLayoutId id="2147484221" r:id="rId47"/>
    <p:sldLayoutId id="2147484222" r:id="rId48"/>
    <p:sldLayoutId id="2147484223" r:id="rId49"/>
    <p:sldLayoutId id="2147484224" r:id="rId50"/>
    <p:sldLayoutId id="2147484225" r:id="rId51"/>
    <p:sldLayoutId id="2147484226" r:id="rId52"/>
    <p:sldLayoutId id="2147484227" r:id="rId53"/>
    <p:sldLayoutId id="2147484228" r:id="rId54"/>
    <p:sldLayoutId id="2147484229" r:id="rId55"/>
    <p:sldLayoutId id="2147484230" r:id="rId56"/>
    <p:sldLayoutId id="2147484231" r:id="rId57"/>
    <p:sldLayoutId id="2147484232" r:id="rId58"/>
    <p:sldLayoutId id="2147484233" r:id="rId59"/>
    <p:sldLayoutId id="2147484234" r:id="rId60"/>
    <p:sldLayoutId id="2147484235" r:id="rId61"/>
    <p:sldLayoutId id="2147484236" r:id="rId62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hdr="0" ftr="0" dt="0"/>
  <p:txStyles>
    <p:titleStyle>
      <a:lvl1pPr algn="l" defTabSz="882171" rtl="0" eaLnBrk="1" latinLnBrk="0" hangingPunct="1">
        <a:lnSpc>
          <a:spcPct val="90000"/>
        </a:lnSpc>
        <a:spcBef>
          <a:spcPct val="0"/>
        </a:spcBef>
        <a:buNone/>
        <a:defRPr lang="en-US" sz="4000" b="0" i="0" kern="100" spc="-133" baseline="0" dirty="0">
          <a:solidFill>
            <a:schemeClr val="tx1"/>
          </a:solidFill>
          <a:latin typeface="CiscoSansTT" panose="020B0503020201020303" pitchFamily="34" charset="0"/>
          <a:ea typeface="+mj-ea"/>
          <a:cs typeface="+mj-cs"/>
        </a:defRPr>
      </a:lvl1pPr>
    </p:titleStyle>
    <p:bodyStyle>
      <a:lvl1pPr marL="0" indent="0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600" b="0" i="0" kern="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2pPr>
      <a:lvl3pPr marL="342900" indent="-168275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2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3pPr>
      <a:lvl4pPr marL="512763" indent="-169863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0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4pPr>
      <a:lvl5pPr marL="571500" marR="0" indent="-114300" algn="l" defTabSz="882171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Tx/>
        <a:buSzTx/>
        <a:buFont typeface="Arial" panose="020B0604020202020204" pitchFamily="34" charset="0"/>
        <a:buChar char="•"/>
        <a:tabLst/>
        <a:defRPr sz="5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42597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867060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308145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74923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1pPr>
      <a:lvl2pPr marL="441088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2pPr>
      <a:lvl3pPr marL="882171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3pPr>
      <a:lvl4pPr marL="132325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4pPr>
      <a:lvl5pPr marL="1764344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5pPr>
      <a:lvl6pPr marL="2205432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646515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087603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52868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5ACBF0"/>
          </p15:clr>
        </p15:guide>
        <p15:guide id="2" pos="7320">
          <p15:clr>
            <a:srgbClr val="F26B43"/>
          </p15:clr>
        </p15:guide>
        <p15:guide id="3" pos="360">
          <p15:clr>
            <a:srgbClr val="F26B43"/>
          </p15:clr>
        </p15:guide>
        <p15:guide id="4" orient="horz" pos="2160">
          <p15:clr>
            <a:srgbClr val="5ACBF0"/>
          </p15:clr>
        </p15:guide>
        <p15:guide id="5" orient="horz" pos="4104">
          <p15:clr>
            <a:srgbClr val="F26B43"/>
          </p15:clr>
        </p15:guide>
        <p15:guide id="8" pos="3744">
          <p15:clr>
            <a:srgbClr val="A4A3A4"/>
          </p15:clr>
        </p15:guide>
        <p15:guide id="9" pos="768">
          <p15:clr>
            <a:srgbClr val="A4A3A4"/>
          </p15:clr>
        </p15:guide>
        <p15:guide id="10" pos="192">
          <p15:clr>
            <a:srgbClr val="A4A3A4"/>
          </p15:clr>
        </p15:guide>
        <p15:guide id="11" pos="7488">
          <p15:clr>
            <a:srgbClr val="A4A3A4"/>
          </p15:clr>
        </p15:guide>
        <p15:guide id="16" orient="horz" pos="2064">
          <p15:clr>
            <a:srgbClr val="F26B43"/>
          </p15:clr>
        </p15:guide>
        <p15:guide id="17" pos="3936">
          <p15:clr>
            <a:srgbClr val="A4A3A4"/>
          </p15:clr>
        </p15:guide>
        <p15:guide id="18" pos="960">
          <p15:clr>
            <a:srgbClr val="A4A3A4"/>
          </p15:clr>
        </p15:guide>
        <p15:guide id="19" pos="1368">
          <p15:clr>
            <a:srgbClr val="A4A3A4"/>
          </p15:clr>
        </p15:guide>
        <p15:guide id="20" pos="1560">
          <p15:clr>
            <a:srgbClr val="A4A3A4"/>
          </p15:clr>
        </p15:guide>
        <p15:guide id="21" pos="1968">
          <p15:clr>
            <a:srgbClr val="A4A3A4"/>
          </p15:clr>
        </p15:guide>
        <p15:guide id="22" pos="2160">
          <p15:clr>
            <a:srgbClr val="A4A3A4"/>
          </p15:clr>
        </p15:guide>
        <p15:guide id="23" pos="2760">
          <p15:clr>
            <a:srgbClr val="A4A3A4"/>
          </p15:clr>
        </p15:guide>
        <p15:guide id="24" pos="3144">
          <p15:clr>
            <a:srgbClr val="A4A3A4"/>
          </p15:clr>
        </p15:guide>
        <p15:guide id="25" pos="2568">
          <p15:clr>
            <a:srgbClr val="A4A3A4"/>
          </p15:clr>
        </p15:guide>
        <p15:guide id="26" pos="3336">
          <p15:clr>
            <a:srgbClr val="A4A3A4"/>
          </p15:clr>
        </p15:guide>
        <p15:guide id="27" pos="4344">
          <p15:clr>
            <a:srgbClr val="A4A3A4"/>
          </p15:clr>
        </p15:guide>
        <p15:guide id="28" pos="5136">
          <p15:clr>
            <a:srgbClr val="A4A3A4"/>
          </p15:clr>
        </p15:guide>
        <p15:guide id="29" pos="4944">
          <p15:clr>
            <a:srgbClr val="A4A3A4"/>
          </p15:clr>
        </p15:guide>
        <p15:guide id="30" pos="4536">
          <p15:clr>
            <a:srgbClr val="A4A3A4"/>
          </p15:clr>
        </p15:guide>
        <p15:guide id="31" pos="6120">
          <p15:clr>
            <a:srgbClr val="A4A3A4"/>
          </p15:clr>
        </p15:guide>
        <p15:guide id="32" pos="5712">
          <p15:clr>
            <a:srgbClr val="A4A3A4"/>
          </p15:clr>
        </p15:guide>
        <p15:guide id="33" pos="5520">
          <p15:clr>
            <a:srgbClr val="A4A3A4"/>
          </p15:clr>
        </p15:guide>
        <p15:guide id="34" pos="6720">
          <p15:clr>
            <a:srgbClr val="A4A3A4"/>
          </p15:clr>
        </p15:guide>
        <p15:guide id="35" pos="6312">
          <p15:clr>
            <a:srgbClr val="A4A3A4"/>
          </p15:clr>
        </p15:guide>
        <p15:guide id="36" pos="6912">
          <p15:clr>
            <a:srgbClr val="A4A3A4"/>
          </p15:clr>
        </p15:guide>
        <p15:guide id="37" orient="horz" pos="2260">
          <p15:clr>
            <a:srgbClr val="F26B43"/>
          </p15:clr>
        </p15:guide>
        <p15:guide id="48" orient="horz" pos="3912">
          <p15:clr>
            <a:srgbClr val="F26B43"/>
          </p15:clr>
        </p15:guide>
        <p15:guide id="55" orient="horz" pos="192">
          <p15:clr>
            <a:srgbClr val="F26B43"/>
          </p15:clr>
        </p15:guide>
        <p15:guide id="57" orient="horz" pos="384">
          <p15:clr>
            <a:srgbClr val="5ACBF0"/>
          </p15:clr>
        </p15:guide>
        <p15:guide id="58" orient="horz" pos="288">
          <p15:clr>
            <a:srgbClr val="F26B43"/>
          </p15:clr>
        </p15:guide>
        <p15:guide id="59" orient="horz" pos="1200">
          <p15:clr>
            <a:srgbClr val="5ACBF0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47EC9D-596C-4E44-B83E-18AAA49AA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904" y="990601"/>
            <a:ext cx="11077296" cy="126135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E00F6-F701-4424-BC1C-C234A2D50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352" y="2431880"/>
            <a:ext cx="11077296" cy="3744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DB9C2F-AEDD-46EC-AC15-828A57E3BB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33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33559E-7ED2-43CE-955D-B8AD83F21F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97663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38" r:id="rId1"/>
    <p:sldLayoutId id="2147484239" r:id="rId2"/>
    <p:sldLayoutId id="2147484240" r:id="rId3"/>
    <p:sldLayoutId id="2147484241" r:id="rId4"/>
    <p:sldLayoutId id="2147484242" r:id="rId5"/>
    <p:sldLayoutId id="2147484243" r:id="rId6"/>
    <p:sldLayoutId id="2147484244" r:id="rId7"/>
    <p:sldLayoutId id="2147484245" r:id="rId8"/>
    <p:sldLayoutId id="2147484246" r:id="rId9"/>
    <p:sldLayoutId id="2147484247" r:id="rId10"/>
    <p:sldLayoutId id="2147484248" r:id="rId11"/>
    <p:sldLayoutId id="2147484249" r:id="rId12"/>
    <p:sldLayoutId id="2147484250" r:id="rId13"/>
    <p:sldLayoutId id="2147484251" r:id="rId14"/>
    <p:sldLayoutId id="2147484252" r:id="rId15"/>
    <p:sldLayoutId id="2147484253" r:id="rId16"/>
    <p:sldLayoutId id="2147484254" r:id="rId17"/>
    <p:sldLayoutId id="2147484255" r:id="rId18"/>
    <p:sldLayoutId id="2147484256" r:id="rId19"/>
    <p:sldLayoutId id="2147484257" r:id="rId20"/>
    <p:sldLayoutId id="2147484258" r:id="rId21"/>
    <p:sldLayoutId id="2147484259" r:id="rId22"/>
    <p:sldLayoutId id="2147484260" r:id="rId23"/>
    <p:sldLayoutId id="2147484261" r:id="rId24"/>
    <p:sldLayoutId id="2147484262" r:id="rId25"/>
    <p:sldLayoutId id="2147484263" r:id="rId26"/>
    <p:sldLayoutId id="2147484264" r:id="rId27"/>
    <p:sldLayoutId id="2147484265" r:id="rId28"/>
    <p:sldLayoutId id="2147484266" r:id="rId29"/>
    <p:sldLayoutId id="2147484267" r:id="rId30"/>
    <p:sldLayoutId id="2147484268" r:id="rId31"/>
    <p:sldLayoutId id="2147484269" r:id="rId32"/>
    <p:sldLayoutId id="2147484270" r:id="rId33"/>
    <p:sldLayoutId id="2147484271" r:id="rId34"/>
    <p:sldLayoutId id="2147484272" r:id="rId35"/>
    <p:sldLayoutId id="2147484273" r:id="rId36"/>
    <p:sldLayoutId id="2147484274" r:id="rId37"/>
    <p:sldLayoutId id="2147484275" r:id="rId38"/>
    <p:sldLayoutId id="2147484276" r:id="rId39"/>
    <p:sldLayoutId id="2147484277" r:id="rId40"/>
    <p:sldLayoutId id="2147484278" r:id="rId41"/>
    <p:sldLayoutId id="2147484279" r:id="rId42"/>
    <p:sldLayoutId id="2147484280" r:id="rId43"/>
    <p:sldLayoutId id="2147484281" r:id="rId44"/>
    <p:sldLayoutId id="2147484282" r:id="rId45"/>
    <p:sldLayoutId id="2147484283" r:id="rId46"/>
    <p:sldLayoutId id="2147484284" r:id="rId47"/>
    <p:sldLayoutId id="2147484285" r:id="rId48"/>
    <p:sldLayoutId id="2147484286" r:id="rId49"/>
    <p:sldLayoutId id="2147484287" r:id="rId50"/>
    <p:sldLayoutId id="2147484288" r:id="rId51"/>
    <p:sldLayoutId id="2147484289" r:id="rId52"/>
    <p:sldLayoutId id="2147484290" r:id="rId53"/>
    <p:sldLayoutId id="2147484291" r:id="rId54"/>
    <p:sldLayoutId id="2147484292" r:id="rId55"/>
    <p:sldLayoutId id="2147484293" r:id="rId56"/>
    <p:sldLayoutId id="2147484294" r:id="rId57"/>
    <p:sldLayoutId id="2147484295" r:id="rId58"/>
    <p:sldLayoutId id="2147484296" r:id="rId59"/>
    <p:sldLayoutId id="2147484297" r:id="rId60"/>
    <p:sldLayoutId id="2147484298" r:id="rId61"/>
    <p:sldLayoutId id="2147484299" r:id="rId62"/>
    <p:sldLayoutId id="2147484300" r:id="rId63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txStyles>
    <p:titleStyle>
      <a:lvl1pPr algn="l" defTabSz="882171" rtl="0" eaLnBrk="1" latinLnBrk="0" hangingPunct="1">
        <a:lnSpc>
          <a:spcPct val="90000"/>
        </a:lnSpc>
        <a:spcBef>
          <a:spcPct val="0"/>
        </a:spcBef>
        <a:buNone/>
        <a:defRPr lang="en-US" sz="4267" b="0" i="0" kern="100" spc="-133" baseline="0" dirty="0">
          <a:solidFill>
            <a:schemeClr val="tx1"/>
          </a:solidFill>
          <a:latin typeface="CiscoSansTT" panose="020B0503020201020303" pitchFamily="34" charset="0"/>
          <a:ea typeface="+mj-ea"/>
          <a:cs typeface="+mj-cs"/>
        </a:defRPr>
      </a:lvl1pPr>
    </p:titleStyle>
    <p:bodyStyle>
      <a:lvl1pPr marL="0" indent="0" algn="l" defTabSz="882171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600" b="0" i="0" kern="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531271" indent="-228594" algn="l" defTabSz="882171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2pPr>
      <a:lvl3pPr marL="840296" indent="-232828" algn="l" defTabSz="882171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2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3pPr>
      <a:lvl4pPr marL="1142971" indent="-226478" algn="l" defTabSz="882171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800" b="0" i="0" kern="0" spc="0" baseline="0">
          <a:solidFill>
            <a:schemeClr val="tx1"/>
          </a:solidFill>
          <a:latin typeface="CiscoSansTT" panose="020B0503020201020303" pitchFamily="34" charset="0"/>
          <a:ea typeface="+mn-ea"/>
          <a:cs typeface="CiscoSansTT" panose="020B0503020201020303" pitchFamily="34" charset="0"/>
        </a:defRPr>
      </a:lvl4pPr>
      <a:lvl5pPr marL="1295368" marR="0" indent="-228594" algn="l" defTabSz="882171" rtl="0" eaLnBrk="1" fontAlgn="auto" latinLnBrk="0" hangingPunct="1">
        <a:lnSpc>
          <a:spcPct val="150000"/>
        </a:lnSpc>
        <a:spcBef>
          <a:spcPts val="0"/>
        </a:spcBef>
        <a:spcAft>
          <a:spcPts val="800"/>
        </a:spcAft>
        <a:buClrTx/>
        <a:buSzTx/>
        <a:buFont typeface="Arial" panose="020B0604020202020204" pitchFamily="34" charset="0"/>
        <a:buChar char="•"/>
        <a:tabLst/>
        <a:defRPr sz="667" b="0" i="0" kern="1200" spc="0" baseline="0">
          <a:solidFill>
            <a:schemeClr val="tx1"/>
          </a:solidFill>
          <a:latin typeface="CiscoSansTT Light" panose="020B0503020201020303" pitchFamily="34" charset="0"/>
          <a:ea typeface="+mn-ea"/>
          <a:cs typeface="+mn-cs"/>
        </a:defRPr>
      </a:lvl5pPr>
      <a:lvl6pPr marL="242597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867060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308145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74923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1pPr>
      <a:lvl2pPr marL="441088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2pPr>
      <a:lvl3pPr marL="882171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3pPr>
      <a:lvl4pPr marL="132325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4pPr>
      <a:lvl5pPr marL="1764344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5pPr>
      <a:lvl6pPr marL="2205432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646515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087603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52868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pos="5496">
          <p15:clr>
            <a:srgbClr val="F26B43"/>
          </p15:clr>
        </p15:guide>
        <p15:guide id="3" pos="264">
          <p15:clr>
            <a:srgbClr val="F26B43"/>
          </p15:clr>
        </p15:guide>
        <p15:guide id="4" orient="horz" pos="1620">
          <p15:clr>
            <a:srgbClr val="F26B43"/>
          </p15:clr>
        </p15:guide>
        <p15:guide id="5" orient="horz" pos="3060">
          <p15:clr>
            <a:srgbClr val="F26B43"/>
          </p15:clr>
        </p15:guide>
        <p15:guide id="6" orient="horz" pos="180">
          <p15:clr>
            <a:srgbClr val="F26B43"/>
          </p15:clr>
        </p15:guide>
        <p15:guide id="8" pos="2808">
          <p15:clr>
            <a:srgbClr val="F26B43"/>
          </p15:clr>
        </p15:guide>
        <p15:guide id="9" pos="2952">
          <p15:clr>
            <a:srgbClr val="F26B43"/>
          </p15:clr>
        </p15:guide>
      </p15:sldGuideLst>
    </p:ext>
  </p:extLst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47EC9D-596C-4E44-B83E-18AAA49AA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2"/>
            <a:ext cx="11049000" cy="10287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E00F6-F701-4424-BC1C-C234A2D50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1905000"/>
            <a:ext cx="110490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9" name="Graphic 98">
            <a:extLst>
              <a:ext uri="{FF2B5EF4-FFF2-40B4-BE49-F238E27FC236}">
                <a16:creationId xmlns:a16="http://schemas.microsoft.com/office/drawing/2014/main" id="{CC91285F-2BD9-4301-86D5-B8F24697FA1F}"/>
              </a:ext>
            </a:extLst>
          </p:cNvPr>
          <p:cNvPicPr>
            <a:picLocks noChangeAspect="1"/>
          </p:cNvPicPr>
          <p:nvPr/>
        </p:nvPicPr>
        <p:blipFill>
          <a:blip r:embed="rId30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1"/>
              </a:ext>
            </a:extLst>
          </a:blip>
          <a:stretch>
            <a:fillRect/>
          </a:stretch>
        </p:blipFill>
        <p:spPr>
          <a:xfrm>
            <a:off x="516810" y="6364639"/>
            <a:ext cx="503671" cy="221124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50EDDB-BE28-44D4-9435-5B2F3C7B1FB0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773751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02" r:id="rId1"/>
    <p:sldLayoutId id="2147484303" r:id="rId2"/>
    <p:sldLayoutId id="2147484304" r:id="rId3"/>
    <p:sldLayoutId id="2147484305" r:id="rId4"/>
    <p:sldLayoutId id="2147484306" r:id="rId5"/>
    <p:sldLayoutId id="2147484307" r:id="rId6"/>
    <p:sldLayoutId id="2147484308" r:id="rId7"/>
    <p:sldLayoutId id="2147484309" r:id="rId8"/>
    <p:sldLayoutId id="2147484310" r:id="rId9"/>
    <p:sldLayoutId id="2147484311" r:id="rId10"/>
    <p:sldLayoutId id="2147484312" r:id="rId11"/>
    <p:sldLayoutId id="2147484313" r:id="rId12"/>
    <p:sldLayoutId id="2147484314" r:id="rId13"/>
    <p:sldLayoutId id="2147484315" r:id="rId14"/>
    <p:sldLayoutId id="2147484316" r:id="rId15"/>
    <p:sldLayoutId id="2147484317" r:id="rId16"/>
    <p:sldLayoutId id="2147484318" r:id="rId17"/>
    <p:sldLayoutId id="2147484319" r:id="rId18"/>
    <p:sldLayoutId id="2147484320" r:id="rId19"/>
    <p:sldLayoutId id="2147484321" r:id="rId20"/>
    <p:sldLayoutId id="2147484322" r:id="rId21"/>
    <p:sldLayoutId id="2147484323" r:id="rId22"/>
    <p:sldLayoutId id="2147484324" r:id="rId23"/>
    <p:sldLayoutId id="2147484325" r:id="rId24"/>
    <p:sldLayoutId id="2147484326" r:id="rId25"/>
    <p:sldLayoutId id="2147484327" r:id="rId26"/>
    <p:sldLayoutId id="2147484328" r:id="rId27"/>
    <p:sldLayoutId id="2147484329" r:id="rId28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hdr="0" ftr="0" dt="0"/>
  <p:txStyles>
    <p:titleStyle>
      <a:lvl1pPr algn="l" defTabSz="882127" rtl="0" eaLnBrk="1" latinLnBrk="0" hangingPunct="1">
        <a:lnSpc>
          <a:spcPct val="90000"/>
        </a:lnSpc>
        <a:spcBef>
          <a:spcPct val="0"/>
        </a:spcBef>
        <a:buNone/>
        <a:defRPr lang="en-US" sz="4000" b="0" i="0" kern="100" spc="-133" baseline="0" dirty="0">
          <a:solidFill>
            <a:schemeClr val="tx1"/>
          </a:solidFill>
          <a:latin typeface="CiscoSansTT" panose="020B0503020201020303" pitchFamily="34" charset="0"/>
          <a:ea typeface="+mj-ea"/>
          <a:cs typeface="+mj-cs"/>
        </a:defRPr>
      </a:lvl1pPr>
    </p:titleStyle>
    <p:bodyStyle>
      <a:lvl1pPr marL="0" indent="0" algn="l" defTabSz="882127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600" b="0" i="0" kern="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174617" indent="-174617" algn="l" defTabSz="882127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2pPr>
      <a:lvl3pPr marL="342882" indent="-168266" algn="l" defTabSz="882127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2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3pPr>
      <a:lvl4pPr marL="512738" indent="-169854" algn="l" defTabSz="882127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0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4pPr>
      <a:lvl5pPr marL="571472" marR="0" indent="-114294" algn="l" defTabSz="882127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Tx/>
        <a:buSzTx/>
        <a:buFont typeface="Arial" panose="020B0604020202020204" pitchFamily="34" charset="0"/>
        <a:buChar char="•"/>
        <a:tabLst/>
        <a:defRPr sz="5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425853" indent="-220532" algn="l" defTabSz="882127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866916" indent="-220532" algn="l" defTabSz="882127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307980" indent="-220532" algn="l" defTabSz="882127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749046" indent="-220532" algn="l" defTabSz="882127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2127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1pPr>
      <a:lvl2pPr marL="441066" algn="l" defTabSz="882127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2pPr>
      <a:lvl3pPr marL="882127" algn="l" defTabSz="882127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3pPr>
      <a:lvl4pPr marL="1323194" algn="l" defTabSz="882127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4pPr>
      <a:lvl5pPr marL="1764256" algn="l" defTabSz="882127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5pPr>
      <a:lvl6pPr marL="2205322" algn="l" defTabSz="882127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646383" algn="l" defTabSz="882127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087448" algn="l" defTabSz="882127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528513" algn="l" defTabSz="882127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5ACBF0"/>
          </p15:clr>
        </p15:guide>
        <p15:guide id="2" pos="7320">
          <p15:clr>
            <a:srgbClr val="F26B43"/>
          </p15:clr>
        </p15:guide>
        <p15:guide id="3" pos="360">
          <p15:clr>
            <a:srgbClr val="F26B43"/>
          </p15:clr>
        </p15:guide>
        <p15:guide id="4" orient="horz" pos="2160">
          <p15:clr>
            <a:srgbClr val="5ACBF0"/>
          </p15:clr>
        </p15:guide>
        <p15:guide id="5" orient="horz" pos="4104">
          <p15:clr>
            <a:srgbClr val="F26B43"/>
          </p15:clr>
        </p15:guide>
        <p15:guide id="8" pos="3744">
          <p15:clr>
            <a:srgbClr val="A4A3A4"/>
          </p15:clr>
        </p15:guide>
        <p15:guide id="9" pos="768">
          <p15:clr>
            <a:srgbClr val="A4A3A4"/>
          </p15:clr>
        </p15:guide>
        <p15:guide id="10" pos="192">
          <p15:clr>
            <a:srgbClr val="A4A3A4"/>
          </p15:clr>
        </p15:guide>
        <p15:guide id="11" pos="7488">
          <p15:clr>
            <a:srgbClr val="A4A3A4"/>
          </p15:clr>
        </p15:guide>
        <p15:guide id="16" orient="horz" pos="2064">
          <p15:clr>
            <a:srgbClr val="F26B43"/>
          </p15:clr>
        </p15:guide>
        <p15:guide id="17" pos="3936">
          <p15:clr>
            <a:srgbClr val="A4A3A4"/>
          </p15:clr>
        </p15:guide>
        <p15:guide id="18" pos="960">
          <p15:clr>
            <a:srgbClr val="A4A3A4"/>
          </p15:clr>
        </p15:guide>
        <p15:guide id="19" pos="1368">
          <p15:clr>
            <a:srgbClr val="A4A3A4"/>
          </p15:clr>
        </p15:guide>
        <p15:guide id="20" pos="1560">
          <p15:clr>
            <a:srgbClr val="A4A3A4"/>
          </p15:clr>
        </p15:guide>
        <p15:guide id="21" pos="1968">
          <p15:clr>
            <a:srgbClr val="A4A3A4"/>
          </p15:clr>
        </p15:guide>
        <p15:guide id="22" pos="2160">
          <p15:clr>
            <a:srgbClr val="A4A3A4"/>
          </p15:clr>
        </p15:guide>
        <p15:guide id="23" pos="2760">
          <p15:clr>
            <a:srgbClr val="A4A3A4"/>
          </p15:clr>
        </p15:guide>
        <p15:guide id="24" pos="3144">
          <p15:clr>
            <a:srgbClr val="A4A3A4"/>
          </p15:clr>
        </p15:guide>
        <p15:guide id="25" pos="2568">
          <p15:clr>
            <a:srgbClr val="A4A3A4"/>
          </p15:clr>
        </p15:guide>
        <p15:guide id="26" pos="3336">
          <p15:clr>
            <a:srgbClr val="A4A3A4"/>
          </p15:clr>
        </p15:guide>
        <p15:guide id="27" pos="4344">
          <p15:clr>
            <a:srgbClr val="A4A3A4"/>
          </p15:clr>
        </p15:guide>
        <p15:guide id="28" pos="5136">
          <p15:clr>
            <a:srgbClr val="A4A3A4"/>
          </p15:clr>
        </p15:guide>
        <p15:guide id="29" pos="4944">
          <p15:clr>
            <a:srgbClr val="A4A3A4"/>
          </p15:clr>
        </p15:guide>
        <p15:guide id="30" pos="4536">
          <p15:clr>
            <a:srgbClr val="A4A3A4"/>
          </p15:clr>
        </p15:guide>
        <p15:guide id="31" pos="6120">
          <p15:clr>
            <a:srgbClr val="A4A3A4"/>
          </p15:clr>
        </p15:guide>
        <p15:guide id="32" pos="5712">
          <p15:clr>
            <a:srgbClr val="A4A3A4"/>
          </p15:clr>
        </p15:guide>
        <p15:guide id="33" pos="5520">
          <p15:clr>
            <a:srgbClr val="A4A3A4"/>
          </p15:clr>
        </p15:guide>
        <p15:guide id="34" pos="6720">
          <p15:clr>
            <a:srgbClr val="A4A3A4"/>
          </p15:clr>
        </p15:guide>
        <p15:guide id="35" pos="6312">
          <p15:clr>
            <a:srgbClr val="A4A3A4"/>
          </p15:clr>
        </p15:guide>
        <p15:guide id="36" pos="6912">
          <p15:clr>
            <a:srgbClr val="A4A3A4"/>
          </p15:clr>
        </p15:guide>
        <p15:guide id="37" orient="horz" pos="2260">
          <p15:clr>
            <a:srgbClr val="F26B43"/>
          </p15:clr>
        </p15:guide>
        <p15:guide id="48" orient="horz" pos="3912">
          <p15:clr>
            <a:srgbClr val="F26B43"/>
          </p15:clr>
        </p15:guide>
        <p15:guide id="55" orient="horz" pos="192">
          <p15:clr>
            <a:srgbClr val="F26B43"/>
          </p15:clr>
        </p15:guide>
        <p15:guide id="57" orient="horz" pos="384">
          <p15:clr>
            <a:srgbClr val="5ACBF0"/>
          </p15:clr>
        </p15:guide>
        <p15:guide id="58" orient="horz" pos="288">
          <p15:clr>
            <a:srgbClr val="F26B43"/>
          </p15:clr>
        </p15:guide>
        <p15:guide id="59" orient="horz" pos="1200">
          <p15:clr>
            <a:srgbClr val="5ACBF0"/>
          </p15:clr>
        </p15:guide>
      </p15:sldGuideLst>
    </p:ext>
  </p:extLst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47EC9D-596C-4E44-B83E-18AAA49AA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7" y="571500"/>
            <a:ext cx="11021568" cy="106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E00F6-F701-4424-BC1C-C234A2D50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5217" y="1905000"/>
            <a:ext cx="11021568" cy="4381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4918B1A9-B75A-AC9E-0345-EFE45ABF1770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523157" y="6402737"/>
            <a:ext cx="503671" cy="22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3317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31" r:id="rId1"/>
    <p:sldLayoutId id="2147484332" r:id="rId2"/>
    <p:sldLayoutId id="2147484333" r:id="rId3"/>
    <p:sldLayoutId id="2147484334" r:id="rId4"/>
    <p:sldLayoutId id="2147484335" r:id="rId5"/>
    <p:sldLayoutId id="2147484336" r:id="rId6"/>
    <p:sldLayoutId id="2147484337" r:id="rId7"/>
    <p:sldLayoutId id="2147484338" r:id="rId8"/>
    <p:sldLayoutId id="2147484339" r:id="rId9"/>
    <p:sldLayoutId id="2147484340" r:id="rId10"/>
    <p:sldLayoutId id="2147484341" r:id="rId11"/>
    <p:sldLayoutId id="2147484342" r:id="rId12"/>
    <p:sldLayoutId id="2147484343" r:id="rId13"/>
    <p:sldLayoutId id="2147484344" r:id="rId14"/>
    <p:sldLayoutId id="2147484345" r:id="rId15"/>
    <p:sldLayoutId id="2147484346" r:id="rId16"/>
    <p:sldLayoutId id="2147484347" r:id="rId17"/>
    <p:sldLayoutId id="2147484348" r:id="rId18"/>
    <p:sldLayoutId id="2147484349" r:id="rId19"/>
    <p:sldLayoutId id="2147484350" r:id="rId20"/>
    <p:sldLayoutId id="2147484351" r:id="rId21"/>
    <p:sldLayoutId id="2147484352" r:id="rId22"/>
    <p:sldLayoutId id="2147484353" r:id="rId23"/>
    <p:sldLayoutId id="2147484354" r:id="rId24"/>
    <p:sldLayoutId id="2147484355" r:id="rId25"/>
    <p:sldLayoutId id="2147484356" r:id="rId26"/>
    <p:sldLayoutId id="2147484357" r:id="rId27"/>
    <p:sldLayoutId id="2147484358" r:id="rId28"/>
    <p:sldLayoutId id="2147484359" r:id="rId29"/>
    <p:sldLayoutId id="2147484360" r:id="rId30"/>
    <p:sldLayoutId id="2147484361" r:id="rId31"/>
    <p:sldLayoutId id="2147484362" r:id="rId32"/>
    <p:sldLayoutId id="2147484363" r:id="rId33"/>
    <p:sldLayoutId id="2147484364" r:id="rId34"/>
    <p:sldLayoutId id="2147484365" r:id="rId35"/>
    <p:sldLayoutId id="2147484366" r:id="rId36"/>
    <p:sldLayoutId id="2147484367" r:id="rId37"/>
    <p:sldLayoutId id="2147484368" r:id="rId38"/>
    <p:sldLayoutId id="2147484369" r:id="rId39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hdr="0" ftr="0" dt="0"/>
  <p:txStyles>
    <p:titleStyle>
      <a:lvl1pPr algn="l" defTabSz="882171" rtl="0" eaLnBrk="1" latinLnBrk="0" hangingPunct="1">
        <a:lnSpc>
          <a:spcPct val="90000"/>
        </a:lnSpc>
        <a:spcBef>
          <a:spcPct val="0"/>
        </a:spcBef>
        <a:buNone/>
        <a:defRPr lang="en-US" sz="4000" b="0" i="0" kern="100" spc="-133" baseline="0" dirty="0">
          <a:solidFill>
            <a:schemeClr val="tx1"/>
          </a:solidFill>
          <a:latin typeface="CiscoSansTT" panose="020B0503020201020303" pitchFamily="34" charset="0"/>
          <a:ea typeface="+mj-ea"/>
          <a:cs typeface="+mj-cs"/>
        </a:defRPr>
      </a:lvl1pPr>
    </p:titleStyle>
    <p:bodyStyle>
      <a:lvl1pPr marL="0" indent="0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800" b="0" i="0" kern="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2pPr>
      <a:lvl3pPr marL="461963" indent="-231775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3pPr>
      <a:lvl4pPr marL="687388" indent="-225425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1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4pPr>
      <a:lvl5pPr marL="571500" marR="0" indent="-114300" algn="l" defTabSz="882171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Tx/>
        <a:buSzTx/>
        <a:buFont typeface="Arial" panose="020B0604020202020204" pitchFamily="34" charset="0"/>
        <a:buChar char="•"/>
        <a:tabLst/>
        <a:defRPr sz="5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42597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867060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308145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74923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1pPr>
      <a:lvl2pPr marL="441088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2pPr>
      <a:lvl3pPr marL="882171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3pPr>
      <a:lvl4pPr marL="132325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4pPr>
      <a:lvl5pPr marL="1764344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5pPr>
      <a:lvl6pPr marL="2205432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646515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087603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52868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5ACBF0"/>
          </p15:clr>
        </p15:guide>
        <p15:guide id="2" pos="7316">
          <p15:clr>
            <a:srgbClr val="F26B43"/>
          </p15:clr>
        </p15:guide>
        <p15:guide id="3" pos="366">
          <p15:clr>
            <a:srgbClr val="F26B43"/>
          </p15:clr>
        </p15:guide>
        <p15:guide id="4" orient="horz" pos="2160">
          <p15:clr>
            <a:srgbClr val="5ACBF0"/>
          </p15:clr>
        </p15:guide>
        <p15:guide id="5" orient="horz" pos="4128">
          <p15:clr>
            <a:srgbClr val="F26B43"/>
          </p15:clr>
        </p15:guide>
        <p15:guide id="8" pos="3748">
          <p15:clr>
            <a:srgbClr val="A4A3A4"/>
          </p15:clr>
        </p15:guide>
        <p15:guide id="9" pos="780">
          <p15:clr>
            <a:srgbClr val="A4A3A4"/>
          </p15:clr>
        </p15:guide>
        <p15:guide id="10" pos="168">
          <p15:clr>
            <a:srgbClr val="A4A3A4"/>
          </p15:clr>
        </p15:guide>
        <p15:guide id="11" pos="7496">
          <p15:clr>
            <a:srgbClr val="A4A3A4"/>
          </p15:clr>
        </p15:guide>
        <p15:guide id="16" orient="horz" pos="2088">
          <p15:clr>
            <a:srgbClr val="F26B43"/>
          </p15:clr>
        </p15:guide>
        <p15:guide id="17" pos="3932">
          <p15:clr>
            <a:srgbClr val="A4A3A4"/>
          </p15:clr>
        </p15:guide>
        <p15:guide id="18" pos="960">
          <p15:clr>
            <a:srgbClr val="A4A3A4"/>
          </p15:clr>
        </p15:guide>
        <p15:guide id="19" pos="1368">
          <p15:clr>
            <a:srgbClr val="A4A3A4"/>
          </p15:clr>
        </p15:guide>
        <p15:guide id="20" pos="1556">
          <p15:clr>
            <a:srgbClr val="A4A3A4"/>
          </p15:clr>
        </p15:guide>
        <p15:guide id="21" pos="1968">
          <p15:clr>
            <a:srgbClr val="A4A3A4"/>
          </p15:clr>
        </p15:guide>
        <p15:guide id="22" pos="2148">
          <p15:clr>
            <a:srgbClr val="A4A3A4"/>
          </p15:clr>
        </p15:guide>
        <p15:guide id="23" pos="2740">
          <p15:clr>
            <a:srgbClr val="A4A3A4"/>
          </p15:clr>
        </p15:guide>
        <p15:guide id="24" pos="3156">
          <p15:clr>
            <a:srgbClr val="A4A3A4"/>
          </p15:clr>
        </p15:guide>
        <p15:guide id="25" pos="2560">
          <p15:clr>
            <a:srgbClr val="A4A3A4"/>
          </p15:clr>
        </p15:guide>
        <p15:guide id="26" pos="3336">
          <p15:clr>
            <a:srgbClr val="A4A3A4"/>
          </p15:clr>
        </p15:guide>
        <p15:guide id="28" pos="4528">
          <p15:clr>
            <a:srgbClr val="A4A3A4"/>
          </p15:clr>
        </p15:guide>
        <p15:guide id="29" pos="4936">
          <p15:clr>
            <a:srgbClr val="A4A3A4"/>
          </p15:clr>
        </p15:guide>
        <p15:guide id="30" pos="4344">
          <p15:clr>
            <a:srgbClr val="A4A3A4"/>
          </p15:clr>
        </p15:guide>
        <p15:guide id="31" pos="6124">
          <p15:clr>
            <a:srgbClr val="A4A3A4"/>
          </p15:clr>
        </p15:guide>
        <p15:guide id="32" pos="5532">
          <p15:clr>
            <a:srgbClr val="A4A3A4"/>
          </p15:clr>
        </p15:guide>
        <p15:guide id="33" pos="5712">
          <p15:clr>
            <a:srgbClr val="A4A3A4"/>
          </p15:clr>
        </p15:guide>
        <p15:guide id="34" pos="6720">
          <p15:clr>
            <a:srgbClr val="A4A3A4"/>
          </p15:clr>
        </p15:guide>
        <p15:guide id="35" pos="6304">
          <p15:clr>
            <a:srgbClr val="A4A3A4"/>
          </p15:clr>
        </p15:guide>
        <p15:guide id="36" pos="6900">
          <p15:clr>
            <a:srgbClr val="A4A3A4"/>
          </p15:clr>
        </p15:guide>
        <p15:guide id="37" orient="horz" pos="2232">
          <p15:clr>
            <a:srgbClr val="F26B43"/>
          </p15:clr>
        </p15:guide>
        <p15:guide id="48" orient="horz" pos="3960">
          <p15:clr>
            <a:srgbClr val="F26B43"/>
          </p15:clr>
        </p15:guide>
        <p15:guide id="55" orient="horz" pos="192">
          <p15:clr>
            <a:srgbClr val="F26B43"/>
          </p15:clr>
        </p15:guide>
        <p15:guide id="57" orient="horz" pos="360">
          <p15:clr>
            <a:srgbClr val="5ACBF0"/>
          </p15:clr>
        </p15:guide>
        <p15:guide id="59" orient="horz" pos="1200">
          <p15:clr>
            <a:srgbClr val="5ACBF0"/>
          </p15:clr>
        </p15:guide>
        <p15:guide id="60" pos="5116">
          <p15:clr>
            <a:srgbClr val="A4A3A4"/>
          </p15:clr>
        </p15:guide>
      </p15:sldGuideLst>
    </p:ext>
  </p:extLst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47EC9D-596C-4E44-B83E-18AAA49AA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0287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E00F6-F701-4424-BC1C-C234A2D50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1905000"/>
            <a:ext cx="110490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9" name="Graphic 98">
            <a:extLst>
              <a:ext uri="{FF2B5EF4-FFF2-40B4-BE49-F238E27FC236}">
                <a16:creationId xmlns:a16="http://schemas.microsoft.com/office/drawing/2014/main" id="{CC91285F-2BD9-4301-86D5-B8F24697FA1F}"/>
              </a:ext>
            </a:extLst>
          </p:cNvPr>
          <p:cNvPicPr>
            <a:picLocks noChangeAspect="1"/>
          </p:cNvPicPr>
          <p:nvPr/>
        </p:nvPicPr>
        <p:blipFill>
          <a:blip r:embed="rId58" cstate="hq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516807" y="6364637"/>
            <a:ext cx="503671" cy="221124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50EDDB-BE28-44D4-9435-5B2F3C7B1FB0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56696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71" r:id="rId1"/>
    <p:sldLayoutId id="2147484372" r:id="rId2"/>
    <p:sldLayoutId id="2147484373" r:id="rId3"/>
    <p:sldLayoutId id="2147484374" r:id="rId4"/>
    <p:sldLayoutId id="2147484375" r:id="rId5"/>
    <p:sldLayoutId id="2147484376" r:id="rId6"/>
    <p:sldLayoutId id="2147484377" r:id="rId7"/>
    <p:sldLayoutId id="2147484378" r:id="rId8"/>
    <p:sldLayoutId id="2147484379" r:id="rId9"/>
    <p:sldLayoutId id="2147484380" r:id="rId10"/>
    <p:sldLayoutId id="2147484381" r:id="rId11"/>
    <p:sldLayoutId id="2147484382" r:id="rId12"/>
    <p:sldLayoutId id="2147484383" r:id="rId13"/>
    <p:sldLayoutId id="2147484384" r:id="rId14"/>
    <p:sldLayoutId id="2147484385" r:id="rId15"/>
    <p:sldLayoutId id="2147484386" r:id="rId16"/>
    <p:sldLayoutId id="2147484387" r:id="rId17"/>
    <p:sldLayoutId id="2147484388" r:id="rId18"/>
    <p:sldLayoutId id="2147484389" r:id="rId19"/>
    <p:sldLayoutId id="2147484390" r:id="rId20"/>
    <p:sldLayoutId id="2147484391" r:id="rId21"/>
    <p:sldLayoutId id="2147484392" r:id="rId22"/>
    <p:sldLayoutId id="2147484393" r:id="rId23"/>
    <p:sldLayoutId id="2147484394" r:id="rId24"/>
    <p:sldLayoutId id="2147484395" r:id="rId25"/>
    <p:sldLayoutId id="2147484396" r:id="rId26"/>
    <p:sldLayoutId id="2147484397" r:id="rId27"/>
    <p:sldLayoutId id="2147484398" r:id="rId28"/>
    <p:sldLayoutId id="2147484399" r:id="rId29"/>
    <p:sldLayoutId id="2147484400" r:id="rId30"/>
    <p:sldLayoutId id="2147484401" r:id="rId31"/>
    <p:sldLayoutId id="2147484402" r:id="rId32"/>
    <p:sldLayoutId id="2147484403" r:id="rId33"/>
    <p:sldLayoutId id="2147484404" r:id="rId34"/>
    <p:sldLayoutId id="2147484405" r:id="rId35"/>
    <p:sldLayoutId id="2147484406" r:id="rId36"/>
    <p:sldLayoutId id="2147484407" r:id="rId37"/>
    <p:sldLayoutId id="2147484408" r:id="rId38"/>
    <p:sldLayoutId id="2147484409" r:id="rId39"/>
    <p:sldLayoutId id="2147484410" r:id="rId40"/>
    <p:sldLayoutId id="2147484411" r:id="rId41"/>
    <p:sldLayoutId id="2147484412" r:id="rId42"/>
    <p:sldLayoutId id="2147484413" r:id="rId43"/>
    <p:sldLayoutId id="2147484414" r:id="rId44"/>
    <p:sldLayoutId id="2147484415" r:id="rId45"/>
    <p:sldLayoutId id="2147484416" r:id="rId46"/>
    <p:sldLayoutId id="2147484417" r:id="rId47"/>
    <p:sldLayoutId id="2147484418" r:id="rId48"/>
    <p:sldLayoutId id="2147484419" r:id="rId49"/>
    <p:sldLayoutId id="2147484420" r:id="rId50"/>
    <p:sldLayoutId id="2147484421" r:id="rId51"/>
    <p:sldLayoutId id="2147484422" r:id="rId52"/>
    <p:sldLayoutId id="2147484423" r:id="rId53"/>
    <p:sldLayoutId id="2147484424" r:id="rId54"/>
    <p:sldLayoutId id="2147484425" r:id="rId55"/>
    <p:sldLayoutId id="2147484426" r:id="rId56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hdr="0" ftr="0" dt="0"/>
  <p:txStyles>
    <p:titleStyle>
      <a:lvl1pPr algn="l" defTabSz="882171" rtl="0" eaLnBrk="1" latinLnBrk="0" hangingPunct="1">
        <a:lnSpc>
          <a:spcPct val="90000"/>
        </a:lnSpc>
        <a:spcBef>
          <a:spcPct val="0"/>
        </a:spcBef>
        <a:buNone/>
        <a:defRPr lang="en-US" sz="3600" b="0" i="0" kern="100" spc="-133" baseline="0" dirty="0">
          <a:solidFill>
            <a:schemeClr val="tx1"/>
          </a:solidFill>
          <a:latin typeface="CiscoSansTT" panose="020B0503020201020303" pitchFamily="34" charset="0"/>
          <a:ea typeface="+mj-ea"/>
          <a:cs typeface="+mj-cs"/>
        </a:defRPr>
      </a:lvl1pPr>
    </p:titleStyle>
    <p:bodyStyle>
      <a:lvl1pPr marL="0" indent="0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600" b="0" i="0" kern="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2pPr>
      <a:lvl3pPr marL="342900" indent="-168275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2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3pPr>
      <a:lvl4pPr marL="512763" indent="-169863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0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4pPr>
      <a:lvl5pPr marL="571500" marR="0" indent="-114300" algn="l" defTabSz="882171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Tx/>
        <a:buSzTx/>
        <a:buFont typeface="Arial" panose="020B0604020202020204" pitchFamily="34" charset="0"/>
        <a:buChar char="•"/>
        <a:tabLst/>
        <a:defRPr sz="5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42597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867060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308145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74923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1pPr>
      <a:lvl2pPr marL="441088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2pPr>
      <a:lvl3pPr marL="882171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3pPr>
      <a:lvl4pPr marL="132325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4pPr>
      <a:lvl5pPr marL="1764344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5pPr>
      <a:lvl6pPr marL="2205432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646515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087603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52868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5ACBF0"/>
          </p15:clr>
        </p15:guide>
        <p15:guide id="2" pos="7320">
          <p15:clr>
            <a:srgbClr val="F26B43"/>
          </p15:clr>
        </p15:guide>
        <p15:guide id="3" pos="360">
          <p15:clr>
            <a:srgbClr val="F26B43"/>
          </p15:clr>
        </p15:guide>
        <p15:guide id="4" orient="horz" pos="2160">
          <p15:clr>
            <a:srgbClr val="5ACBF0"/>
          </p15:clr>
        </p15:guide>
        <p15:guide id="5" orient="horz" pos="4104">
          <p15:clr>
            <a:srgbClr val="F26B43"/>
          </p15:clr>
        </p15:guide>
        <p15:guide id="8" pos="3744">
          <p15:clr>
            <a:srgbClr val="A4A3A4"/>
          </p15:clr>
        </p15:guide>
        <p15:guide id="9" pos="768">
          <p15:clr>
            <a:srgbClr val="A4A3A4"/>
          </p15:clr>
        </p15:guide>
        <p15:guide id="10" pos="192">
          <p15:clr>
            <a:srgbClr val="A4A3A4"/>
          </p15:clr>
        </p15:guide>
        <p15:guide id="11" pos="7488">
          <p15:clr>
            <a:srgbClr val="A4A3A4"/>
          </p15:clr>
        </p15:guide>
        <p15:guide id="16" orient="horz" pos="2064">
          <p15:clr>
            <a:srgbClr val="F26B43"/>
          </p15:clr>
        </p15:guide>
        <p15:guide id="17" pos="3936">
          <p15:clr>
            <a:srgbClr val="A4A3A4"/>
          </p15:clr>
        </p15:guide>
        <p15:guide id="18" pos="960">
          <p15:clr>
            <a:srgbClr val="A4A3A4"/>
          </p15:clr>
        </p15:guide>
        <p15:guide id="19" pos="1368">
          <p15:clr>
            <a:srgbClr val="A4A3A4"/>
          </p15:clr>
        </p15:guide>
        <p15:guide id="20" pos="1560">
          <p15:clr>
            <a:srgbClr val="A4A3A4"/>
          </p15:clr>
        </p15:guide>
        <p15:guide id="21" pos="1968">
          <p15:clr>
            <a:srgbClr val="A4A3A4"/>
          </p15:clr>
        </p15:guide>
        <p15:guide id="22" pos="2160">
          <p15:clr>
            <a:srgbClr val="A4A3A4"/>
          </p15:clr>
        </p15:guide>
        <p15:guide id="23" pos="2760">
          <p15:clr>
            <a:srgbClr val="A4A3A4"/>
          </p15:clr>
        </p15:guide>
        <p15:guide id="24" pos="3144">
          <p15:clr>
            <a:srgbClr val="A4A3A4"/>
          </p15:clr>
        </p15:guide>
        <p15:guide id="25" pos="2568">
          <p15:clr>
            <a:srgbClr val="A4A3A4"/>
          </p15:clr>
        </p15:guide>
        <p15:guide id="26" pos="3336">
          <p15:clr>
            <a:srgbClr val="A4A3A4"/>
          </p15:clr>
        </p15:guide>
        <p15:guide id="27" pos="4344">
          <p15:clr>
            <a:srgbClr val="A4A3A4"/>
          </p15:clr>
        </p15:guide>
        <p15:guide id="28" pos="5136">
          <p15:clr>
            <a:srgbClr val="A4A3A4"/>
          </p15:clr>
        </p15:guide>
        <p15:guide id="29" pos="4944">
          <p15:clr>
            <a:srgbClr val="A4A3A4"/>
          </p15:clr>
        </p15:guide>
        <p15:guide id="30" pos="4536">
          <p15:clr>
            <a:srgbClr val="A4A3A4"/>
          </p15:clr>
        </p15:guide>
        <p15:guide id="31" pos="6120">
          <p15:clr>
            <a:srgbClr val="A4A3A4"/>
          </p15:clr>
        </p15:guide>
        <p15:guide id="32" pos="5712">
          <p15:clr>
            <a:srgbClr val="A4A3A4"/>
          </p15:clr>
        </p15:guide>
        <p15:guide id="33" pos="5520">
          <p15:clr>
            <a:srgbClr val="A4A3A4"/>
          </p15:clr>
        </p15:guide>
        <p15:guide id="34" pos="6720">
          <p15:clr>
            <a:srgbClr val="A4A3A4"/>
          </p15:clr>
        </p15:guide>
        <p15:guide id="35" pos="6312">
          <p15:clr>
            <a:srgbClr val="A4A3A4"/>
          </p15:clr>
        </p15:guide>
        <p15:guide id="36" pos="6912">
          <p15:clr>
            <a:srgbClr val="A4A3A4"/>
          </p15:clr>
        </p15:guide>
        <p15:guide id="37" orient="horz" pos="2260">
          <p15:clr>
            <a:srgbClr val="F26B43"/>
          </p15:clr>
        </p15:guide>
        <p15:guide id="48" orient="horz" pos="3912">
          <p15:clr>
            <a:srgbClr val="F26B43"/>
          </p15:clr>
        </p15:guide>
        <p15:guide id="55" orient="horz" pos="192">
          <p15:clr>
            <a:srgbClr val="F26B43"/>
          </p15:clr>
        </p15:guide>
        <p15:guide id="57" orient="horz" pos="384">
          <p15:clr>
            <a:srgbClr val="5ACBF0"/>
          </p15:clr>
        </p15:guide>
        <p15:guide id="58" orient="horz" pos="288">
          <p15:clr>
            <a:srgbClr val="F26B43"/>
          </p15:clr>
        </p15:guide>
        <p15:guide id="59" orient="horz" pos="1200">
          <p15:clr>
            <a:srgbClr val="5ACBF0"/>
          </p15:clr>
        </p15:guide>
      </p15:sldGuideLst>
    </p:ext>
  </p:extLst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47EC9D-596C-4E44-B83E-18AAA49AA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10287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E00F6-F701-4424-BC1C-C234A2D50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1790701"/>
            <a:ext cx="11049000" cy="44196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33559E-7ED2-43CE-955D-B8AD83F21F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406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28" r:id="rId1"/>
    <p:sldLayoutId id="2147484429" r:id="rId2"/>
    <p:sldLayoutId id="2147484430" r:id="rId3"/>
    <p:sldLayoutId id="2147484431" r:id="rId4"/>
    <p:sldLayoutId id="2147484432" r:id="rId5"/>
    <p:sldLayoutId id="2147484433" r:id="rId6"/>
    <p:sldLayoutId id="2147484434" r:id="rId7"/>
    <p:sldLayoutId id="2147484435" r:id="rId8"/>
    <p:sldLayoutId id="2147484436" r:id="rId9"/>
    <p:sldLayoutId id="2147484437" r:id="rId10"/>
    <p:sldLayoutId id="2147484438" r:id="rId11"/>
    <p:sldLayoutId id="2147484439" r:id="rId12"/>
    <p:sldLayoutId id="2147484440" r:id="rId13"/>
    <p:sldLayoutId id="2147484441" r:id="rId14"/>
    <p:sldLayoutId id="2147484442" r:id="rId15"/>
    <p:sldLayoutId id="2147484443" r:id="rId16"/>
    <p:sldLayoutId id="2147484444" r:id="rId17"/>
    <p:sldLayoutId id="2147484445" r:id="rId18"/>
    <p:sldLayoutId id="2147484446" r:id="rId19"/>
    <p:sldLayoutId id="2147484447" r:id="rId20"/>
    <p:sldLayoutId id="2147484448" r:id="rId21"/>
    <p:sldLayoutId id="2147484449" r:id="rId22"/>
    <p:sldLayoutId id="2147484450" r:id="rId23"/>
    <p:sldLayoutId id="2147484451" r:id="rId24"/>
    <p:sldLayoutId id="2147484452" r:id="rId25"/>
    <p:sldLayoutId id="2147484453" r:id="rId26"/>
    <p:sldLayoutId id="2147484454" r:id="rId27"/>
    <p:sldLayoutId id="2147484455" r:id="rId28"/>
    <p:sldLayoutId id="2147484456" r:id="rId29"/>
    <p:sldLayoutId id="2147484457" r:id="rId30"/>
    <p:sldLayoutId id="2147484458" r:id="rId31"/>
    <p:sldLayoutId id="2147484459" r:id="rId32"/>
    <p:sldLayoutId id="2147484460" r:id="rId33"/>
    <p:sldLayoutId id="2147484461" r:id="rId34"/>
    <p:sldLayoutId id="2147484462" r:id="rId35"/>
    <p:sldLayoutId id="2147484463" r:id="rId36"/>
    <p:sldLayoutId id="2147484464" r:id="rId37"/>
    <p:sldLayoutId id="2147484465" r:id="rId38"/>
    <p:sldLayoutId id="2147484466" r:id="rId39"/>
    <p:sldLayoutId id="2147484467" r:id="rId40"/>
    <p:sldLayoutId id="2147484468" r:id="rId41"/>
    <p:sldLayoutId id="2147484469" r:id="rId42"/>
    <p:sldLayoutId id="2147484470" r:id="rId43"/>
    <p:sldLayoutId id="2147484471" r:id="rId44"/>
    <p:sldLayoutId id="2147484472" r:id="rId45"/>
    <p:sldLayoutId id="2147484473" r:id="rId46"/>
    <p:sldLayoutId id="2147484474" r:id="rId47"/>
    <p:sldLayoutId id="2147484475" r:id="rId48"/>
    <p:sldLayoutId id="2147484476" r:id="rId49"/>
    <p:sldLayoutId id="2147484477" r:id="rId50"/>
    <p:sldLayoutId id="2147484478" r:id="rId51"/>
    <p:sldLayoutId id="2147484479" r:id="rId52"/>
    <p:sldLayoutId id="2147484480" r:id="rId53"/>
    <p:sldLayoutId id="2147484481" r:id="rId54"/>
    <p:sldLayoutId id="2147484482" r:id="rId55"/>
    <p:sldLayoutId id="2147484483" r:id="rId56"/>
    <p:sldLayoutId id="2147484484" r:id="rId57"/>
    <p:sldLayoutId id="2147484485" r:id="rId58"/>
    <p:sldLayoutId id="2147484486" r:id="rId59"/>
    <p:sldLayoutId id="2147484487" r:id="rId60"/>
    <p:sldLayoutId id="2147484488" r:id="rId61"/>
    <p:sldLayoutId id="2147484489" r:id="rId62"/>
    <p:sldLayoutId id="2147484490" r:id="rId63"/>
    <p:sldLayoutId id="2147484491" r:id="rId64"/>
    <p:sldLayoutId id="2147484492" r:id="rId65"/>
    <p:sldLayoutId id="2147484493" r:id="rId66"/>
    <p:sldLayoutId id="2147484494" r:id="rId67"/>
    <p:sldLayoutId id="2147484495" r:id="rId68"/>
    <p:sldLayoutId id="2147484496" r:id="rId69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hdr="0" ftr="0" dt="0"/>
  <p:txStyles>
    <p:titleStyle>
      <a:lvl1pPr algn="l" defTabSz="882149" rtl="0" eaLnBrk="1" latinLnBrk="0" hangingPunct="1">
        <a:lnSpc>
          <a:spcPct val="90000"/>
        </a:lnSpc>
        <a:spcBef>
          <a:spcPct val="0"/>
        </a:spcBef>
        <a:buNone/>
        <a:defRPr lang="en-US" sz="3600" b="0" i="0" kern="100" spc="-133" baseline="0" dirty="0">
          <a:solidFill>
            <a:schemeClr val="tx1"/>
          </a:solidFill>
          <a:latin typeface="CiscoSansTT" panose="020B0503020201020303" pitchFamily="34" charset="0"/>
          <a:ea typeface="+mj-ea"/>
          <a:cs typeface="+mj-cs"/>
        </a:defRPr>
      </a:lvl1pPr>
    </p:titleStyle>
    <p:bodyStyle>
      <a:lvl1pPr marL="0" indent="0" algn="l" defTabSz="882149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400" b="0" i="0" kern="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174621" indent="-174621" algn="l" defTabSz="882149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2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2pPr>
      <a:lvl3pPr marL="342891" indent="-168270" algn="l" defTabSz="882149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1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3pPr>
      <a:lvl4pPr marL="457189" indent="-114297" algn="l" defTabSz="882149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7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4pPr>
      <a:lvl5pPr marL="571486" marR="0" indent="-114297" algn="l" defTabSz="882149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Tx/>
        <a:buSzTx/>
        <a:buFont typeface="Arial" panose="020B0604020202020204" pitchFamily="34" charset="0"/>
        <a:buChar char="•"/>
        <a:tabLst/>
        <a:defRPr sz="5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425913" indent="-220537" algn="l" defTabSz="882149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866988" indent="-220537" algn="l" defTabSz="882149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308063" indent="-220537" algn="l" defTabSz="882149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749140" indent="-220537" algn="l" defTabSz="882149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1pPr>
      <a:lvl2pPr marL="441077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2pPr>
      <a:lvl3pPr marL="882149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3pPr>
      <a:lvl4pPr marL="1323226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4pPr>
      <a:lvl5pPr marL="1764300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5pPr>
      <a:lvl6pPr marL="2205377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646449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087525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528601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5ACBF0"/>
          </p15:clr>
        </p15:guide>
        <p15:guide id="2" pos="7320">
          <p15:clr>
            <a:srgbClr val="F26B43"/>
          </p15:clr>
        </p15:guide>
        <p15:guide id="3" pos="360">
          <p15:clr>
            <a:srgbClr val="F26B43"/>
          </p15:clr>
        </p15:guide>
        <p15:guide id="4" orient="horz" pos="2160">
          <p15:clr>
            <a:srgbClr val="5ACBF0"/>
          </p15:clr>
        </p15:guide>
        <p15:guide id="5" orient="horz" pos="4104">
          <p15:clr>
            <a:srgbClr val="F26B43"/>
          </p15:clr>
        </p15:guide>
        <p15:guide id="8" pos="3744">
          <p15:clr>
            <a:srgbClr val="A4A3A4"/>
          </p15:clr>
        </p15:guide>
        <p15:guide id="9" pos="768">
          <p15:clr>
            <a:srgbClr val="A4A3A4"/>
          </p15:clr>
        </p15:guide>
        <p15:guide id="10" pos="192">
          <p15:clr>
            <a:srgbClr val="A4A3A4"/>
          </p15:clr>
        </p15:guide>
        <p15:guide id="11" pos="7488">
          <p15:clr>
            <a:srgbClr val="A4A3A4"/>
          </p15:clr>
        </p15:guide>
        <p15:guide id="16" orient="horz" pos="2064">
          <p15:clr>
            <a:srgbClr val="F26B43"/>
          </p15:clr>
        </p15:guide>
        <p15:guide id="17" pos="3936">
          <p15:clr>
            <a:srgbClr val="A4A3A4"/>
          </p15:clr>
        </p15:guide>
        <p15:guide id="18" pos="960">
          <p15:clr>
            <a:srgbClr val="A4A3A4"/>
          </p15:clr>
        </p15:guide>
        <p15:guide id="19" pos="1368">
          <p15:clr>
            <a:srgbClr val="A4A3A4"/>
          </p15:clr>
        </p15:guide>
        <p15:guide id="20" pos="1560">
          <p15:clr>
            <a:srgbClr val="A4A3A4"/>
          </p15:clr>
        </p15:guide>
        <p15:guide id="21" pos="1968">
          <p15:clr>
            <a:srgbClr val="A4A3A4"/>
          </p15:clr>
        </p15:guide>
        <p15:guide id="22" pos="2160">
          <p15:clr>
            <a:srgbClr val="A4A3A4"/>
          </p15:clr>
        </p15:guide>
        <p15:guide id="23" pos="2760">
          <p15:clr>
            <a:srgbClr val="A4A3A4"/>
          </p15:clr>
        </p15:guide>
        <p15:guide id="24" pos="3144">
          <p15:clr>
            <a:srgbClr val="A4A3A4"/>
          </p15:clr>
        </p15:guide>
        <p15:guide id="25" pos="2568">
          <p15:clr>
            <a:srgbClr val="A4A3A4"/>
          </p15:clr>
        </p15:guide>
        <p15:guide id="26" pos="3336">
          <p15:clr>
            <a:srgbClr val="A4A3A4"/>
          </p15:clr>
        </p15:guide>
        <p15:guide id="27" pos="4344">
          <p15:clr>
            <a:srgbClr val="A4A3A4"/>
          </p15:clr>
        </p15:guide>
        <p15:guide id="28" pos="5136">
          <p15:clr>
            <a:srgbClr val="A4A3A4"/>
          </p15:clr>
        </p15:guide>
        <p15:guide id="29" pos="4944">
          <p15:clr>
            <a:srgbClr val="A4A3A4"/>
          </p15:clr>
        </p15:guide>
        <p15:guide id="30" pos="4536">
          <p15:clr>
            <a:srgbClr val="A4A3A4"/>
          </p15:clr>
        </p15:guide>
        <p15:guide id="31" pos="6120">
          <p15:clr>
            <a:srgbClr val="A4A3A4"/>
          </p15:clr>
        </p15:guide>
        <p15:guide id="32" pos="5712">
          <p15:clr>
            <a:srgbClr val="A4A3A4"/>
          </p15:clr>
        </p15:guide>
        <p15:guide id="33" pos="5520">
          <p15:clr>
            <a:srgbClr val="A4A3A4"/>
          </p15:clr>
        </p15:guide>
        <p15:guide id="34" pos="6720">
          <p15:clr>
            <a:srgbClr val="A4A3A4"/>
          </p15:clr>
        </p15:guide>
        <p15:guide id="35" pos="6312">
          <p15:clr>
            <a:srgbClr val="A4A3A4"/>
          </p15:clr>
        </p15:guide>
        <p15:guide id="36" pos="6912">
          <p15:clr>
            <a:srgbClr val="A4A3A4"/>
          </p15:clr>
        </p15:guide>
        <p15:guide id="37" orient="horz" pos="2260">
          <p15:clr>
            <a:srgbClr val="F26B43"/>
          </p15:clr>
        </p15:guide>
        <p15:guide id="48" orient="horz" pos="3912">
          <p15:clr>
            <a:srgbClr val="F26B43"/>
          </p15:clr>
        </p15:guide>
        <p15:guide id="55" orient="horz" pos="192">
          <p15:clr>
            <a:srgbClr val="F26B43"/>
          </p15:clr>
        </p15:guide>
        <p15:guide id="57" orient="horz" pos="384">
          <p15:clr>
            <a:srgbClr val="5ACBF0"/>
          </p15:clr>
        </p15:guide>
        <p15:guide id="58" orient="horz" pos="288">
          <p15:clr>
            <a:srgbClr val="F26B43"/>
          </p15:clr>
        </p15:guide>
        <p15:guide id="59" orient="horz" pos="1128">
          <p15:clr>
            <a:srgbClr val="5ACBF0"/>
          </p15:clr>
        </p15:guide>
      </p15:sldGuideLst>
    </p:ext>
  </p:extLst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47EC9D-596C-4E44-B83E-18AAA49AA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0287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E00F6-F701-4424-BC1C-C234A2D50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1905000"/>
            <a:ext cx="110490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9" name="Graphic 98">
            <a:extLst>
              <a:ext uri="{FF2B5EF4-FFF2-40B4-BE49-F238E27FC236}">
                <a16:creationId xmlns:a16="http://schemas.microsoft.com/office/drawing/2014/main" id="{CC91285F-2BD9-4301-86D5-B8F24697FA1F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516807" y="6364637"/>
            <a:ext cx="503671" cy="221124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50EDDB-BE28-44D4-9435-5B2F3C7B1FB0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AC12040-BBB7-7F8E-067D-9EF48DFAF2B9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385550" y="6672580"/>
            <a:ext cx="765175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6476430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98" r:id="rId1"/>
    <p:sldLayoutId id="2147484499" r:id="rId2"/>
    <p:sldLayoutId id="2147484500" r:id="rId3"/>
    <p:sldLayoutId id="2147484501" r:id="rId4"/>
    <p:sldLayoutId id="2147484502" r:id="rId5"/>
    <p:sldLayoutId id="2147484503" r:id="rId6"/>
    <p:sldLayoutId id="2147484504" r:id="rId7"/>
    <p:sldLayoutId id="2147484505" r:id="rId8"/>
    <p:sldLayoutId id="2147484506" r:id="rId9"/>
    <p:sldLayoutId id="2147484507" r:id="rId10"/>
    <p:sldLayoutId id="2147484508" r:id="rId11"/>
    <p:sldLayoutId id="2147484509" r:id="rId12"/>
    <p:sldLayoutId id="2147484510" r:id="rId13"/>
    <p:sldLayoutId id="2147484511" r:id="rId14"/>
    <p:sldLayoutId id="2147484512" r:id="rId15"/>
    <p:sldLayoutId id="2147484513" r:id="rId16"/>
    <p:sldLayoutId id="2147484514" r:id="rId17"/>
    <p:sldLayoutId id="2147484515" r:id="rId18"/>
    <p:sldLayoutId id="2147484516" r:id="rId19"/>
    <p:sldLayoutId id="2147484517" r:id="rId20"/>
    <p:sldLayoutId id="2147484518" r:id="rId21"/>
    <p:sldLayoutId id="2147484519" r:id="rId22"/>
    <p:sldLayoutId id="2147484520" r:id="rId23"/>
    <p:sldLayoutId id="2147484521" r:id="rId24"/>
    <p:sldLayoutId id="2147484522" r:id="rId25"/>
    <p:sldLayoutId id="2147484523" r:id="rId26"/>
    <p:sldLayoutId id="2147484524" r:id="rId27"/>
    <p:sldLayoutId id="2147484525" r:id="rId28"/>
    <p:sldLayoutId id="2147484526" r:id="rId29"/>
    <p:sldLayoutId id="2147484527" r:id="rId30"/>
    <p:sldLayoutId id="2147484528" r:id="rId31"/>
    <p:sldLayoutId id="2147484529" r:id="rId32"/>
    <p:sldLayoutId id="2147484530" r:id="rId33"/>
    <p:sldLayoutId id="2147484531" r:id="rId34"/>
    <p:sldLayoutId id="2147484532" r:id="rId35"/>
    <p:sldLayoutId id="2147484533" r:id="rId36"/>
    <p:sldLayoutId id="2147484534" r:id="rId37"/>
    <p:sldLayoutId id="2147484535" r:id="rId38"/>
    <p:sldLayoutId id="2147484536" r:id="rId39"/>
    <p:sldLayoutId id="2147484537" r:id="rId40"/>
    <p:sldLayoutId id="2147484538" r:id="rId41"/>
    <p:sldLayoutId id="2147484539" r:id="rId42"/>
    <p:sldLayoutId id="2147484540" r:id="rId43"/>
    <p:sldLayoutId id="2147484541" r:id="rId44"/>
    <p:sldLayoutId id="2147484542" r:id="rId45"/>
    <p:sldLayoutId id="2147484543" r:id="rId46"/>
    <p:sldLayoutId id="2147484544" r:id="rId47"/>
    <p:sldLayoutId id="2147484545" r:id="rId48"/>
    <p:sldLayoutId id="2147484546" r:id="rId49"/>
    <p:sldLayoutId id="2147484547" r:id="rId50"/>
    <p:sldLayoutId id="2147484548" r:id="rId51"/>
    <p:sldLayoutId id="2147484549" r:id="rId52"/>
    <p:sldLayoutId id="2147484550" r:id="rId53"/>
    <p:sldLayoutId id="2147484551" r:id="rId54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hdr="0" ftr="0" dt="0"/>
  <p:txStyles>
    <p:titleStyle>
      <a:lvl1pPr algn="l" defTabSz="882171" rtl="0" eaLnBrk="1" latinLnBrk="0" hangingPunct="1">
        <a:lnSpc>
          <a:spcPct val="90000"/>
        </a:lnSpc>
        <a:spcBef>
          <a:spcPct val="0"/>
        </a:spcBef>
        <a:buNone/>
        <a:defRPr lang="en-US" sz="4000" b="0" i="0" kern="100" spc="-133" baseline="0" dirty="0">
          <a:solidFill>
            <a:schemeClr val="tx1"/>
          </a:solidFill>
          <a:latin typeface="CiscoSansTT" panose="020B0503020201020303" pitchFamily="34" charset="0"/>
          <a:ea typeface="+mj-ea"/>
          <a:cs typeface="+mj-cs"/>
        </a:defRPr>
      </a:lvl1pPr>
    </p:titleStyle>
    <p:bodyStyle>
      <a:lvl1pPr marL="0" indent="0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600" b="0" i="0" kern="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2pPr>
      <a:lvl3pPr marL="342900" indent="-168275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2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3pPr>
      <a:lvl4pPr marL="512763" indent="-169863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0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4pPr>
      <a:lvl5pPr marL="571500" marR="0" indent="-114300" algn="l" defTabSz="882171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Tx/>
        <a:buSzTx/>
        <a:buFont typeface="Arial" panose="020B0604020202020204" pitchFamily="34" charset="0"/>
        <a:buChar char="•"/>
        <a:tabLst/>
        <a:defRPr sz="5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42597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867060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308145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74923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1pPr>
      <a:lvl2pPr marL="441088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2pPr>
      <a:lvl3pPr marL="882171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3pPr>
      <a:lvl4pPr marL="132325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4pPr>
      <a:lvl5pPr marL="1764344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5pPr>
      <a:lvl6pPr marL="2205432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646515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087603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52868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5ACBF0"/>
          </p15:clr>
        </p15:guide>
        <p15:guide id="2" pos="7320">
          <p15:clr>
            <a:srgbClr val="F26B43"/>
          </p15:clr>
        </p15:guide>
        <p15:guide id="3" pos="360">
          <p15:clr>
            <a:srgbClr val="F26B43"/>
          </p15:clr>
        </p15:guide>
        <p15:guide id="4" orient="horz" pos="2160">
          <p15:clr>
            <a:srgbClr val="5ACBF0"/>
          </p15:clr>
        </p15:guide>
        <p15:guide id="5" orient="horz" pos="4104">
          <p15:clr>
            <a:srgbClr val="F26B43"/>
          </p15:clr>
        </p15:guide>
        <p15:guide id="8" pos="3744">
          <p15:clr>
            <a:srgbClr val="A4A3A4"/>
          </p15:clr>
        </p15:guide>
        <p15:guide id="9" pos="768">
          <p15:clr>
            <a:srgbClr val="A4A3A4"/>
          </p15:clr>
        </p15:guide>
        <p15:guide id="10" pos="192">
          <p15:clr>
            <a:srgbClr val="A4A3A4"/>
          </p15:clr>
        </p15:guide>
        <p15:guide id="11" pos="7488">
          <p15:clr>
            <a:srgbClr val="A4A3A4"/>
          </p15:clr>
        </p15:guide>
        <p15:guide id="16" orient="horz" pos="2064">
          <p15:clr>
            <a:srgbClr val="F26B43"/>
          </p15:clr>
        </p15:guide>
        <p15:guide id="17" pos="3936">
          <p15:clr>
            <a:srgbClr val="A4A3A4"/>
          </p15:clr>
        </p15:guide>
        <p15:guide id="18" pos="960">
          <p15:clr>
            <a:srgbClr val="A4A3A4"/>
          </p15:clr>
        </p15:guide>
        <p15:guide id="19" pos="1368">
          <p15:clr>
            <a:srgbClr val="A4A3A4"/>
          </p15:clr>
        </p15:guide>
        <p15:guide id="20" pos="1560">
          <p15:clr>
            <a:srgbClr val="A4A3A4"/>
          </p15:clr>
        </p15:guide>
        <p15:guide id="21" pos="1968">
          <p15:clr>
            <a:srgbClr val="A4A3A4"/>
          </p15:clr>
        </p15:guide>
        <p15:guide id="22" pos="2160">
          <p15:clr>
            <a:srgbClr val="A4A3A4"/>
          </p15:clr>
        </p15:guide>
        <p15:guide id="23" pos="2760">
          <p15:clr>
            <a:srgbClr val="A4A3A4"/>
          </p15:clr>
        </p15:guide>
        <p15:guide id="24" pos="3144">
          <p15:clr>
            <a:srgbClr val="A4A3A4"/>
          </p15:clr>
        </p15:guide>
        <p15:guide id="25" pos="2568">
          <p15:clr>
            <a:srgbClr val="A4A3A4"/>
          </p15:clr>
        </p15:guide>
        <p15:guide id="26" pos="3336">
          <p15:clr>
            <a:srgbClr val="A4A3A4"/>
          </p15:clr>
        </p15:guide>
        <p15:guide id="27" pos="4344">
          <p15:clr>
            <a:srgbClr val="A4A3A4"/>
          </p15:clr>
        </p15:guide>
        <p15:guide id="28" pos="5136">
          <p15:clr>
            <a:srgbClr val="A4A3A4"/>
          </p15:clr>
        </p15:guide>
        <p15:guide id="29" pos="4944">
          <p15:clr>
            <a:srgbClr val="A4A3A4"/>
          </p15:clr>
        </p15:guide>
        <p15:guide id="30" pos="4536">
          <p15:clr>
            <a:srgbClr val="A4A3A4"/>
          </p15:clr>
        </p15:guide>
        <p15:guide id="31" pos="6120">
          <p15:clr>
            <a:srgbClr val="A4A3A4"/>
          </p15:clr>
        </p15:guide>
        <p15:guide id="32" pos="5712">
          <p15:clr>
            <a:srgbClr val="A4A3A4"/>
          </p15:clr>
        </p15:guide>
        <p15:guide id="33" pos="5520">
          <p15:clr>
            <a:srgbClr val="A4A3A4"/>
          </p15:clr>
        </p15:guide>
        <p15:guide id="34" pos="6720">
          <p15:clr>
            <a:srgbClr val="A4A3A4"/>
          </p15:clr>
        </p15:guide>
        <p15:guide id="35" pos="6312">
          <p15:clr>
            <a:srgbClr val="A4A3A4"/>
          </p15:clr>
        </p15:guide>
        <p15:guide id="36" pos="6912">
          <p15:clr>
            <a:srgbClr val="A4A3A4"/>
          </p15:clr>
        </p15:guide>
        <p15:guide id="37" orient="horz" pos="2260">
          <p15:clr>
            <a:srgbClr val="F26B43"/>
          </p15:clr>
        </p15:guide>
        <p15:guide id="48" orient="horz" pos="3912">
          <p15:clr>
            <a:srgbClr val="F26B43"/>
          </p15:clr>
        </p15:guide>
        <p15:guide id="55" orient="horz" pos="192">
          <p15:clr>
            <a:srgbClr val="F26B43"/>
          </p15:clr>
        </p15:guide>
        <p15:guide id="57" orient="horz" pos="384">
          <p15:clr>
            <a:srgbClr val="5ACBF0"/>
          </p15:clr>
        </p15:guide>
        <p15:guide id="58" orient="horz" pos="288">
          <p15:clr>
            <a:srgbClr val="F26B43"/>
          </p15:clr>
        </p15:guide>
        <p15:guide id="59" orient="horz" pos="1200">
          <p15:clr>
            <a:srgbClr val="5ACBF0"/>
          </p15:clr>
        </p15:guide>
      </p15:sldGuideLst>
    </p:ext>
  </p:extLst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47EC9D-596C-4E44-B83E-18AAA49AA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2"/>
            <a:ext cx="11049000" cy="10287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E00F6-F701-4424-BC1C-C234A2D50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1905000"/>
            <a:ext cx="110490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50EDDB-BE28-44D4-9435-5B2F3C7B1FB0}"/>
              </a:ext>
            </a:extLst>
          </p:cNvPr>
          <p:cNvSpPr txBox="1">
            <a:spLocks/>
          </p:cNvSpPr>
          <p:nvPr/>
        </p:nvSpPr>
        <p:spPr>
          <a:xfrm>
            <a:off x="10020302" y="6401750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</p:spTree>
    <p:extLst>
      <p:ext uri="{BB962C8B-B14F-4D97-AF65-F5344CB8AC3E}">
        <p14:creationId xmlns:p14="http://schemas.microsoft.com/office/powerpoint/2010/main" val="3724246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53" r:id="rId1"/>
    <p:sldLayoutId id="2147484554" r:id="rId2"/>
    <p:sldLayoutId id="2147484555" r:id="rId3"/>
    <p:sldLayoutId id="2147484556" r:id="rId4"/>
    <p:sldLayoutId id="2147484557" r:id="rId5"/>
    <p:sldLayoutId id="2147484558" r:id="rId6"/>
    <p:sldLayoutId id="2147484559" r:id="rId7"/>
    <p:sldLayoutId id="2147484560" r:id="rId8"/>
    <p:sldLayoutId id="2147484561" r:id="rId9"/>
    <p:sldLayoutId id="2147484562" r:id="rId10"/>
    <p:sldLayoutId id="2147484563" r:id="rId11"/>
    <p:sldLayoutId id="2147484564" r:id="rId12"/>
    <p:sldLayoutId id="2147484565" r:id="rId13"/>
    <p:sldLayoutId id="2147484566" r:id="rId14"/>
    <p:sldLayoutId id="2147484567" r:id="rId15"/>
    <p:sldLayoutId id="2147484568" r:id="rId16"/>
    <p:sldLayoutId id="2147484569" r:id="rId17"/>
    <p:sldLayoutId id="2147484570" r:id="rId18"/>
    <p:sldLayoutId id="2147484571" r:id="rId19"/>
    <p:sldLayoutId id="2147484572" r:id="rId20"/>
    <p:sldLayoutId id="2147484573" r:id="rId21"/>
    <p:sldLayoutId id="2147484574" r:id="rId22"/>
    <p:sldLayoutId id="2147484575" r:id="rId23"/>
    <p:sldLayoutId id="2147484576" r:id="rId24"/>
    <p:sldLayoutId id="2147484577" r:id="rId25"/>
    <p:sldLayoutId id="2147484578" r:id="rId26"/>
    <p:sldLayoutId id="2147484579" r:id="rId27"/>
    <p:sldLayoutId id="2147484580" r:id="rId28"/>
    <p:sldLayoutId id="2147484581" r:id="rId29"/>
    <p:sldLayoutId id="2147484582" r:id="rId30"/>
    <p:sldLayoutId id="2147484583" r:id="rId31"/>
    <p:sldLayoutId id="2147484584" r:id="rId32"/>
    <p:sldLayoutId id="2147484585" r:id="rId33"/>
    <p:sldLayoutId id="2147484586" r:id="rId34"/>
    <p:sldLayoutId id="2147484587" r:id="rId35"/>
    <p:sldLayoutId id="2147484588" r:id="rId36"/>
    <p:sldLayoutId id="2147484589" r:id="rId37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hdr="0" ftr="0" dt="0"/>
  <p:txStyles>
    <p:titleStyle>
      <a:lvl1pPr algn="l" defTabSz="882127" rtl="0" eaLnBrk="1" latinLnBrk="0" hangingPunct="1">
        <a:lnSpc>
          <a:spcPct val="90000"/>
        </a:lnSpc>
        <a:spcBef>
          <a:spcPct val="0"/>
        </a:spcBef>
        <a:buNone/>
        <a:defRPr lang="en-US" sz="4000" b="0" i="0" kern="100" spc="-133" baseline="0" dirty="0">
          <a:solidFill>
            <a:schemeClr val="tx1"/>
          </a:solidFill>
          <a:latin typeface="CiscoSansTT" panose="020B0503020201020303" pitchFamily="34" charset="0"/>
          <a:ea typeface="+mj-ea"/>
          <a:cs typeface="+mj-cs"/>
        </a:defRPr>
      </a:lvl1pPr>
    </p:titleStyle>
    <p:bodyStyle>
      <a:lvl1pPr marL="0" indent="0" algn="l" defTabSz="882127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600" b="0" i="0" kern="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174617" indent="-174617" algn="l" defTabSz="882127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2pPr>
      <a:lvl3pPr marL="342882" indent="-168266" algn="l" defTabSz="882127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2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3pPr>
      <a:lvl4pPr marL="512738" indent="-169854" algn="l" defTabSz="882127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0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4pPr>
      <a:lvl5pPr marL="571472" marR="0" indent="-114294" algn="l" defTabSz="882127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Tx/>
        <a:buSzTx/>
        <a:buFont typeface="Arial" panose="020B0604020202020204" pitchFamily="34" charset="0"/>
        <a:buChar char="•"/>
        <a:tabLst/>
        <a:defRPr sz="5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425853" indent="-220532" algn="l" defTabSz="882127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866916" indent="-220532" algn="l" defTabSz="882127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307980" indent="-220532" algn="l" defTabSz="882127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749046" indent="-220532" algn="l" defTabSz="882127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2127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1pPr>
      <a:lvl2pPr marL="441066" algn="l" defTabSz="882127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2pPr>
      <a:lvl3pPr marL="882127" algn="l" defTabSz="882127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3pPr>
      <a:lvl4pPr marL="1323194" algn="l" defTabSz="882127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4pPr>
      <a:lvl5pPr marL="1764256" algn="l" defTabSz="882127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5pPr>
      <a:lvl6pPr marL="2205322" algn="l" defTabSz="882127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646383" algn="l" defTabSz="882127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087448" algn="l" defTabSz="882127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528513" algn="l" defTabSz="882127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5ACBF0"/>
          </p15:clr>
        </p15:guide>
        <p15:guide id="2" pos="7320">
          <p15:clr>
            <a:srgbClr val="F26B43"/>
          </p15:clr>
        </p15:guide>
        <p15:guide id="3" pos="360">
          <p15:clr>
            <a:srgbClr val="F26B43"/>
          </p15:clr>
        </p15:guide>
        <p15:guide id="4" orient="horz" pos="2160">
          <p15:clr>
            <a:srgbClr val="5ACBF0"/>
          </p15:clr>
        </p15:guide>
        <p15:guide id="5" orient="horz" pos="4104">
          <p15:clr>
            <a:srgbClr val="F26B43"/>
          </p15:clr>
        </p15:guide>
        <p15:guide id="8" pos="3744">
          <p15:clr>
            <a:srgbClr val="A4A3A4"/>
          </p15:clr>
        </p15:guide>
        <p15:guide id="9" pos="768">
          <p15:clr>
            <a:srgbClr val="A4A3A4"/>
          </p15:clr>
        </p15:guide>
        <p15:guide id="10" pos="192">
          <p15:clr>
            <a:srgbClr val="A4A3A4"/>
          </p15:clr>
        </p15:guide>
        <p15:guide id="11" pos="7488">
          <p15:clr>
            <a:srgbClr val="A4A3A4"/>
          </p15:clr>
        </p15:guide>
        <p15:guide id="16" orient="horz" pos="2064">
          <p15:clr>
            <a:srgbClr val="F26B43"/>
          </p15:clr>
        </p15:guide>
        <p15:guide id="17" pos="3936">
          <p15:clr>
            <a:srgbClr val="A4A3A4"/>
          </p15:clr>
        </p15:guide>
        <p15:guide id="18" pos="960">
          <p15:clr>
            <a:srgbClr val="A4A3A4"/>
          </p15:clr>
        </p15:guide>
        <p15:guide id="19" pos="1368">
          <p15:clr>
            <a:srgbClr val="A4A3A4"/>
          </p15:clr>
        </p15:guide>
        <p15:guide id="20" pos="1560">
          <p15:clr>
            <a:srgbClr val="A4A3A4"/>
          </p15:clr>
        </p15:guide>
        <p15:guide id="21" pos="1968">
          <p15:clr>
            <a:srgbClr val="A4A3A4"/>
          </p15:clr>
        </p15:guide>
        <p15:guide id="22" pos="2160">
          <p15:clr>
            <a:srgbClr val="A4A3A4"/>
          </p15:clr>
        </p15:guide>
        <p15:guide id="23" pos="2760">
          <p15:clr>
            <a:srgbClr val="A4A3A4"/>
          </p15:clr>
        </p15:guide>
        <p15:guide id="24" pos="3144">
          <p15:clr>
            <a:srgbClr val="A4A3A4"/>
          </p15:clr>
        </p15:guide>
        <p15:guide id="25" pos="2568">
          <p15:clr>
            <a:srgbClr val="A4A3A4"/>
          </p15:clr>
        </p15:guide>
        <p15:guide id="26" pos="3336">
          <p15:clr>
            <a:srgbClr val="A4A3A4"/>
          </p15:clr>
        </p15:guide>
        <p15:guide id="27" pos="4344">
          <p15:clr>
            <a:srgbClr val="A4A3A4"/>
          </p15:clr>
        </p15:guide>
        <p15:guide id="28" pos="5136">
          <p15:clr>
            <a:srgbClr val="A4A3A4"/>
          </p15:clr>
        </p15:guide>
        <p15:guide id="29" pos="4944">
          <p15:clr>
            <a:srgbClr val="A4A3A4"/>
          </p15:clr>
        </p15:guide>
        <p15:guide id="30" pos="4536">
          <p15:clr>
            <a:srgbClr val="A4A3A4"/>
          </p15:clr>
        </p15:guide>
        <p15:guide id="31" pos="6120">
          <p15:clr>
            <a:srgbClr val="A4A3A4"/>
          </p15:clr>
        </p15:guide>
        <p15:guide id="32" pos="5712">
          <p15:clr>
            <a:srgbClr val="A4A3A4"/>
          </p15:clr>
        </p15:guide>
        <p15:guide id="33" pos="5520">
          <p15:clr>
            <a:srgbClr val="A4A3A4"/>
          </p15:clr>
        </p15:guide>
        <p15:guide id="34" pos="6720">
          <p15:clr>
            <a:srgbClr val="A4A3A4"/>
          </p15:clr>
        </p15:guide>
        <p15:guide id="35" pos="6312">
          <p15:clr>
            <a:srgbClr val="A4A3A4"/>
          </p15:clr>
        </p15:guide>
        <p15:guide id="36" pos="6912">
          <p15:clr>
            <a:srgbClr val="A4A3A4"/>
          </p15:clr>
        </p15:guide>
        <p15:guide id="37" orient="horz" pos="2260">
          <p15:clr>
            <a:srgbClr val="F26B43"/>
          </p15:clr>
        </p15:guide>
        <p15:guide id="48" orient="horz" pos="3912">
          <p15:clr>
            <a:srgbClr val="F26B43"/>
          </p15:clr>
        </p15:guide>
        <p15:guide id="55" orient="horz" pos="192">
          <p15:clr>
            <a:srgbClr val="F26B43"/>
          </p15:clr>
        </p15:guide>
        <p15:guide id="57" orient="horz" pos="384">
          <p15:clr>
            <a:srgbClr val="5ACBF0"/>
          </p15:clr>
        </p15:guide>
        <p15:guide id="58" orient="horz" pos="288">
          <p15:clr>
            <a:srgbClr val="F26B43"/>
          </p15:clr>
        </p15:guide>
        <p15:guide id="59" orient="horz" pos="1200">
          <p15:clr>
            <a:srgbClr val="5ACBF0"/>
          </p15:clr>
        </p15:guide>
      </p15:sldGuideLst>
    </p:ext>
  </p:extLst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47EC9D-596C-4E44-B83E-18AAA49AA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10287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E00F6-F701-4424-BC1C-C234A2D50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1905000"/>
            <a:ext cx="110490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50EDDB-BE28-44D4-9435-5B2F3C7B1FB0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4489DDD-C29B-0053-B4EF-B7536DE4E79A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385550" y="6672580"/>
            <a:ext cx="765175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265763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591" r:id="rId1"/>
    <p:sldLayoutId id="2147484592" r:id="rId2"/>
    <p:sldLayoutId id="2147484593" r:id="rId3"/>
    <p:sldLayoutId id="2147484594" r:id="rId4"/>
    <p:sldLayoutId id="2147484595" r:id="rId5"/>
    <p:sldLayoutId id="2147484596" r:id="rId6"/>
    <p:sldLayoutId id="2147484597" r:id="rId7"/>
    <p:sldLayoutId id="2147484598" r:id="rId8"/>
    <p:sldLayoutId id="2147484599" r:id="rId9"/>
    <p:sldLayoutId id="2147484600" r:id="rId10"/>
    <p:sldLayoutId id="2147484601" r:id="rId11"/>
    <p:sldLayoutId id="2147484602" r:id="rId12"/>
    <p:sldLayoutId id="2147484603" r:id="rId13"/>
    <p:sldLayoutId id="2147484604" r:id="rId14"/>
    <p:sldLayoutId id="2147484605" r:id="rId15"/>
    <p:sldLayoutId id="2147484606" r:id="rId16"/>
    <p:sldLayoutId id="2147484607" r:id="rId17"/>
    <p:sldLayoutId id="2147484608" r:id="rId18"/>
    <p:sldLayoutId id="2147484609" r:id="rId19"/>
    <p:sldLayoutId id="2147484610" r:id="rId20"/>
    <p:sldLayoutId id="2147484611" r:id="rId21"/>
    <p:sldLayoutId id="2147484612" r:id="rId22"/>
    <p:sldLayoutId id="2147484613" r:id="rId23"/>
    <p:sldLayoutId id="2147484614" r:id="rId24"/>
    <p:sldLayoutId id="2147484615" r:id="rId25"/>
    <p:sldLayoutId id="2147484616" r:id="rId26"/>
    <p:sldLayoutId id="2147484617" r:id="rId27"/>
    <p:sldLayoutId id="2147484618" r:id="rId28"/>
    <p:sldLayoutId id="2147484619" r:id="rId29"/>
    <p:sldLayoutId id="2147484620" r:id="rId30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hdr="0" ftr="0" dt="0"/>
  <p:txStyles>
    <p:titleStyle>
      <a:lvl1pPr algn="l" defTabSz="882149" rtl="0" eaLnBrk="1" latinLnBrk="0" hangingPunct="1">
        <a:lnSpc>
          <a:spcPct val="90000"/>
        </a:lnSpc>
        <a:spcBef>
          <a:spcPct val="0"/>
        </a:spcBef>
        <a:buNone/>
        <a:defRPr lang="en-US" sz="4000" b="0" i="0" kern="100" spc="-133" baseline="0" dirty="0">
          <a:solidFill>
            <a:schemeClr val="tx1"/>
          </a:solidFill>
          <a:latin typeface="CiscoSansTT" panose="020B0503020201020303" pitchFamily="34" charset="0"/>
          <a:ea typeface="+mj-ea"/>
          <a:cs typeface="+mj-cs"/>
        </a:defRPr>
      </a:lvl1pPr>
    </p:titleStyle>
    <p:bodyStyle>
      <a:lvl1pPr marL="0" indent="0" algn="l" defTabSz="882149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600" b="0" i="0" kern="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174621" indent="-174621" algn="l" defTabSz="882149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2pPr>
      <a:lvl3pPr marL="342891" indent="-168270" algn="l" defTabSz="882149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2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3pPr>
      <a:lvl4pPr marL="512750" indent="-169858" algn="l" defTabSz="882149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0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4pPr>
      <a:lvl5pPr marL="571486" marR="0" indent="-114297" algn="l" defTabSz="882149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Tx/>
        <a:buSzTx/>
        <a:buFont typeface="Arial" panose="020B0604020202020204" pitchFamily="34" charset="0"/>
        <a:buChar char="•"/>
        <a:tabLst/>
        <a:defRPr sz="5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425913" indent="-220537" algn="l" defTabSz="882149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866988" indent="-220537" algn="l" defTabSz="882149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308063" indent="-220537" algn="l" defTabSz="882149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749140" indent="-220537" algn="l" defTabSz="882149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1pPr>
      <a:lvl2pPr marL="441077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2pPr>
      <a:lvl3pPr marL="882149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3pPr>
      <a:lvl4pPr marL="1323226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4pPr>
      <a:lvl5pPr marL="1764300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5pPr>
      <a:lvl6pPr marL="2205377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646449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087525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528601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5ACBF0"/>
          </p15:clr>
        </p15:guide>
        <p15:guide id="2" pos="7320">
          <p15:clr>
            <a:srgbClr val="F26B43"/>
          </p15:clr>
        </p15:guide>
        <p15:guide id="3" pos="360">
          <p15:clr>
            <a:srgbClr val="F26B43"/>
          </p15:clr>
        </p15:guide>
        <p15:guide id="4" orient="horz" pos="2160">
          <p15:clr>
            <a:srgbClr val="5ACBF0"/>
          </p15:clr>
        </p15:guide>
        <p15:guide id="5" orient="horz" pos="4104">
          <p15:clr>
            <a:srgbClr val="F26B43"/>
          </p15:clr>
        </p15:guide>
        <p15:guide id="8" pos="3744">
          <p15:clr>
            <a:srgbClr val="A4A3A4"/>
          </p15:clr>
        </p15:guide>
        <p15:guide id="9" pos="768">
          <p15:clr>
            <a:srgbClr val="A4A3A4"/>
          </p15:clr>
        </p15:guide>
        <p15:guide id="10" pos="192">
          <p15:clr>
            <a:srgbClr val="A4A3A4"/>
          </p15:clr>
        </p15:guide>
        <p15:guide id="11" pos="7488">
          <p15:clr>
            <a:srgbClr val="A4A3A4"/>
          </p15:clr>
        </p15:guide>
        <p15:guide id="16" orient="horz" pos="2064">
          <p15:clr>
            <a:srgbClr val="F26B43"/>
          </p15:clr>
        </p15:guide>
        <p15:guide id="17" pos="3936">
          <p15:clr>
            <a:srgbClr val="A4A3A4"/>
          </p15:clr>
        </p15:guide>
        <p15:guide id="18" pos="960">
          <p15:clr>
            <a:srgbClr val="A4A3A4"/>
          </p15:clr>
        </p15:guide>
        <p15:guide id="19" pos="1368">
          <p15:clr>
            <a:srgbClr val="A4A3A4"/>
          </p15:clr>
        </p15:guide>
        <p15:guide id="20" pos="1560">
          <p15:clr>
            <a:srgbClr val="A4A3A4"/>
          </p15:clr>
        </p15:guide>
        <p15:guide id="21" pos="1968">
          <p15:clr>
            <a:srgbClr val="A4A3A4"/>
          </p15:clr>
        </p15:guide>
        <p15:guide id="22" pos="2160">
          <p15:clr>
            <a:srgbClr val="A4A3A4"/>
          </p15:clr>
        </p15:guide>
        <p15:guide id="23" pos="2760">
          <p15:clr>
            <a:srgbClr val="A4A3A4"/>
          </p15:clr>
        </p15:guide>
        <p15:guide id="24" pos="3144">
          <p15:clr>
            <a:srgbClr val="A4A3A4"/>
          </p15:clr>
        </p15:guide>
        <p15:guide id="25" pos="2568">
          <p15:clr>
            <a:srgbClr val="A4A3A4"/>
          </p15:clr>
        </p15:guide>
        <p15:guide id="26" pos="3336">
          <p15:clr>
            <a:srgbClr val="A4A3A4"/>
          </p15:clr>
        </p15:guide>
        <p15:guide id="27" pos="4344">
          <p15:clr>
            <a:srgbClr val="A4A3A4"/>
          </p15:clr>
        </p15:guide>
        <p15:guide id="28" pos="5136">
          <p15:clr>
            <a:srgbClr val="A4A3A4"/>
          </p15:clr>
        </p15:guide>
        <p15:guide id="29" pos="4944">
          <p15:clr>
            <a:srgbClr val="A4A3A4"/>
          </p15:clr>
        </p15:guide>
        <p15:guide id="30" pos="4536">
          <p15:clr>
            <a:srgbClr val="A4A3A4"/>
          </p15:clr>
        </p15:guide>
        <p15:guide id="31" pos="6120">
          <p15:clr>
            <a:srgbClr val="A4A3A4"/>
          </p15:clr>
        </p15:guide>
        <p15:guide id="32" pos="5712">
          <p15:clr>
            <a:srgbClr val="A4A3A4"/>
          </p15:clr>
        </p15:guide>
        <p15:guide id="33" pos="5520">
          <p15:clr>
            <a:srgbClr val="A4A3A4"/>
          </p15:clr>
        </p15:guide>
        <p15:guide id="34" pos="6720">
          <p15:clr>
            <a:srgbClr val="A4A3A4"/>
          </p15:clr>
        </p15:guide>
        <p15:guide id="35" pos="6312">
          <p15:clr>
            <a:srgbClr val="A4A3A4"/>
          </p15:clr>
        </p15:guide>
        <p15:guide id="36" pos="6912">
          <p15:clr>
            <a:srgbClr val="A4A3A4"/>
          </p15:clr>
        </p15:guide>
        <p15:guide id="37" orient="horz" pos="2260">
          <p15:clr>
            <a:srgbClr val="F26B43"/>
          </p15:clr>
        </p15:guide>
        <p15:guide id="48" orient="horz" pos="3912">
          <p15:clr>
            <a:srgbClr val="F26B43"/>
          </p15:clr>
        </p15:guide>
        <p15:guide id="55" orient="horz" pos="192">
          <p15:clr>
            <a:srgbClr val="F26B43"/>
          </p15:clr>
        </p15:guide>
        <p15:guide id="57" orient="horz" pos="384">
          <p15:clr>
            <a:srgbClr val="5ACBF0"/>
          </p15:clr>
        </p15:guide>
        <p15:guide id="58" orient="horz" pos="288">
          <p15:clr>
            <a:srgbClr val="F26B43"/>
          </p15:clr>
        </p15:guide>
        <p15:guide id="59" orient="horz" pos="1200">
          <p15:clr>
            <a:srgbClr val="5ACBF0"/>
          </p15:clr>
        </p15:guide>
      </p15:sldGuideLst>
    </p:ext>
  </p:extLst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47EC9D-596C-4E44-B83E-18AAA49AA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0287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E00F6-F701-4424-BC1C-C234A2D50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1905000"/>
            <a:ext cx="110490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9" name="Graphic 98">
            <a:extLst>
              <a:ext uri="{FF2B5EF4-FFF2-40B4-BE49-F238E27FC236}">
                <a16:creationId xmlns:a16="http://schemas.microsoft.com/office/drawing/2014/main" id="{CC91285F-2BD9-4301-86D5-B8F24697FA1F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516807" y="6364637"/>
            <a:ext cx="503671" cy="221124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F582D94-6D1B-3AD1-EEA0-796D06B7A966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385550" y="6672580"/>
            <a:ext cx="765175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2761435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22" r:id="rId1"/>
    <p:sldLayoutId id="2147484623" r:id="rId2"/>
    <p:sldLayoutId id="2147484624" r:id="rId3"/>
    <p:sldLayoutId id="2147484625" r:id="rId4"/>
    <p:sldLayoutId id="2147484626" r:id="rId5"/>
    <p:sldLayoutId id="2147484627" r:id="rId6"/>
    <p:sldLayoutId id="2147484628" r:id="rId7"/>
    <p:sldLayoutId id="2147484629" r:id="rId8"/>
    <p:sldLayoutId id="2147484630" r:id="rId9"/>
    <p:sldLayoutId id="2147484631" r:id="rId10"/>
    <p:sldLayoutId id="2147484632" r:id="rId11"/>
    <p:sldLayoutId id="2147484633" r:id="rId12"/>
    <p:sldLayoutId id="2147484634" r:id="rId13"/>
    <p:sldLayoutId id="2147484635" r:id="rId14"/>
    <p:sldLayoutId id="2147484636" r:id="rId15"/>
    <p:sldLayoutId id="2147484637" r:id="rId16"/>
    <p:sldLayoutId id="2147484638" r:id="rId17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hdr="0" ftr="0" dt="0"/>
  <p:txStyles>
    <p:titleStyle>
      <a:lvl1pPr algn="l" defTabSz="882171" rtl="0" eaLnBrk="1" latinLnBrk="0" hangingPunct="1">
        <a:lnSpc>
          <a:spcPct val="90000"/>
        </a:lnSpc>
        <a:spcBef>
          <a:spcPct val="0"/>
        </a:spcBef>
        <a:buNone/>
        <a:defRPr lang="en-US" sz="4000" b="0" i="0" kern="100" spc="-133" baseline="0" dirty="0">
          <a:solidFill>
            <a:schemeClr val="tx1"/>
          </a:solidFill>
          <a:latin typeface="CiscoSansTT Medium" panose="020B0503020201020303" pitchFamily="34" charset="0"/>
          <a:ea typeface="+mj-ea"/>
          <a:cs typeface="CiscoSansTT Medium" panose="020B0503020201020303" pitchFamily="34" charset="0"/>
        </a:defRPr>
      </a:lvl1pPr>
    </p:titleStyle>
    <p:bodyStyle>
      <a:lvl1pPr marL="0" indent="0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600" b="0" i="0" kern="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2pPr>
      <a:lvl3pPr marL="342900" indent="-168275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2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3pPr>
      <a:lvl4pPr marL="512763" indent="-169863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0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4pPr>
      <a:lvl5pPr marL="571500" marR="0" indent="-114300" algn="l" defTabSz="882171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Tx/>
        <a:buSzTx/>
        <a:buFont typeface="Arial" panose="020B0604020202020204" pitchFamily="34" charset="0"/>
        <a:buChar char="•"/>
        <a:tabLst/>
        <a:defRPr sz="5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42597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867060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308145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74923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1pPr>
      <a:lvl2pPr marL="441088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2pPr>
      <a:lvl3pPr marL="882171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3pPr>
      <a:lvl4pPr marL="132325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4pPr>
      <a:lvl5pPr marL="1764344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5pPr>
      <a:lvl6pPr marL="2205432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646515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087603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52868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5ACBF0"/>
          </p15:clr>
        </p15:guide>
        <p15:guide id="2" pos="7320">
          <p15:clr>
            <a:srgbClr val="F26B43"/>
          </p15:clr>
        </p15:guide>
        <p15:guide id="3" pos="360">
          <p15:clr>
            <a:srgbClr val="F26B43"/>
          </p15:clr>
        </p15:guide>
        <p15:guide id="4" orient="horz" pos="2160">
          <p15:clr>
            <a:srgbClr val="5ACBF0"/>
          </p15:clr>
        </p15:guide>
        <p15:guide id="5" orient="horz" pos="4104">
          <p15:clr>
            <a:srgbClr val="F26B43"/>
          </p15:clr>
        </p15:guide>
        <p15:guide id="8" pos="3744">
          <p15:clr>
            <a:srgbClr val="A4A3A4"/>
          </p15:clr>
        </p15:guide>
        <p15:guide id="9" pos="768">
          <p15:clr>
            <a:srgbClr val="A4A3A4"/>
          </p15:clr>
        </p15:guide>
        <p15:guide id="10" pos="192">
          <p15:clr>
            <a:srgbClr val="A4A3A4"/>
          </p15:clr>
        </p15:guide>
        <p15:guide id="11" pos="7488">
          <p15:clr>
            <a:srgbClr val="A4A3A4"/>
          </p15:clr>
        </p15:guide>
        <p15:guide id="16" orient="horz" pos="2064">
          <p15:clr>
            <a:srgbClr val="F26B43"/>
          </p15:clr>
        </p15:guide>
        <p15:guide id="17" pos="3936">
          <p15:clr>
            <a:srgbClr val="A4A3A4"/>
          </p15:clr>
        </p15:guide>
        <p15:guide id="18" pos="960">
          <p15:clr>
            <a:srgbClr val="A4A3A4"/>
          </p15:clr>
        </p15:guide>
        <p15:guide id="19" pos="1368">
          <p15:clr>
            <a:srgbClr val="A4A3A4"/>
          </p15:clr>
        </p15:guide>
        <p15:guide id="20" pos="1560">
          <p15:clr>
            <a:srgbClr val="A4A3A4"/>
          </p15:clr>
        </p15:guide>
        <p15:guide id="21" pos="1968">
          <p15:clr>
            <a:srgbClr val="A4A3A4"/>
          </p15:clr>
        </p15:guide>
        <p15:guide id="22" pos="2160">
          <p15:clr>
            <a:srgbClr val="A4A3A4"/>
          </p15:clr>
        </p15:guide>
        <p15:guide id="23" pos="2760">
          <p15:clr>
            <a:srgbClr val="A4A3A4"/>
          </p15:clr>
        </p15:guide>
        <p15:guide id="24" pos="3144">
          <p15:clr>
            <a:srgbClr val="A4A3A4"/>
          </p15:clr>
        </p15:guide>
        <p15:guide id="25" pos="2568">
          <p15:clr>
            <a:srgbClr val="A4A3A4"/>
          </p15:clr>
        </p15:guide>
        <p15:guide id="26" pos="3336">
          <p15:clr>
            <a:srgbClr val="A4A3A4"/>
          </p15:clr>
        </p15:guide>
        <p15:guide id="27" pos="4344">
          <p15:clr>
            <a:srgbClr val="A4A3A4"/>
          </p15:clr>
        </p15:guide>
        <p15:guide id="28" pos="5136">
          <p15:clr>
            <a:srgbClr val="A4A3A4"/>
          </p15:clr>
        </p15:guide>
        <p15:guide id="29" pos="4944">
          <p15:clr>
            <a:srgbClr val="A4A3A4"/>
          </p15:clr>
        </p15:guide>
        <p15:guide id="30" pos="4536">
          <p15:clr>
            <a:srgbClr val="A4A3A4"/>
          </p15:clr>
        </p15:guide>
        <p15:guide id="31" pos="6120">
          <p15:clr>
            <a:srgbClr val="A4A3A4"/>
          </p15:clr>
        </p15:guide>
        <p15:guide id="32" pos="5712">
          <p15:clr>
            <a:srgbClr val="A4A3A4"/>
          </p15:clr>
        </p15:guide>
        <p15:guide id="33" pos="5520">
          <p15:clr>
            <a:srgbClr val="A4A3A4"/>
          </p15:clr>
        </p15:guide>
        <p15:guide id="34" pos="6720">
          <p15:clr>
            <a:srgbClr val="A4A3A4"/>
          </p15:clr>
        </p15:guide>
        <p15:guide id="35" pos="6312">
          <p15:clr>
            <a:srgbClr val="A4A3A4"/>
          </p15:clr>
        </p15:guide>
        <p15:guide id="36" pos="6912">
          <p15:clr>
            <a:srgbClr val="A4A3A4"/>
          </p15:clr>
        </p15:guide>
        <p15:guide id="37" orient="horz" pos="2260">
          <p15:clr>
            <a:srgbClr val="F26B43"/>
          </p15:clr>
        </p15:guide>
        <p15:guide id="48" orient="horz" pos="3912">
          <p15:clr>
            <a:srgbClr val="F26B43"/>
          </p15:clr>
        </p15:guide>
        <p15:guide id="55" orient="horz" pos="192">
          <p15:clr>
            <a:srgbClr val="F26B43"/>
          </p15:clr>
        </p15:guide>
        <p15:guide id="57" orient="horz" pos="384">
          <p15:clr>
            <a:srgbClr val="5ACBF0"/>
          </p15:clr>
        </p15:guide>
        <p15:guide id="58" orient="horz" pos="288">
          <p15:clr>
            <a:srgbClr val="F26B43"/>
          </p15:clr>
        </p15:guide>
        <p15:guide id="59" orient="horz" pos="1200">
          <p15:clr>
            <a:srgbClr val="5ACBF0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47EC9D-596C-4E44-B83E-18AAA49AA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904" y="990602"/>
            <a:ext cx="11077296" cy="126135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E00F6-F701-4424-BC1C-C234A2D50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352" y="2431881"/>
            <a:ext cx="11077296" cy="3744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33559E-7ED2-43CE-955D-B8AD83F21F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20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8E091B7-206D-425C-8EC9-DD0ADFDEA73B}"/>
              </a:ext>
            </a:extLst>
          </p:cNvPr>
          <p:cNvPicPr>
            <a:picLocks noChangeAspect="1"/>
          </p:cNvPicPr>
          <p:nvPr/>
        </p:nvPicPr>
        <p:blipFill>
          <a:blip r:embed="rId70"/>
          <a:srcRect/>
          <a:stretch/>
        </p:blipFill>
        <p:spPr>
          <a:xfrm>
            <a:off x="11262604" y="6390603"/>
            <a:ext cx="382947" cy="9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2946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9" r:id="rId1"/>
    <p:sldLayoutId id="2147483730" r:id="rId2"/>
    <p:sldLayoutId id="2147483731" r:id="rId3"/>
    <p:sldLayoutId id="2147483732" r:id="rId4"/>
    <p:sldLayoutId id="2147483733" r:id="rId5"/>
    <p:sldLayoutId id="2147483734" r:id="rId6"/>
    <p:sldLayoutId id="2147483735" r:id="rId7"/>
    <p:sldLayoutId id="2147483736" r:id="rId8"/>
    <p:sldLayoutId id="2147483737" r:id="rId9"/>
    <p:sldLayoutId id="2147483738" r:id="rId10"/>
    <p:sldLayoutId id="2147483739" r:id="rId11"/>
    <p:sldLayoutId id="2147483740" r:id="rId12"/>
    <p:sldLayoutId id="2147483741" r:id="rId13"/>
    <p:sldLayoutId id="2147483742" r:id="rId14"/>
    <p:sldLayoutId id="2147483743" r:id="rId15"/>
    <p:sldLayoutId id="2147483744" r:id="rId16"/>
    <p:sldLayoutId id="2147483745" r:id="rId17"/>
    <p:sldLayoutId id="2147483746" r:id="rId18"/>
    <p:sldLayoutId id="2147483747" r:id="rId19"/>
    <p:sldLayoutId id="2147483748" r:id="rId20"/>
    <p:sldLayoutId id="2147483749" r:id="rId21"/>
    <p:sldLayoutId id="2147483750" r:id="rId22"/>
    <p:sldLayoutId id="2147483751" r:id="rId23"/>
    <p:sldLayoutId id="2147483752" r:id="rId24"/>
    <p:sldLayoutId id="2147483753" r:id="rId25"/>
    <p:sldLayoutId id="2147483754" r:id="rId26"/>
    <p:sldLayoutId id="2147483755" r:id="rId27"/>
    <p:sldLayoutId id="2147483756" r:id="rId28"/>
    <p:sldLayoutId id="2147483757" r:id="rId29"/>
    <p:sldLayoutId id="2147483758" r:id="rId30"/>
    <p:sldLayoutId id="2147483759" r:id="rId31"/>
    <p:sldLayoutId id="2147483760" r:id="rId32"/>
    <p:sldLayoutId id="2147483761" r:id="rId33"/>
    <p:sldLayoutId id="2147483762" r:id="rId34"/>
    <p:sldLayoutId id="2147483763" r:id="rId35"/>
    <p:sldLayoutId id="2147483764" r:id="rId36"/>
    <p:sldLayoutId id="2147483765" r:id="rId37"/>
    <p:sldLayoutId id="2147483766" r:id="rId38"/>
    <p:sldLayoutId id="2147483767" r:id="rId39"/>
    <p:sldLayoutId id="2147483768" r:id="rId40"/>
    <p:sldLayoutId id="2147483769" r:id="rId41"/>
    <p:sldLayoutId id="2147483770" r:id="rId42"/>
    <p:sldLayoutId id="2147483771" r:id="rId43"/>
    <p:sldLayoutId id="2147483772" r:id="rId44"/>
    <p:sldLayoutId id="2147483773" r:id="rId45"/>
    <p:sldLayoutId id="2147483774" r:id="rId46"/>
    <p:sldLayoutId id="2147483775" r:id="rId47"/>
    <p:sldLayoutId id="2147483776" r:id="rId48"/>
    <p:sldLayoutId id="2147483777" r:id="rId49"/>
    <p:sldLayoutId id="2147483778" r:id="rId50"/>
    <p:sldLayoutId id="2147483779" r:id="rId51"/>
    <p:sldLayoutId id="2147483780" r:id="rId52"/>
    <p:sldLayoutId id="2147483781" r:id="rId53"/>
    <p:sldLayoutId id="2147483782" r:id="rId54"/>
    <p:sldLayoutId id="2147483783" r:id="rId55"/>
    <p:sldLayoutId id="2147483784" r:id="rId56"/>
    <p:sldLayoutId id="2147483785" r:id="rId57"/>
    <p:sldLayoutId id="2147483786" r:id="rId58"/>
    <p:sldLayoutId id="2147483787" r:id="rId59"/>
    <p:sldLayoutId id="2147483788" r:id="rId60"/>
    <p:sldLayoutId id="2147483789" r:id="rId61"/>
    <p:sldLayoutId id="2147483790" r:id="rId62"/>
    <p:sldLayoutId id="2147483791" r:id="rId63"/>
    <p:sldLayoutId id="2147483792" r:id="rId64"/>
    <p:sldLayoutId id="2147483793" r:id="rId65"/>
    <p:sldLayoutId id="2147483794" r:id="rId66"/>
    <p:sldLayoutId id="2147483795" r:id="rId67"/>
    <p:sldLayoutId id="2147483796" r:id="rId68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txStyles>
    <p:titleStyle>
      <a:lvl1pPr algn="l" defTabSz="882149" rtl="0" eaLnBrk="1" latinLnBrk="0" hangingPunct="1">
        <a:lnSpc>
          <a:spcPct val="90000"/>
        </a:lnSpc>
        <a:spcBef>
          <a:spcPct val="0"/>
        </a:spcBef>
        <a:buNone/>
        <a:defRPr lang="en-US" sz="4267" b="0" i="0" kern="100" spc="-133" baseline="0" dirty="0">
          <a:solidFill>
            <a:schemeClr val="tx1"/>
          </a:solidFill>
          <a:latin typeface="CiscoSansTT" panose="020B0503020201020303" pitchFamily="34" charset="0"/>
          <a:ea typeface="+mj-ea"/>
          <a:cs typeface="+mj-cs"/>
        </a:defRPr>
      </a:lvl1pPr>
    </p:titleStyle>
    <p:bodyStyle>
      <a:lvl1pPr marL="0" indent="0" algn="l" defTabSz="882149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600" b="0" i="0" kern="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531257" indent="-228589" algn="l" defTabSz="882149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2pPr>
      <a:lvl3pPr marL="840275" indent="-232822" algn="l" defTabSz="882149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2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3pPr>
      <a:lvl4pPr marL="1142942" indent="-226473" algn="l" defTabSz="882149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800" b="0" i="0" kern="0" spc="0" baseline="0">
          <a:solidFill>
            <a:schemeClr val="tx1"/>
          </a:solidFill>
          <a:latin typeface="CiscoSansTT" panose="020B0503020201020303" pitchFamily="34" charset="0"/>
          <a:ea typeface="+mn-ea"/>
          <a:cs typeface="CiscoSansTT" panose="020B0503020201020303" pitchFamily="34" charset="0"/>
        </a:defRPr>
      </a:lvl4pPr>
      <a:lvl5pPr marL="1295336" marR="0" indent="-228589" algn="l" defTabSz="882149" rtl="0" eaLnBrk="1" fontAlgn="auto" latinLnBrk="0" hangingPunct="1">
        <a:lnSpc>
          <a:spcPct val="150000"/>
        </a:lnSpc>
        <a:spcBef>
          <a:spcPts val="0"/>
        </a:spcBef>
        <a:spcAft>
          <a:spcPts val="800"/>
        </a:spcAft>
        <a:buClrTx/>
        <a:buSzTx/>
        <a:buFont typeface="Arial" panose="020B0604020202020204" pitchFamily="34" charset="0"/>
        <a:buChar char="•"/>
        <a:tabLst/>
        <a:defRPr sz="667" b="0" i="0" kern="1200" spc="0" baseline="0">
          <a:solidFill>
            <a:schemeClr val="tx1"/>
          </a:solidFill>
          <a:latin typeface="CiscoSansTT Light" panose="020B0503020201020303" pitchFamily="34" charset="0"/>
          <a:ea typeface="+mn-ea"/>
          <a:cs typeface="+mn-cs"/>
        </a:defRPr>
      </a:lvl5pPr>
      <a:lvl6pPr marL="2425913" indent="-220537" algn="l" defTabSz="882149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866988" indent="-220537" algn="l" defTabSz="882149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308063" indent="-220537" algn="l" defTabSz="882149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749140" indent="-220537" algn="l" defTabSz="882149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1pPr>
      <a:lvl2pPr marL="441077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2pPr>
      <a:lvl3pPr marL="882149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3pPr>
      <a:lvl4pPr marL="1323226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4pPr>
      <a:lvl5pPr marL="1764300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5pPr>
      <a:lvl6pPr marL="2205377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646449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087525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528601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pos="5496">
          <p15:clr>
            <a:srgbClr val="F26B43"/>
          </p15:clr>
        </p15:guide>
        <p15:guide id="3" pos="264">
          <p15:clr>
            <a:srgbClr val="F26B43"/>
          </p15:clr>
        </p15:guide>
        <p15:guide id="4" orient="horz" pos="1620">
          <p15:clr>
            <a:srgbClr val="F26B43"/>
          </p15:clr>
        </p15:guide>
        <p15:guide id="5" orient="horz" pos="3060">
          <p15:clr>
            <a:srgbClr val="F26B43"/>
          </p15:clr>
        </p15:guide>
        <p15:guide id="6" orient="horz" pos="180">
          <p15:clr>
            <a:srgbClr val="F26B43"/>
          </p15:clr>
        </p15:guide>
        <p15:guide id="8" pos="2808">
          <p15:clr>
            <a:srgbClr val="F26B43"/>
          </p15:clr>
        </p15:guide>
        <p15:guide id="9" pos="2952">
          <p15:clr>
            <a:srgbClr val="F26B43"/>
          </p15:clr>
        </p15:guide>
      </p15:sldGuideLst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543E5826-E261-5240-BCCC-F517FDB6EBB5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1142756" y="6373473"/>
            <a:ext cx="4534733" cy="1752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b">
            <a:spAutoFit/>
          </a:bodyPr>
          <a:lstStyle/>
          <a:p>
            <a:pPr defTabSz="814298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600" b="0" i="0" spc="27" baseline="0">
                <a:solidFill>
                  <a:schemeClr val="bg2"/>
                </a:solidFill>
                <a:latin typeface="+mn-lt"/>
                <a:ea typeface="+mn-ea"/>
                <a:cs typeface="CiscoSansTT Light" panose="020B0503020201020303" pitchFamily="34" charset="0"/>
              </a:rPr>
              <a:t>© 2025  Cisco and/or its affiliates. All rights reserved.   Cisco Confidential</a:t>
            </a:r>
          </a:p>
        </p:txBody>
      </p:sp>
      <p:pic>
        <p:nvPicPr>
          <p:cNvPr id="6" name="Picture 7">
            <a:extLst>
              <a:ext uri="{FF2B5EF4-FFF2-40B4-BE49-F238E27FC236}">
                <a16:creationId xmlns:a16="http://schemas.microsoft.com/office/drawing/2014/main" id="{563804D0-1B5B-924C-8995-DA787F4942D5}"/>
              </a:ext>
            </a:extLst>
          </p:cNvPr>
          <p:cNvPicPr>
            <a:picLocks noChangeAspect="1"/>
          </p:cNvPicPr>
          <p:nvPr/>
        </p:nvPicPr>
        <p:blipFill>
          <a:blip r:embed="rId4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42"/>
              </a:ext>
            </a:extLst>
          </a:blip>
          <a:srcRect/>
          <a:stretch/>
        </p:blipFill>
        <p:spPr>
          <a:xfrm>
            <a:off x="609604" y="6342699"/>
            <a:ext cx="396305" cy="208228"/>
          </a:xfrm>
          <a:prstGeom prst="rect">
            <a:avLst/>
          </a:prstGeom>
        </p:spPr>
      </p:pic>
      <p:sp>
        <p:nvSpPr>
          <p:cNvPr id="3" name="Title Placeholder 1">
            <a:extLst>
              <a:ext uri="{FF2B5EF4-FFF2-40B4-BE49-F238E27FC236}">
                <a16:creationId xmlns:a16="http://schemas.microsoft.com/office/drawing/2014/main" id="{F21F2830-F0A3-2EAC-C709-5C928A8C49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3" y="384079"/>
            <a:ext cx="10972800" cy="685800"/>
          </a:xfrm>
          <a:prstGeom prst="rect">
            <a:avLst/>
          </a:prstGeom>
        </p:spPr>
        <p:txBody>
          <a:bodyPr vert="horz" lIns="45720" tIns="45720" rIns="45720" bIns="45720" rtlCol="0" anchor="ctr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Text Placeholder 2">
            <a:extLst>
              <a:ext uri="{FF2B5EF4-FFF2-40B4-BE49-F238E27FC236}">
                <a16:creationId xmlns:a16="http://schemas.microsoft.com/office/drawing/2014/main" id="{455BE63C-8C0C-FC75-3DF2-F8F96A3C87B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09602" y="1409700"/>
            <a:ext cx="10972799" cy="4724400"/>
          </a:xfrm>
          <a:prstGeom prst="rect">
            <a:avLst/>
          </a:prstGeom>
        </p:spPr>
        <p:txBody>
          <a:bodyPr vert="horz" lIns="45720" tIns="45720" rIns="45720" bIns="4572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6448808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640" r:id="rId1"/>
    <p:sldLayoutId id="2147484641" r:id="rId2"/>
    <p:sldLayoutId id="2147484642" r:id="rId3"/>
    <p:sldLayoutId id="2147484643" r:id="rId4"/>
    <p:sldLayoutId id="2147484644" r:id="rId5"/>
    <p:sldLayoutId id="2147484645" r:id="rId6"/>
    <p:sldLayoutId id="2147484646" r:id="rId7"/>
    <p:sldLayoutId id="2147484647" r:id="rId8"/>
    <p:sldLayoutId id="2147484648" r:id="rId9"/>
    <p:sldLayoutId id="2147484649" r:id="rId10"/>
    <p:sldLayoutId id="2147484650" r:id="rId11"/>
    <p:sldLayoutId id="2147484651" r:id="rId12"/>
    <p:sldLayoutId id="2147484652" r:id="rId13"/>
    <p:sldLayoutId id="2147484653" r:id="rId14"/>
    <p:sldLayoutId id="2147484654" r:id="rId15"/>
    <p:sldLayoutId id="2147484655" r:id="rId16"/>
    <p:sldLayoutId id="2147484656" r:id="rId17"/>
    <p:sldLayoutId id="2147484657" r:id="rId18"/>
    <p:sldLayoutId id="2147484658" r:id="rId19"/>
    <p:sldLayoutId id="2147484659" r:id="rId20"/>
    <p:sldLayoutId id="2147484660" r:id="rId21"/>
    <p:sldLayoutId id="2147484661" r:id="rId22"/>
    <p:sldLayoutId id="2147484662" r:id="rId23"/>
    <p:sldLayoutId id="2147484663" r:id="rId24"/>
    <p:sldLayoutId id="2147484664" r:id="rId25"/>
    <p:sldLayoutId id="2147484665" r:id="rId26"/>
    <p:sldLayoutId id="2147484666" r:id="rId27"/>
    <p:sldLayoutId id="2147484667" r:id="rId28"/>
    <p:sldLayoutId id="2147484668" r:id="rId29"/>
    <p:sldLayoutId id="2147484669" r:id="rId30"/>
    <p:sldLayoutId id="2147484670" r:id="rId31"/>
    <p:sldLayoutId id="2147484671" r:id="rId32"/>
    <p:sldLayoutId id="2147484672" r:id="rId33"/>
    <p:sldLayoutId id="2147484673" r:id="rId34"/>
    <p:sldLayoutId id="2147484674" r:id="rId35"/>
    <p:sldLayoutId id="2147484675" r:id="rId36"/>
    <p:sldLayoutId id="2147484676" r:id="rId37"/>
    <p:sldLayoutId id="2147484677" r:id="rId38"/>
    <p:sldLayoutId id="2147484678" r:id="rId39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txStyles>
    <p:titleStyle>
      <a:lvl1pPr algn="l" defTabSz="91225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600" b="0" i="0" u="none" kern="1200" dirty="0">
          <a:solidFill>
            <a:schemeClr val="accent1"/>
          </a:solidFill>
          <a:latin typeface="+mj-lt"/>
          <a:ea typeface="CiscoSansTT Thin" charset="0"/>
          <a:cs typeface="CiscoSansTT Thin" charset="0"/>
        </a:defRPr>
      </a:lvl1pPr>
      <a:lvl2pPr algn="l" defTabSz="91225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5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5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5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579" algn="l" defTabSz="91225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60" algn="l" defTabSz="91225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40" algn="l" defTabSz="91225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18" algn="l" defTabSz="912253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477" indent="-226477" algn="l" defTabSz="912253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accent1"/>
        </a:buClr>
        <a:buSzPct val="90000"/>
        <a:buFont typeface="Arial" charset="0"/>
        <a:buChar char="•"/>
        <a:defRPr lang="en-US" sz="2400" kern="1200" dirty="0">
          <a:solidFill>
            <a:schemeClr val="bg2"/>
          </a:solidFill>
          <a:latin typeface="+mn-lt"/>
          <a:ea typeface="ＭＳ Ｐゴシック" charset="0"/>
          <a:cs typeface="CiscoSans"/>
        </a:defRPr>
      </a:lvl1pPr>
      <a:lvl2pPr marL="457189" indent="-227008" algn="l" defTabSz="912253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accent1"/>
        </a:buClr>
        <a:buFont typeface="Arial" charset="0"/>
        <a:buChar char="•"/>
        <a:defRPr lang="en-US" sz="2000" kern="1200" dirty="0">
          <a:solidFill>
            <a:schemeClr val="bg2"/>
          </a:solidFill>
          <a:latin typeface="+mn-lt"/>
          <a:ea typeface="ＭＳ Ｐゴシック" charset="0"/>
          <a:cs typeface="CiscoSans"/>
        </a:defRPr>
      </a:lvl2pPr>
      <a:lvl3pPr marL="569899" indent="-230182" algn="l" defTabSz="912253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Clr>
          <a:schemeClr val="accent1"/>
        </a:buClr>
        <a:buFont typeface="Arial" charset="0"/>
        <a:buChar char="•"/>
        <a:defRPr lang="en-US" sz="1800" kern="1200" dirty="0">
          <a:solidFill>
            <a:schemeClr val="bg2"/>
          </a:solidFill>
          <a:latin typeface="+mn-lt"/>
          <a:ea typeface="ＭＳ Ｐゴシック" charset="0"/>
          <a:cs typeface="CiscoSans"/>
        </a:defRPr>
      </a:lvl3pPr>
      <a:lvl4pPr marL="687371" indent="-230182" algn="l" defTabSz="912253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Clr>
          <a:schemeClr val="accent1"/>
        </a:buClr>
        <a:buFont typeface="Arial" charset="0"/>
        <a:buChar char="•"/>
        <a:defRPr lang="en-US" sz="1600" kern="1200" dirty="0">
          <a:solidFill>
            <a:schemeClr val="bg2"/>
          </a:solidFill>
          <a:latin typeface="+mn-lt"/>
          <a:ea typeface="ＭＳ Ｐゴシック" charset="0"/>
          <a:cs typeface="CiscoSans"/>
        </a:defRPr>
      </a:lvl4pPr>
      <a:lvl5pPr marL="801668" indent="-231769" algn="l" defTabSz="912253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Clr>
          <a:schemeClr val="accent1"/>
        </a:buClr>
        <a:buFont typeface="Arial" charset="0"/>
        <a:buChar char="•"/>
        <a:defRPr lang="en-US" sz="1400" kern="1200" dirty="0">
          <a:solidFill>
            <a:schemeClr val="bg2"/>
          </a:solidFill>
          <a:latin typeface="+mn-lt"/>
          <a:ea typeface="ＭＳ Ｐゴシック" charset="0"/>
          <a:cs typeface="CiscoSans"/>
        </a:defRPr>
      </a:lvl5pPr>
      <a:lvl6pPr marL="1151770" indent="-228586" algn="l" defTabSz="914340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50" indent="-228556" algn="l" defTabSz="914340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187" indent="0" algn="l" defTabSz="914340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42" indent="-228586" algn="l" defTabSz="91434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67" algn="l" defTabSz="91434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40" algn="l" defTabSz="91434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08" algn="l" defTabSz="91434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80" algn="l" defTabSz="91434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46" algn="l" defTabSz="91434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18" algn="l" defTabSz="91434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187" algn="l" defTabSz="91434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59" algn="l" defTabSz="914340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384">
          <p15:clr>
            <a:srgbClr val="F26B43"/>
          </p15:clr>
        </p15:guide>
        <p15:guide id="3" pos="7296">
          <p15:clr>
            <a:srgbClr val="F26B43"/>
          </p15:clr>
        </p15:guide>
        <p15:guide id="6" pos="3835">
          <p15:clr>
            <a:srgbClr val="F26B43"/>
          </p15:clr>
        </p15:guide>
        <p15:guide id="9" orient="horz" pos="3864">
          <p15:clr>
            <a:srgbClr val="F26B43"/>
          </p15:clr>
        </p15:guide>
        <p15:guide id="10" orient="horz" pos="240">
          <p15:clr>
            <a:srgbClr val="F26B43"/>
          </p15:clr>
        </p15:guide>
        <p15:guide id="11" orient="horz" pos="2160">
          <p15:clr>
            <a:srgbClr val="F26B43"/>
          </p15:clr>
        </p15:guide>
        <p15:guide id="12" orient="horz" pos="672">
          <p15:clr>
            <a:srgbClr val="F26B43"/>
          </p15:clr>
        </p15:guide>
        <p15:guide id="13" orient="horz" pos="888">
          <p15:clr>
            <a:srgbClr val="F26B43"/>
          </p15:clr>
        </p15:guide>
      </p15:sldGuideLst>
    </p:ext>
  </p:extLst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47EC9D-596C-4E44-B83E-18AAA49AA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2851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E00F6-F701-4424-BC1C-C234A2D50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2057400"/>
            <a:ext cx="11049000" cy="4152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33559E-7ED2-43CE-955D-B8AD83F21F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48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9" name="Graphic 98">
            <a:extLst>
              <a:ext uri="{FF2B5EF4-FFF2-40B4-BE49-F238E27FC236}">
                <a16:creationId xmlns:a16="http://schemas.microsoft.com/office/drawing/2014/main" id="{CC91285F-2BD9-4301-86D5-B8F24697FA1F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516807" y="6364637"/>
            <a:ext cx="503671" cy="22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3030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0" r:id="rId1"/>
    <p:sldLayoutId id="2147484681" r:id="rId2"/>
    <p:sldLayoutId id="2147484682" r:id="rId3"/>
    <p:sldLayoutId id="2147484683" r:id="rId4"/>
    <p:sldLayoutId id="2147484684" r:id="rId5"/>
    <p:sldLayoutId id="2147484685" r:id="rId6"/>
    <p:sldLayoutId id="2147484686" r:id="rId7"/>
    <p:sldLayoutId id="2147484687" r:id="rId8"/>
    <p:sldLayoutId id="2147484688" r:id="rId9"/>
    <p:sldLayoutId id="2147484689" r:id="rId10"/>
    <p:sldLayoutId id="2147484690" r:id="rId11"/>
    <p:sldLayoutId id="2147484691" r:id="rId12"/>
    <p:sldLayoutId id="2147484692" r:id="rId13"/>
    <p:sldLayoutId id="2147484693" r:id="rId14"/>
    <p:sldLayoutId id="2147484694" r:id="rId15"/>
    <p:sldLayoutId id="2147484695" r:id="rId16"/>
    <p:sldLayoutId id="2147484696" r:id="rId17"/>
    <p:sldLayoutId id="2147484697" r:id="rId18"/>
    <p:sldLayoutId id="2147484698" r:id="rId19"/>
    <p:sldLayoutId id="2147484699" r:id="rId20"/>
    <p:sldLayoutId id="2147484700" r:id="rId21"/>
    <p:sldLayoutId id="2147484701" r:id="rId22"/>
    <p:sldLayoutId id="2147484702" r:id="rId23"/>
    <p:sldLayoutId id="2147484703" r:id="rId24"/>
    <p:sldLayoutId id="2147484704" r:id="rId25"/>
    <p:sldLayoutId id="2147484705" r:id="rId26"/>
    <p:sldLayoutId id="2147484706" r:id="rId27"/>
    <p:sldLayoutId id="2147484707" r:id="rId28"/>
    <p:sldLayoutId id="2147484708" r:id="rId29"/>
    <p:sldLayoutId id="2147484709" r:id="rId30"/>
    <p:sldLayoutId id="2147484710" r:id="rId31"/>
    <p:sldLayoutId id="2147484711" r:id="rId32"/>
    <p:sldLayoutId id="2147484712" r:id="rId33"/>
    <p:sldLayoutId id="2147484713" r:id="rId34"/>
    <p:sldLayoutId id="2147484714" r:id="rId35"/>
    <p:sldLayoutId id="2147484715" r:id="rId36"/>
    <p:sldLayoutId id="2147484716" r:id="rId37"/>
    <p:sldLayoutId id="2147484717" r:id="rId38"/>
    <p:sldLayoutId id="2147484718" r:id="rId39"/>
    <p:sldLayoutId id="2147484719" r:id="rId40"/>
    <p:sldLayoutId id="2147484720" r:id="rId41"/>
    <p:sldLayoutId id="2147484721" r:id="rId42"/>
    <p:sldLayoutId id="2147484722" r:id="rId43"/>
    <p:sldLayoutId id="2147484723" r:id="rId44"/>
    <p:sldLayoutId id="2147484724" r:id="rId45"/>
    <p:sldLayoutId id="2147484725" r:id="rId46"/>
    <p:sldLayoutId id="2147484726" r:id="rId47"/>
    <p:sldLayoutId id="2147484727" r:id="rId48"/>
    <p:sldLayoutId id="2147484728" r:id="rId49"/>
    <p:sldLayoutId id="2147484729" r:id="rId50"/>
    <p:sldLayoutId id="2147484730" r:id="rId51"/>
    <p:sldLayoutId id="2147484731" r:id="rId52"/>
    <p:sldLayoutId id="2147484732" r:id="rId53"/>
    <p:sldLayoutId id="2147484733" r:id="rId54"/>
    <p:sldLayoutId id="2147484734" r:id="rId55"/>
    <p:sldLayoutId id="2147484735" r:id="rId56"/>
    <p:sldLayoutId id="2147484736" r:id="rId57"/>
    <p:sldLayoutId id="2147484737" r:id="rId58"/>
    <p:sldLayoutId id="2147484738" r:id="rId59"/>
    <p:sldLayoutId id="2147484739" r:id="rId60"/>
    <p:sldLayoutId id="2147484740" r:id="rId61"/>
    <p:sldLayoutId id="2147484741" r:id="rId62"/>
    <p:sldLayoutId id="2147484742" r:id="rId63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hdr="0" ftr="0" dt="0"/>
  <p:txStyles>
    <p:titleStyle>
      <a:lvl1pPr algn="l" defTabSz="882171" rtl="0" eaLnBrk="1" latinLnBrk="0" hangingPunct="1">
        <a:lnSpc>
          <a:spcPct val="90000"/>
        </a:lnSpc>
        <a:spcBef>
          <a:spcPct val="0"/>
        </a:spcBef>
        <a:buNone/>
        <a:defRPr lang="en-US" sz="3600" b="0" i="0" kern="100" spc="-133" baseline="0" dirty="0">
          <a:solidFill>
            <a:schemeClr val="tx1"/>
          </a:solidFill>
          <a:latin typeface="CiscoSansTT" panose="020B0503020201020303" pitchFamily="34" charset="0"/>
          <a:ea typeface="+mj-ea"/>
          <a:cs typeface="+mj-cs"/>
        </a:defRPr>
      </a:lvl1pPr>
    </p:titleStyle>
    <p:bodyStyle>
      <a:lvl1pPr marL="0" indent="0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600" b="0" i="0" kern="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228600" indent="-228600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2pPr>
      <a:lvl3pPr marL="406400" indent="-177800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2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3pPr>
      <a:lvl4pPr marL="571500" indent="-165100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8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4pPr>
      <a:lvl5pPr marL="746125" marR="0" indent="-174625" algn="l" defTabSz="882171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Tx/>
        <a:buSzTx/>
        <a:buFont typeface="Arial" panose="020B0604020202020204" pitchFamily="34" charset="0"/>
        <a:buChar char="•"/>
        <a:tabLst/>
        <a:defRPr sz="6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42597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867060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308145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74923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1pPr>
      <a:lvl2pPr marL="441088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2pPr>
      <a:lvl3pPr marL="882171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3pPr>
      <a:lvl4pPr marL="132325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4pPr>
      <a:lvl5pPr marL="1764344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5pPr>
      <a:lvl6pPr marL="2205432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646515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087603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52868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5ACBF0"/>
          </p15:clr>
        </p15:guide>
        <p15:guide id="2" pos="7320">
          <p15:clr>
            <a:srgbClr val="F26B43"/>
          </p15:clr>
        </p15:guide>
        <p15:guide id="3" pos="360">
          <p15:clr>
            <a:srgbClr val="F26B43"/>
          </p15:clr>
        </p15:guide>
        <p15:guide id="4" orient="horz" pos="2160">
          <p15:clr>
            <a:srgbClr val="5ACBF0"/>
          </p15:clr>
        </p15:guide>
        <p15:guide id="5" orient="horz" pos="4104">
          <p15:clr>
            <a:srgbClr val="F26B43"/>
          </p15:clr>
        </p15:guide>
        <p15:guide id="8" pos="3744">
          <p15:clr>
            <a:srgbClr val="A4A3A4"/>
          </p15:clr>
        </p15:guide>
        <p15:guide id="9" pos="768">
          <p15:clr>
            <a:srgbClr val="A4A3A4"/>
          </p15:clr>
        </p15:guide>
        <p15:guide id="10" pos="192">
          <p15:clr>
            <a:srgbClr val="A4A3A4"/>
          </p15:clr>
        </p15:guide>
        <p15:guide id="11" pos="7488">
          <p15:clr>
            <a:srgbClr val="A4A3A4"/>
          </p15:clr>
        </p15:guide>
        <p15:guide id="16" orient="horz" pos="2064">
          <p15:clr>
            <a:srgbClr val="F26B43"/>
          </p15:clr>
        </p15:guide>
        <p15:guide id="17" pos="3936">
          <p15:clr>
            <a:srgbClr val="A4A3A4"/>
          </p15:clr>
        </p15:guide>
        <p15:guide id="18" pos="960">
          <p15:clr>
            <a:srgbClr val="A4A3A4"/>
          </p15:clr>
        </p15:guide>
        <p15:guide id="19" pos="1368">
          <p15:clr>
            <a:srgbClr val="A4A3A4"/>
          </p15:clr>
        </p15:guide>
        <p15:guide id="20" pos="1560">
          <p15:clr>
            <a:srgbClr val="A4A3A4"/>
          </p15:clr>
        </p15:guide>
        <p15:guide id="21" pos="1968">
          <p15:clr>
            <a:srgbClr val="A4A3A4"/>
          </p15:clr>
        </p15:guide>
        <p15:guide id="22" pos="2160">
          <p15:clr>
            <a:srgbClr val="A4A3A4"/>
          </p15:clr>
        </p15:guide>
        <p15:guide id="23" pos="2760">
          <p15:clr>
            <a:srgbClr val="A4A3A4"/>
          </p15:clr>
        </p15:guide>
        <p15:guide id="24" pos="3144">
          <p15:clr>
            <a:srgbClr val="A4A3A4"/>
          </p15:clr>
        </p15:guide>
        <p15:guide id="25" pos="2568">
          <p15:clr>
            <a:srgbClr val="A4A3A4"/>
          </p15:clr>
        </p15:guide>
        <p15:guide id="26" pos="3336">
          <p15:clr>
            <a:srgbClr val="A4A3A4"/>
          </p15:clr>
        </p15:guide>
        <p15:guide id="27" pos="4344">
          <p15:clr>
            <a:srgbClr val="A4A3A4"/>
          </p15:clr>
        </p15:guide>
        <p15:guide id="28" pos="5136">
          <p15:clr>
            <a:srgbClr val="A4A3A4"/>
          </p15:clr>
        </p15:guide>
        <p15:guide id="29" pos="4944">
          <p15:clr>
            <a:srgbClr val="A4A3A4"/>
          </p15:clr>
        </p15:guide>
        <p15:guide id="30" pos="4536">
          <p15:clr>
            <a:srgbClr val="A4A3A4"/>
          </p15:clr>
        </p15:guide>
        <p15:guide id="31" pos="6120">
          <p15:clr>
            <a:srgbClr val="A4A3A4"/>
          </p15:clr>
        </p15:guide>
        <p15:guide id="32" pos="5712">
          <p15:clr>
            <a:srgbClr val="A4A3A4"/>
          </p15:clr>
        </p15:guide>
        <p15:guide id="33" pos="5520">
          <p15:clr>
            <a:srgbClr val="A4A3A4"/>
          </p15:clr>
        </p15:guide>
        <p15:guide id="34" pos="6720">
          <p15:clr>
            <a:srgbClr val="A4A3A4"/>
          </p15:clr>
        </p15:guide>
        <p15:guide id="35" pos="6312">
          <p15:clr>
            <a:srgbClr val="A4A3A4"/>
          </p15:clr>
        </p15:guide>
        <p15:guide id="36" pos="6912">
          <p15:clr>
            <a:srgbClr val="A4A3A4"/>
          </p15:clr>
        </p15:guide>
        <p15:guide id="37" orient="horz" pos="2260">
          <p15:clr>
            <a:srgbClr val="F26B43"/>
          </p15:clr>
        </p15:guide>
        <p15:guide id="48" orient="horz" pos="3912">
          <p15:clr>
            <a:srgbClr val="F26B43"/>
          </p15:clr>
        </p15:guide>
        <p15:guide id="55" orient="horz" pos="192">
          <p15:clr>
            <a:srgbClr val="F26B43"/>
          </p15:clr>
        </p15:guide>
        <p15:guide id="57" orient="horz" pos="384">
          <p15:clr>
            <a:srgbClr val="5ACBF0"/>
          </p15:clr>
        </p15:guide>
        <p15:guide id="58" orient="horz" pos="288">
          <p15:clr>
            <a:srgbClr val="F26B43"/>
          </p15:clr>
        </p15:guide>
      </p15:sldGuideLst>
    </p:ext>
  </p:extLst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47EC9D-596C-4E44-B83E-18AAA49AA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0287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E00F6-F701-4424-BC1C-C234A2D50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1905000"/>
            <a:ext cx="110490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9" name="Graphic 98">
            <a:extLst>
              <a:ext uri="{FF2B5EF4-FFF2-40B4-BE49-F238E27FC236}">
                <a16:creationId xmlns:a16="http://schemas.microsoft.com/office/drawing/2014/main" id="{CC91285F-2BD9-4301-86D5-B8F24697FA1F}"/>
              </a:ext>
            </a:extLst>
          </p:cNvPr>
          <p:cNvPicPr>
            <a:picLocks noChangeAspect="1"/>
          </p:cNvPicPr>
          <p:nvPr/>
        </p:nvPicPr>
        <p:blipFill>
          <a:blip r:embed="rId5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59"/>
              </a:ext>
            </a:extLst>
          </a:blip>
          <a:stretch>
            <a:fillRect/>
          </a:stretch>
        </p:blipFill>
        <p:spPr>
          <a:xfrm>
            <a:off x="516807" y="6364637"/>
            <a:ext cx="503671" cy="221124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50EDDB-BE28-44D4-9435-5B2F3C7B1FB0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769977A-C1C4-C982-BDF4-2F91F0C49164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8064381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44" r:id="rId1"/>
    <p:sldLayoutId id="2147484745" r:id="rId2"/>
    <p:sldLayoutId id="2147484746" r:id="rId3"/>
    <p:sldLayoutId id="2147484747" r:id="rId4"/>
    <p:sldLayoutId id="2147484748" r:id="rId5"/>
    <p:sldLayoutId id="2147484749" r:id="rId6"/>
    <p:sldLayoutId id="2147484750" r:id="rId7"/>
    <p:sldLayoutId id="2147484751" r:id="rId8"/>
    <p:sldLayoutId id="2147484752" r:id="rId9"/>
    <p:sldLayoutId id="2147484753" r:id="rId10"/>
    <p:sldLayoutId id="2147484754" r:id="rId11"/>
    <p:sldLayoutId id="2147484755" r:id="rId12"/>
    <p:sldLayoutId id="2147484756" r:id="rId13"/>
    <p:sldLayoutId id="2147484757" r:id="rId14"/>
    <p:sldLayoutId id="2147484758" r:id="rId15"/>
    <p:sldLayoutId id="2147484759" r:id="rId16"/>
    <p:sldLayoutId id="2147484760" r:id="rId17"/>
    <p:sldLayoutId id="2147484761" r:id="rId18"/>
    <p:sldLayoutId id="2147484762" r:id="rId19"/>
    <p:sldLayoutId id="2147484763" r:id="rId20"/>
    <p:sldLayoutId id="2147484764" r:id="rId21"/>
    <p:sldLayoutId id="2147484765" r:id="rId22"/>
    <p:sldLayoutId id="2147484766" r:id="rId23"/>
    <p:sldLayoutId id="2147484767" r:id="rId24"/>
    <p:sldLayoutId id="2147484768" r:id="rId25"/>
    <p:sldLayoutId id="2147484769" r:id="rId26"/>
    <p:sldLayoutId id="2147484770" r:id="rId27"/>
    <p:sldLayoutId id="2147484771" r:id="rId28"/>
    <p:sldLayoutId id="2147484772" r:id="rId29"/>
    <p:sldLayoutId id="2147484773" r:id="rId30"/>
    <p:sldLayoutId id="2147484774" r:id="rId31"/>
    <p:sldLayoutId id="2147484775" r:id="rId32"/>
    <p:sldLayoutId id="2147484776" r:id="rId33"/>
    <p:sldLayoutId id="2147484777" r:id="rId34"/>
    <p:sldLayoutId id="2147484778" r:id="rId35"/>
    <p:sldLayoutId id="2147484779" r:id="rId36"/>
    <p:sldLayoutId id="2147484780" r:id="rId37"/>
    <p:sldLayoutId id="2147484781" r:id="rId38"/>
    <p:sldLayoutId id="2147484782" r:id="rId39"/>
    <p:sldLayoutId id="2147484783" r:id="rId40"/>
    <p:sldLayoutId id="2147484784" r:id="rId41"/>
    <p:sldLayoutId id="2147484785" r:id="rId42"/>
    <p:sldLayoutId id="2147484786" r:id="rId43"/>
    <p:sldLayoutId id="2147484787" r:id="rId44"/>
    <p:sldLayoutId id="2147484788" r:id="rId45"/>
    <p:sldLayoutId id="2147484789" r:id="rId46"/>
    <p:sldLayoutId id="2147484790" r:id="rId47"/>
    <p:sldLayoutId id="2147484791" r:id="rId48"/>
    <p:sldLayoutId id="2147484792" r:id="rId49"/>
    <p:sldLayoutId id="2147484793" r:id="rId50"/>
    <p:sldLayoutId id="2147484794" r:id="rId51"/>
    <p:sldLayoutId id="2147484795" r:id="rId52"/>
    <p:sldLayoutId id="2147484796" r:id="rId53"/>
    <p:sldLayoutId id="2147484797" r:id="rId54"/>
    <p:sldLayoutId id="2147484798" r:id="rId55"/>
    <p:sldLayoutId id="2147484799" r:id="rId56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hdr="0" ftr="0" dt="0"/>
  <p:txStyles>
    <p:titleStyle>
      <a:lvl1pPr algn="l" defTabSz="882171" rtl="0" eaLnBrk="1" latinLnBrk="0" hangingPunct="1">
        <a:lnSpc>
          <a:spcPct val="90000"/>
        </a:lnSpc>
        <a:spcBef>
          <a:spcPct val="0"/>
        </a:spcBef>
        <a:buNone/>
        <a:defRPr lang="en-US" sz="4000" b="0" i="0" kern="100" spc="-133" baseline="0" dirty="0">
          <a:solidFill>
            <a:schemeClr val="tx1"/>
          </a:solidFill>
          <a:latin typeface="CiscoSansTT" panose="020B0503020201020303" pitchFamily="34" charset="0"/>
          <a:ea typeface="+mj-ea"/>
          <a:cs typeface="+mj-cs"/>
        </a:defRPr>
      </a:lvl1pPr>
    </p:titleStyle>
    <p:bodyStyle>
      <a:lvl1pPr marL="0" indent="0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600" b="0" i="0" kern="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2pPr>
      <a:lvl3pPr marL="342900" indent="-168275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2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3pPr>
      <a:lvl4pPr marL="512763" indent="-169863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0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4pPr>
      <a:lvl5pPr marL="571500" marR="0" indent="-114300" algn="l" defTabSz="882171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Tx/>
        <a:buSzTx/>
        <a:buFont typeface="Arial" panose="020B0604020202020204" pitchFamily="34" charset="0"/>
        <a:buChar char="•"/>
        <a:tabLst/>
        <a:defRPr sz="5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42597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867060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308145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74923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1pPr>
      <a:lvl2pPr marL="441088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2pPr>
      <a:lvl3pPr marL="882171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3pPr>
      <a:lvl4pPr marL="132325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4pPr>
      <a:lvl5pPr marL="1764344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5pPr>
      <a:lvl6pPr marL="2205432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646515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087603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52868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5ACBF0"/>
          </p15:clr>
        </p15:guide>
        <p15:guide id="2" pos="7320">
          <p15:clr>
            <a:srgbClr val="F26B43"/>
          </p15:clr>
        </p15:guide>
        <p15:guide id="3" pos="360">
          <p15:clr>
            <a:srgbClr val="F26B43"/>
          </p15:clr>
        </p15:guide>
        <p15:guide id="4" orient="horz" pos="2160">
          <p15:clr>
            <a:srgbClr val="5ACBF0"/>
          </p15:clr>
        </p15:guide>
        <p15:guide id="5" orient="horz" pos="4104">
          <p15:clr>
            <a:srgbClr val="F26B43"/>
          </p15:clr>
        </p15:guide>
        <p15:guide id="8" pos="3744">
          <p15:clr>
            <a:srgbClr val="A4A3A4"/>
          </p15:clr>
        </p15:guide>
        <p15:guide id="9" pos="768">
          <p15:clr>
            <a:srgbClr val="A4A3A4"/>
          </p15:clr>
        </p15:guide>
        <p15:guide id="10" pos="192">
          <p15:clr>
            <a:srgbClr val="A4A3A4"/>
          </p15:clr>
        </p15:guide>
        <p15:guide id="11" pos="7488">
          <p15:clr>
            <a:srgbClr val="A4A3A4"/>
          </p15:clr>
        </p15:guide>
        <p15:guide id="16" orient="horz" pos="2064">
          <p15:clr>
            <a:srgbClr val="F26B43"/>
          </p15:clr>
        </p15:guide>
        <p15:guide id="17" pos="3936">
          <p15:clr>
            <a:srgbClr val="A4A3A4"/>
          </p15:clr>
        </p15:guide>
        <p15:guide id="18" pos="960">
          <p15:clr>
            <a:srgbClr val="A4A3A4"/>
          </p15:clr>
        </p15:guide>
        <p15:guide id="19" pos="1368">
          <p15:clr>
            <a:srgbClr val="A4A3A4"/>
          </p15:clr>
        </p15:guide>
        <p15:guide id="20" pos="1560">
          <p15:clr>
            <a:srgbClr val="A4A3A4"/>
          </p15:clr>
        </p15:guide>
        <p15:guide id="21" pos="1968">
          <p15:clr>
            <a:srgbClr val="A4A3A4"/>
          </p15:clr>
        </p15:guide>
        <p15:guide id="22" pos="2160">
          <p15:clr>
            <a:srgbClr val="A4A3A4"/>
          </p15:clr>
        </p15:guide>
        <p15:guide id="23" pos="2760">
          <p15:clr>
            <a:srgbClr val="A4A3A4"/>
          </p15:clr>
        </p15:guide>
        <p15:guide id="24" pos="3144">
          <p15:clr>
            <a:srgbClr val="A4A3A4"/>
          </p15:clr>
        </p15:guide>
        <p15:guide id="25" pos="2568">
          <p15:clr>
            <a:srgbClr val="A4A3A4"/>
          </p15:clr>
        </p15:guide>
        <p15:guide id="26" pos="3336">
          <p15:clr>
            <a:srgbClr val="A4A3A4"/>
          </p15:clr>
        </p15:guide>
        <p15:guide id="27" pos="4344">
          <p15:clr>
            <a:srgbClr val="A4A3A4"/>
          </p15:clr>
        </p15:guide>
        <p15:guide id="28" pos="5136">
          <p15:clr>
            <a:srgbClr val="A4A3A4"/>
          </p15:clr>
        </p15:guide>
        <p15:guide id="29" pos="4944">
          <p15:clr>
            <a:srgbClr val="A4A3A4"/>
          </p15:clr>
        </p15:guide>
        <p15:guide id="30" pos="4536">
          <p15:clr>
            <a:srgbClr val="A4A3A4"/>
          </p15:clr>
        </p15:guide>
        <p15:guide id="31" pos="6120">
          <p15:clr>
            <a:srgbClr val="A4A3A4"/>
          </p15:clr>
        </p15:guide>
        <p15:guide id="32" pos="5712">
          <p15:clr>
            <a:srgbClr val="A4A3A4"/>
          </p15:clr>
        </p15:guide>
        <p15:guide id="33" pos="5520">
          <p15:clr>
            <a:srgbClr val="A4A3A4"/>
          </p15:clr>
        </p15:guide>
        <p15:guide id="34" pos="6720">
          <p15:clr>
            <a:srgbClr val="A4A3A4"/>
          </p15:clr>
        </p15:guide>
        <p15:guide id="35" pos="6312">
          <p15:clr>
            <a:srgbClr val="A4A3A4"/>
          </p15:clr>
        </p15:guide>
        <p15:guide id="36" pos="6912">
          <p15:clr>
            <a:srgbClr val="A4A3A4"/>
          </p15:clr>
        </p15:guide>
        <p15:guide id="37" orient="horz" pos="2260">
          <p15:clr>
            <a:srgbClr val="F26B43"/>
          </p15:clr>
        </p15:guide>
        <p15:guide id="48" orient="horz" pos="3912">
          <p15:clr>
            <a:srgbClr val="F26B43"/>
          </p15:clr>
        </p15:guide>
        <p15:guide id="55" orient="horz" pos="192">
          <p15:clr>
            <a:srgbClr val="F26B43"/>
          </p15:clr>
        </p15:guide>
        <p15:guide id="57" orient="horz" pos="384">
          <p15:clr>
            <a:srgbClr val="5ACBF0"/>
          </p15:clr>
        </p15:guide>
        <p15:guide id="58" orient="horz" pos="288">
          <p15:clr>
            <a:srgbClr val="F26B43"/>
          </p15:clr>
        </p15:guide>
        <p15:guide id="59" orient="horz" pos="1200">
          <p15:clr>
            <a:srgbClr val="5ACBF0"/>
          </p15:clr>
        </p15:guide>
      </p15:sldGuideLst>
    </p:ext>
  </p:extLst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1E4ECF80-D861-C54E-5F0E-893FC7D732DD}"/>
              </a:ext>
            </a:extLst>
          </p:cNvPr>
          <p:cNvGraphicFramePr>
            <a:graphicFrameLocks noChangeAspect="1"/>
          </p:cNvGraphicFramePr>
          <p:nvPr>
            <p:custDataLst>
              <p:tags r:id="rId62"/>
            </p:custDataLst>
            <p:extLst>
              <p:ext uri="{D42A27DB-BD31-4B8C-83A1-F6EECF244321}">
                <p14:modId xmlns:p14="http://schemas.microsoft.com/office/powerpoint/2010/main" val="474898554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3" imgW="7772400" imgH="10058400" progId="TCLayout.ActiveDocument.1">
                  <p:embed/>
                </p:oleObj>
              </mc:Choice>
              <mc:Fallback>
                <p:oleObj name="think-cell Slide" r:id="rId6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1E4ECF80-D861-C54E-5F0E-893FC7D732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47EC9D-596C-4E44-B83E-18AAA49AA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0287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E00F6-F701-4424-BC1C-C234A2D50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1905000"/>
            <a:ext cx="110490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9" name="Graphic 98">
            <a:extLst>
              <a:ext uri="{FF2B5EF4-FFF2-40B4-BE49-F238E27FC236}">
                <a16:creationId xmlns:a16="http://schemas.microsoft.com/office/drawing/2014/main" id="{CC91285F-2BD9-4301-86D5-B8F24697FA1F}"/>
              </a:ext>
            </a:extLst>
          </p:cNvPr>
          <p:cNvPicPr>
            <a:picLocks noChangeAspect="1"/>
          </p:cNvPicPr>
          <p:nvPr/>
        </p:nvPicPr>
        <p:blipFill>
          <a:blip r:embed="rId6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516807" y="6364637"/>
            <a:ext cx="503671" cy="221124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50EDDB-BE28-44D4-9435-5B2F3C7B1FB0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6BF0261B-0222-301F-B9EA-006F64CA6812}"/>
              </a:ext>
            </a:extLst>
          </p:cNvPr>
          <p:cNvSpPr txBox="1"/>
          <p:nvPr/>
        </p:nvSpPr>
        <p:spPr>
          <a:xfrm>
            <a:off x="3429000" y="6437289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ctr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977147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01" r:id="rId1"/>
    <p:sldLayoutId id="2147484802" r:id="rId2"/>
    <p:sldLayoutId id="2147484803" r:id="rId3"/>
    <p:sldLayoutId id="2147484804" r:id="rId4"/>
    <p:sldLayoutId id="2147484805" r:id="rId5"/>
    <p:sldLayoutId id="2147484806" r:id="rId6"/>
    <p:sldLayoutId id="2147484807" r:id="rId7"/>
    <p:sldLayoutId id="2147484808" r:id="rId8"/>
    <p:sldLayoutId id="2147484809" r:id="rId9"/>
    <p:sldLayoutId id="2147484810" r:id="rId10"/>
    <p:sldLayoutId id="2147484811" r:id="rId11"/>
    <p:sldLayoutId id="2147484812" r:id="rId12"/>
    <p:sldLayoutId id="2147484813" r:id="rId13"/>
    <p:sldLayoutId id="2147484814" r:id="rId14"/>
    <p:sldLayoutId id="2147484815" r:id="rId15"/>
    <p:sldLayoutId id="2147484816" r:id="rId16"/>
    <p:sldLayoutId id="2147484817" r:id="rId17"/>
    <p:sldLayoutId id="2147484818" r:id="rId18"/>
    <p:sldLayoutId id="2147484819" r:id="rId19"/>
    <p:sldLayoutId id="2147484820" r:id="rId20"/>
    <p:sldLayoutId id="2147484821" r:id="rId21"/>
    <p:sldLayoutId id="2147484822" r:id="rId22"/>
    <p:sldLayoutId id="2147484823" r:id="rId23"/>
    <p:sldLayoutId id="2147484824" r:id="rId24"/>
    <p:sldLayoutId id="2147484825" r:id="rId25"/>
    <p:sldLayoutId id="2147484826" r:id="rId26"/>
    <p:sldLayoutId id="2147484827" r:id="rId27"/>
    <p:sldLayoutId id="2147484828" r:id="rId28"/>
    <p:sldLayoutId id="2147484829" r:id="rId29"/>
    <p:sldLayoutId id="2147484830" r:id="rId30"/>
    <p:sldLayoutId id="2147484831" r:id="rId31"/>
    <p:sldLayoutId id="2147484832" r:id="rId32"/>
    <p:sldLayoutId id="2147484833" r:id="rId33"/>
    <p:sldLayoutId id="2147484834" r:id="rId34"/>
    <p:sldLayoutId id="2147484835" r:id="rId35"/>
    <p:sldLayoutId id="2147484836" r:id="rId36"/>
    <p:sldLayoutId id="2147484837" r:id="rId37"/>
    <p:sldLayoutId id="2147484838" r:id="rId38"/>
    <p:sldLayoutId id="2147484839" r:id="rId39"/>
    <p:sldLayoutId id="2147484840" r:id="rId40"/>
    <p:sldLayoutId id="2147484841" r:id="rId41"/>
    <p:sldLayoutId id="2147484842" r:id="rId42"/>
    <p:sldLayoutId id="2147484843" r:id="rId43"/>
    <p:sldLayoutId id="2147484844" r:id="rId44"/>
    <p:sldLayoutId id="2147484845" r:id="rId45"/>
    <p:sldLayoutId id="2147484846" r:id="rId46"/>
    <p:sldLayoutId id="2147484847" r:id="rId47"/>
    <p:sldLayoutId id="2147484848" r:id="rId48"/>
    <p:sldLayoutId id="2147484849" r:id="rId49"/>
    <p:sldLayoutId id="2147484850" r:id="rId50"/>
    <p:sldLayoutId id="2147484851" r:id="rId51"/>
    <p:sldLayoutId id="2147484852" r:id="rId52"/>
    <p:sldLayoutId id="2147484853" r:id="rId53"/>
    <p:sldLayoutId id="2147484854" r:id="rId54"/>
    <p:sldLayoutId id="2147484855" r:id="rId55"/>
    <p:sldLayoutId id="2147484856" r:id="rId56"/>
    <p:sldLayoutId id="2147484857" r:id="rId57"/>
    <p:sldLayoutId id="2147484858" r:id="rId58"/>
    <p:sldLayoutId id="2147484859" r:id="rId59"/>
    <p:sldLayoutId id="2147484860" r:id="rId60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hdr="0" ftr="0" dt="0"/>
  <p:txStyles>
    <p:titleStyle>
      <a:lvl1pPr algn="l" defTabSz="882171" rtl="0" eaLnBrk="1" latinLnBrk="0" hangingPunct="1">
        <a:lnSpc>
          <a:spcPct val="90000"/>
        </a:lnSpc>
        <a:spcBef>
          <a:spcPct val="0"/>
        </a:spcBef>
        <a:buNone/>
        <a:defRPr lang="en-US" sz="4000" b="0" i="0" kern="100" spc="-133" baseline="0" dirty="0">
          <a:solidFill>
            <a:schemeClr val="tx1"/>
          </a:solidFill>
          <a:latin typeface="CiscoSansTT" panose="020B0503020201020303" pitchFamily="34" charset="0"/>
          <a:ea typeface="+mj-ea"/>
          <a:cs typeface="+mj-cs"/>
        </a:defRPr>
      </a:lvl1pPr>
    </p:titleStyle>
    <p:bodyStyle>
      <a:lvl1pPr marL="0" indent="0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600" b="0" i="0" kern="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2pPr>
      <a:lvl3pPr marL="342900" indent="-168275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2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3pPr>
      <a:lvl4pPr marL="512763" indent="-169863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0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4pPr>
      <a:lvl5pPr marL="571500" marR="0" indent="-114300" algn="l" defTabSz="882171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Tx/>
        <a:buSzTx/>
        <a:buFont typeface="Arial" panose="020B0604020202020204" pitchFamily="34" charset="0"/>
        <a:buChar char="•"/>
        <a:tabLst/>
        <a:defRPr sz="5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42597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867060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308145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74923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1pPr>
      <a:lvl2pPr marL="441088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2pPr>
      <a:lvl3pPr marL="882171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3pPr>
      <a:lvl4pPr marL="132325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4pPr>
      <a:lvl5pPr marL="1764344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5pPr>
      <a:lvl6pPr marL="2205432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646515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087603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52868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5ACBF0"/>
          </p15:clr>
        </p15:guide>
        <p15:guide id="2" pos="7320">
          <p15:clr>
            <a:srgbClr val="F26B43"/>
          </p15:clr>
        </p15:guide>
        <p15:guide id="3" pos="360">
          <p15:clr>
            <a:srgbClr val="F26B43"/>
          </p15:clr>
        </p15:guide>
        <p15:guide id="4" orient="horz" pos="2160">
          <p15:clr>
            <a:srgbClr val="5ACBF0"/>
          </p15:clr>
        </p15:guide>
        <p15:guide id="5" orient="horz" pos="4104">
          <p15:clr>
            <a:srgbClr val="F26B43"/>
          </p15:clr>
        </p15:guide>
        <p15:guide id="8" pos="3744">
          <p15:clr>
            <a:srgbClr val="A4A3A4"/>
          </p15:clr>
        </p15:guide>
        <p15:guide id="9" pos="768">
          <p15:clr>
            <a:srgbClr val="A4A3A4"/>
          </p15:clr>
        </p15:guide>
        <p15:guide id="10" pos="192">
          <p15:clr>
            <a:srgbClr val="A4A3A4"/>
          </p15:clr>
        </p15:guide>
        <p15:guide id="11" pos="7488">
          <p15:clr>
            <a:srgbClr val="A4A3A4"/>
          </p15:clr>
        </p15:guide>
        <p15:guide id="16" orient="horz" pos="2064">
          <p15:clr>
            <a:srgbClr val="F26B43"/>
          </p15:clr>
        </p15:guide>
        <p15:guide id="17" pos="3936">
          <p15:clr>
            <a:srgbClr val="A4A3A4"/>
          </p15:clr>
        </p15:guide>
        <p15:guide id="18" pos="960">
          <p15:clr>
            <a:srgbClr val="A4A3A4"/>
          </p15:clr>
        </p15:guide>
        <p15:guide id="19" pos="1368">
          <p15:clr>
            <a:srgbClr val="A4A3A4"/>
          </p15:clr>
        </p15:guide>
        <p15:guide id="20" pos="1560">
          <p15:clr>
            <a:srgbClr val="A4A3A4"/>
          </p15:clr>
        </p15:guide>
        <p15:guide id="21" pos="1968">
          <p15:clr>
            <a:srgbClr val="A4A3A4"/>
          </p15:clr>
        </p15:guide>
        <p15:guide id="22" pos="2160">
          <p15:clr>
            <a:srgbClr val="A4A3A4"/>
          </p15:clr>
        </p15:guide>
        <p15:guide id="23" pos="2760">
          <p15:clr>
            <a:srgbClr val="A4A3A4"/>
          </p15:clr>
        </p15:guide>
        <p15:guide id="24" pos="3144">
          <p15:clr>
            <a:srgbClr val="A4A3A4"/>
          </p15:clr>
        </p15:guide>
        <p15:guide id="25" pos="2568">
          <p15:clr>
            <a:srgbClr val="A4A3A4"/>
          </p15:clr>
        </p15:guide>
        <p15:guide id="26" pos="3336">
          <p15:clr>
            <a:srgbClr val="A4A3A4"/>
          </p15:clr>
        </p15:guide>
        <p15:guide id="27" pos="4344">
          <p15:clr>
            <a:srgbClr val="A4A3A4"/>
          </p15:clr>
        </p15:guide>
        <p15:guide id="28" pos="5136">
          <p15:clr>
            <a:srgbClr val="A4A3A4"/>
          </p15:clr>
        </p15:guide>
        <p15:guide id="29" pos="4944">
          <p15:clr>
            <a:srgbClr val="A4A3A4"/>
          </p15:clr>
        </p15:guide>
        <p15:guide id="30" pos="4536">
          <p15:clr>
            <a:srgbClr val="A4A3A4"/>
          </p15:clr>
        </p15:guide>
        <p15:guide id="31" pos="6120">
          <p15:clr>
            <a:srgbClr val="A4A3A4"/>
          </p15:clr>
        </p15:guide>
        <p15:guide id="32" pos="5712">
          <p15:clr>
            <a:srgbClr val="A4A3A4"/>
          </p15:clr>
        </p15:guide>
        <p15:guide id="33" pos="5520">
          <p15:clr>
            <a:srgbClr val="A4A3A4"/>
          </p15:clr>
        </p15:guide>
        <p15:guide id="34" pos="6720">
          <p15:clr>
            <a:srgbClr val="A4A3A4"/>
          </p15:clr>
        </p15:guide>
        <p15:guide id="35" pos="6312">
          <p15:clr>
            <a:srgbClr val="A4A3A4"/>
          </p15:clr>
        </p15:guide>
        <p15:guide id="36" pos="6912">
          <p15:clr>
            <a:srgbClr val="A4A3A4"/>
          </p15:clr>
        </p15:guide>
        <p15:guide id="37" orient="horz" pos="2260">
          <p15:clr>
            <a:srgbClr val="F26B43"/>
          </p15:clr>
        </p15:guide>
        <p15:guide id="48" orient="horz" pos="3912">
          <p15:clr>
            <a:srgbClr val="F26B43"/>
          </p15:clr>
        </p15:guide>
        <p15:guide id="55" orient="horz" pos="192">
          <p15:clr>
            <a:srgbClr val="F26B43"/>
          </p15:clr>
        </p15:guide>
        <p15:guide id="57" orient="horz" pos="384">
          <p15:clr>
            <a:srgbClr val="5ACBF0"/>
          </p15:clr>
        </p15:guide>
        <p15:guide id="58" orient="horz" pos="288">
          <p15:clr>
            <a:srgbClr val="F26B43"/>
          </p15:clr>
        </p15:guide>
        <p15:guide id="59" orient="horz" pos="1200">
          <p15:clr>
            <a:srgbClr val="5ACBF0"/>
          </p15:clr>
        </p15:guide>
      </p15:sldGuideLst>
    </p:ext>
  </p:extLst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47EC9D-596C-4E44-B83E-18AAA49AA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85217" y="571500"/>
            <a:ext cx="11021568" cy="106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E00F6-F701-4424-BC1C-C234A2D50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85217" y="1905000"/>
            <a:ext cx="11021568" cy="43815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1186079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2" r:id="rId1"/>
    <p:sldLayoutId id="2147484863" r:id="rId2"/>
    <p:sldLayoutId id="2147484864" r:id="rId3"/>
    <p:sldLayoutId id="2147484865" r:id="rId4"/>
    <p:sldLayoutId id="2147484866" r:id="rId5"/>
    <p:sldLayoutId id="2147484867" r:id="rId6"/>
    <p:sldLayoutId id="2147484868" r:id="rId7"/>
    <p:sldLayoutId id="2147484869" r:id="rId8"/>
    <p:sldLayoutId id="2147484870" r:id="rId9"/>
    <p:sldLayoutId id="2147484871" r:id="rId10"/>
    <p:sldLayoutId id="2147484872" r:id="rId11"/>
    <p:sldLayoutId id="2147484873" r:id="rId12"/>
    <p:sldLayoutId id="2147484874" r:id="rId13"/>
    <p:sldLayoutId id="2147484875" r:id="rId14"/>
    <p:sldLayoutId id="2147484876" r:id="rId15"/>
    <p:sldLayoutId id="2147484877" r:id="rId16"/>
    <p:sldLayoutId id="2147484878" r:id="rId17"/>
    <p:sldLayoutId id="2147484879" r:id="rId18"/>
    <p:sldLayoutId id="2147484880" r:id="rId19"/>
    <p:sldLayoutId id="2147484881" r:id="rId20"/>
    <p:sldLayoutId id="2147484882" r:id="rId21"/>
    <p:sldLayoutId id="2147484883" r:id="rId22"/>
    <p:sldLayoutId id="2147484884" r:id="rId23"/>
    <p:sldLayoutId id="2147484885" r:id="rId24"/>
    <p:sldLayoutId id="2147484886" r:id="rId25"/>
    <p:sldLayoutId id="2147484887" r:id="rId26"/>
    <p:sldLayoutId id="2147484888" r:id="rId27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hdr="0" ftr="0" dt="0"/>
  <p:txStyles>
    <p:titleStyle>
      <a:lvl1pPr algn="l" defTabSz="882171" rtl="0" eaLnBrk="1" latinLnBrk="0" hangingPunct="1">
        <a:lnSpc>
          <a:spcPct val="90000"/>
        </a:lnSpc>
        <a:spcBef>
          <a:spcPct val="0"/>
        </a:spcBef>
        <a:buNone/>
        <a:defRPr lang="en-US" sz="4000" b="0" i="0" kern="100" spc="-133" baseline="0" dirty="0">
          <a:solidFill>
            <a:schemeClr val="tx1"/>
          </a:solidFill>
          <a:latin typeface="CiscoSansTT" panose="020B0503020201020303" pitchFamily="34" charset="0"/>
          <a:ea typeface="+mj-ea"/>
          <a:cs typeface="+mj-cs"/>
        </a:defRPr>
      </a:lvl1pPr>
    </p:titleStyle>
    <p:bodyStyle>
      <a:lvl1pPr marL="0" indent="0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800" b="0" i="0" kern="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230188" indent="-230188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6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2pPr>
      <a:lvl3pPr marL="461963" indent="-231775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3pPr>
      <a:lvl4pPr marL="687388" indent="-225425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1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4pPr>
      <a:lvl5pPr marL="571500" marR="0" indent="-114300" algn="l" defTabSz="882171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Tx/>
        <a:buSzTx/>
        <a:buFont typeface="Arial" panose="020B0604020202020204" pitchFamily="34" charset="0"/>
        <a:buChar char="•"/>
        <a:tabLst/>
        <a:defRPr sz="5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42597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867060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308145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74923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1pPr>
      <a:lvl2pPr marL="441088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2pPr>
      <a:lvl3pPr marL="882171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3pPr>
      <a:lvl4pPr marL="132325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4pPr>
      <a:lvl5pPr marL="1764344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5pPr>
      <a:lvl6pPr marL="2205432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646515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087603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52868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5ACBF0"/>
          </p15:clr>
        </p15:guide>
        <p15:guide id="2" pos="7316">
          <p15:clr>
            <a:srgbClr val="F26B43"/>
          </p15:clr>
        </p15:guide>
        <p15:guide id="3" pos="366">
          <p15:clr>
            <a:srgbClr val="F26B43"/>
          </p15:clr>
        </p15:guide>
        <p15:guide id="4" orient="horz" pos="2160">
          <p15:clr>
            <a:srgbClr val="5ACBF0"/>
          </p15:clr>
        </p15:guide>
        <p15:guide id="5" orient="horz" pos="4128">
          <p15:clr>
            <a:srgbClr val="F26B43"/>
          </p15:clr>
        </p15:guide>
        <p15:guide id="8" pos="3748">
          <p15:clr>
            <a:srgbClr val="A4A3A4"/>
          </p15:clr>
        </p15:guide>
        <p15:guide id="9" pos="780">
          <p15:clr>
            <a:srgbClr val="A4A3A4"/>
          </p15:clr>
        </p15:guide>
        <p15:guide id="10" pos="168">
          <p15:clr>
            <a:srgbClr val="A4A3A4"/>
          </p15:clr>
        </p15:guide>
        <p15:guide id="11" pos="7496">
          <p15:clr>
            <a:srgbClr val="A4A3A4"/>
          </p15:clr>
        </p15:guide>
        <p15:guide id="16" orient="horz" pos="2088">
          <p15:clr>
            <a:srgbClr val="F26B43"/>
          </p15:clr>
        </p15:guide>
        <p15:guide id="17" pos="3932">
          <p15:clr>
            <a:srgbClr val="A4A3A4"/>
          </p15:clr>
        </p15:guide>
        <p15:guide id="18" pos="960">
          <p15:clr>
            <a:srgbClr val="A4A3A4"/>
          </p15:clr>
        </p15:guide>
        <p15:guide id="19" pos="1368">
          <p15:clr>
            <a:srgbClr val="A4A3A4"/>
          </p15:clr>
        </p15:guide>
        <p15:guide id="20" pos="1556">
          <p15:clr>
            <a:srgbClr val="A4A3A4"/>
          </p15:clr>
        </p15:guide>
        <p15:guide id="21" pos="1968">
          <p15:clr>
            <a:srgbClr val="A4A3A4"/>
          </p15:clr>
        </p15:guide>
        <p15:guide id="22" pos="2148">
          <p15:clr>
            <a:srgbClr val="A4A3A4"/>
          </p15:clr>
        </p15:guide>
        <p15:guide id="23" pos="2740">
          <p15:clr>
            <a:srgbClr val="A4A3A4"/>
          </p15:clr>
        </p15:guide>
        <p15:guide id="24" pos="3156">
          <p15:clr>
            <a:srgbClr val="A4A3A4"/>
          </p15:clr>
        </p15:guide>
        <p15:guide id="25" pos="2560">
          <p15:clr>
            <a:srgbClr val="A4A3A4"/>
          </p15:clr>
        </p15:guide>
        <p15:guide id="26" pos="3336">
          <p15:clr>
            <a:srgbClr val="A4A3A4"/>
          </p15:clr>
        </p15:guide>
        <p15:guide id="28" pos="4528">
          <p15:clr>
            <a:srgbClr val="A4A3A4"/>
          </p15:clr>
        </p15:guide>
        <p15:guide id="29" pos="4936">
          <p15:clr>
            <a:srgbClr val="A4A3A4"/>
          </p15:clr>
        </p15:guide>
        <p15:guide id="30" pos="4344">
          <p15:clr>
            <a:srgbClr val="A4A3A4"/>
          </p15:clr>
        </p15:guide>
        <p15:guide id="31" pos="6124">
          <p15:clr>
            <a:srgbClr val="A4A3A4"/>
          </p15:clr>
        </p15:guide>
        <p15:guide id="32" pos="5532">
          <p15:clr>
            <a:srgbClr val="A4A3A4"/>
          </p15:clr>
        </p15:guide>
        <p15:guide id="33" pos="5712">
          <p15:clr>
            <a:srgbClr val="A4A3A4"/>
          </p15:clr>
        </p15:guide>
        <p15:guide id="34" pos="6720">
          <p15:clr>
            <a:srgbClr val="A4A3A4"/>
          </p15:clr>
        </p15:guide>
        <p15:guide id="35" pos="6304">
          <p15:clr>
            <a:srgbClr val="A4A3A4"/>
          </p15:clr>
        </p15:guide>
        <p15:guide id="36" pos="6900">
          <p15:clr>
            <a:srgbClr val="A4A3A4"/>
          </p15:clr>
        </p15:guide>
        <p15:guide id="37" orient="horz" pos="2232">
          <p15:clr>
            <a:srgbClr val="F26B43"/>
          </p15:clr>
        </p15:guide>
        <p15:guide id="48" orient="horz" pos="3960">
          <p15:clr>
            <a:srgbClr val="F26B43"/>
          </p15:clr>
        </p15:guide>
        <p15:guide id="55" orient="horz" pos="192">
          <p15:clr>
            <a:srgbClr val="F26B43"/>
          </p15:clr>
        </p15:guide>
        <p15:guide id="57" orient="horz" pos="360">
          <p15:clr>
            <a:srgbClr val="5ACBF0"/>
          </p15:clr>
        </p15:guide>
        <p15:guide id="59" orient="horz" pos="1200">
          <p15:clr>
            <a:srgbClr val="5ACBF0"/>
          </p15:clr>
        </p15:guide>
        <p15:guide id="60" pos="5116">
          <p15:clr>
            <a:srgbClr val="A4A3A4"/>
          </p15:clr>
        </p15:guide>
      </p15:sldGuideLst>
    </p:ext>
  </p:extLst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47EC9D-596C-4E44-B83E-18AAA49AA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904" y="990601"/>
            <a:ext cx="11077296" cy="126135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E00F6-F701-4424-BC1C-C234A2D50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352" y="2431880"/>
            <a:ext cx="11077296" cy="3744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33559E-7ED2-43CE-955D-B8AD83F21F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4371DB5-5CA4-4167-93C8-04C23C5C7740}"/>
              </a:ext>
            </a:extLst>
          </p:cNvPr>
          <p:cNvPicPr>
            <a:picLocks noChangeAspect="1"/>
          </p:cNvPicPr>
          <p:nvPr/>
        </p:nvPicPr>
        <p:blipFill>
          <a:blip r:embed="rId65" cstate="screen">
            <a:extLst>
              <a:ext uri="{BEBA8EAE-BF5A-486C-A8C5-ECC9F3942E4B}">
                <a14:imgProps xmlns:a14="http://schemas.microsoft.com/office/drawing/2010/main">
                  <a14:imgLayer r:embed="rId66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CA5893E-A71E-1326-173F-8339F6B3ACBF}"/>
              </a:ext>
            </a:extLst>
          </p:cNvPr>
          <p:cNvSpPr txBox="1"/>
          <p:nvPr/>
        </p:nvSpPr>
        <p:spPr>
          <a:xfrm>
            <a:off x="555904" y="6390603"/>
            <a:ext cx="5334000" cy="9233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2637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600" kern="1200">
                <a:solidFill>
                  <a:schemeClr val="tx1"/>
                </a:solidFill>
                <a:latin typeface="+mn-lt"/>
                <a:ea typeface="+mn-ea"/>
                <a:cs typeface="+mn-cs"/>
              </a:rPr>
              <a:t>© 2025 Cisco and/or its affiliates. All rights reserved. 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561217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0" r:id="rId1"/>
    <p:sldLayoutId id="2147484891" r:id="rId2"/>
    <p:sldLayoutId id="2147484892" r:id="rId3"/>
    <p:sldLayoutId id="2147484893" r:id="rId4"/>
    <p:sldLayoutId id="2147484894" r:id="rId5"/>
    <p:sldLayoutId id="2147484895" r:id="rId6"/>
    <p:sldLayoutId id="2147484896" r:id="rId7"/>
    <p:sldLayoutId id="2147484897" r:id="rId8"/>
    <p:sldLayoutId id="2147484898" r:id="rId9"/>
    <p:sldLayoutId id="2147484899" r:id="rId10"/>
    <p:sldLayoutId id="2147484900" r:id="rId11"/>
    <p:sldLayoutId id="2147484901" r:id="rId12"/>
    <p:sldLayoutId id="2147484902" r:id="rId13"/>
    <p:sldLayoutId id="2147484903" r:id="rId14"/>
    <p:sldLayoutId id="2147484904" r:id="rId15"/>
    <p:sldLayoutId id="2147484905" r:id="rId16"/>
    <p:sldLayoutId id="2147484906" r:id="rId17"/>
    <p:sldLayoutId id="2147484907" r:id="rId18"/>
    <p:sldLayoutId id="2147484908" r:id="rId19"/>
    <p:sldLayoutId id="2147484909" r:id="rId20"/>
    <p:sldLayoutId id="2147484910" r:id="rId21"/>
    <p:sldLayoutId id="2147484911" r:id="rId22"/>
    <p:sldLayoutId id="2147484912" r:id="rId23"/>
    <p:sldLayoutId id="2147484913" r:id="rId24"/>
    <p:sldLayoutId id="2147484914" r:id="rId25"/>
    <p:sldLayoutId id="2147484915" r:id="rId26"/>
    <p:sldLayoutId id="2147484916" r:id="rId27"/>
    <p:sldLayoutId id="2147484917" r:id="rId28"/>
    <p:sldLayoutId id="2147484918" r:id="rId29"/>
    <p:sldLayoutId id="2147484919" r:id="rId30"/>
    <p:sldLayoutId id="2147484920" r:id="rId31"/>
    <p:sldLayoutId id="2147484921" r:id="rId32"/>
    <p:sldLayoutId id="2147484922" r:id="rId33"/>
    <p:sldLayoutId id="2147484923" r:id="rId34"/>
    <p:sldLayoutId id="2147484924" r:id="rId35"/>
    <p:sldLayoutId id="2147484925" r:id="rId36"/>
    <p:sldLayoutId id="2147484926" r:id="rId37"/>
    <p:sldLayoutId id="2147484927" r:id="rId38"/>
    <p:sldLayoutId id="2147484928" r:id="rId39"/>
    <p:sldLayoutId id="2147484929" r:id="rId40"/>
    <p:sldLayoutId id="2147484930" r:id="rId41"/>
    <p:sldLayoutId id="2147484931" r:id="rId42"/>
    <p:sldLayoutId id="2147484932" r:id="rId43"/>
    <p:sldLayoutId id="2147484933" r:id="rId44"/>
    <p:sldLayoutId id="2147484934" r:id="rId45"/>
    <p:sldLayoutId id="2147484935" r:id="rId46"/>
    <p:sldLayoutId id="2147484936" r:id="rId47"/>
    <p:sldLayoutId id="2147484937" r:id="rId48"/>
    <p:sldLayoutId id="2147484938" r:id="rId49"/>
    <p:sldLayoutId id="2147484939" r:id="rId50"/>
    <p:sldLayoutId id="2147484940" r:id="rId51"/>
    <p:sldLayoutId id="2147484941" r:id="rId52"/>
    <p:sldLayoutId id="2147484942" r:id="rId53"/>
    <p:sldLayoutId id="2147484943" r:id="rId54"/>
    <p:sldLayoutId id="2147484944" r:id="rId55"/>
    <p:sldLayoutId id="2147484945" r:id="rId56"/>
    <p:sldLayoutId id="2147484946" r:id="rId57"/>
    <p:sldLayoutId id="2147484947" r:id="rId58"/>
    <p:sldLayoutId id="2147484948" r:id="rId59"/>
    <p:sldLayoutId id="2147484949" r:id="rId60"/>
    <p:sldLayoutId id="2147484950" r:id="rId61"/>
    <p:sldLayoutId id="2147484951" r:id="rId62"/>
    <p:sldLayoutId id="2147484952" r:id="rId63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txStyles>
    <p:titleStyle>
      <a:lvl1pPr algn="l" defTabSz="882171" rtl="0" eaLnBrk="1" latinLnBrk="0" hangingPunct="1">
        <a:lnSpc>
          <a:spcPct val="90000"/>
        </a:lnSpc>
        <a:spcBef>
          <a:spcPct val="0"/>
        </a:spcBef>
        <a:buNone/>
        <a:defRPr lang="en-US" sz="4267" b="0" i="0" kern="100" spc="-133" baseline="0" dirty="0">
          <a:solidFill>
            <a:schemeClr val="tx1"/>
          </a:solidFill>
          <a:latin typeface="CiscoSansTT" panose="020B0503020201020303" pitchFamily="34" charset="0"/>
          <a:ea typeface="+mj-ea"/>
          <a:cs typeface="+mj-cs"/>
        </a:defRPr>
      </a:lvl1pPr>
    </p:titleStyle>
    <p:bodyStyle>
      <a:lvl1pPr marL="0" indent="0" algn="l" defTabSz="882171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600" b="0" i="0" kern="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531271" indent="-228594" algn="l" defTabSz="882171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2pPr>
      <a:lvl3pPr marL="840296" indent="-232828" algn="l" defTabSz="882171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2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3pPr>
      <a:lvl4pPr marL="1142971" indent="-226478" algn="l" defTabSz="882171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800" b="0" i="0" kern="0" spc="0" baseline="0">
          <a:solidFill>
            <a:schemeClr val="tx1"/>
          </a:solidFill>
          <a:latin typeface="CiscoSansTT" panose="020B0503020201020303" pitchFamily="34" charset="0"/>
          <a:ea typeface="+mn-ea"/>
          <a:cs typeface="CiscoSansTT" panose="020B0503020201020303" pitchFamily="34" charset="0"/>
        </a:defRPr>
      </a:lvl4pPr>
      <a:lvl5pPr marL="1295368" marR="0" indent="-228594" algn="l" defTabSz="882171" rtl="0" eaLnBrk="1" fontAlgn="auto" latinLnBrk="0" hangingPunct="1">
        <a:lnSpc>
          <a:spcPct val="150000"/>
        </a:lnSpc>
        <a:spcBef>
          <a:spcPts val="0"/>
        </a:spcBef>
        <a:spcAft>
          <a:spcPts val="800"/>
        </a:spcAft>
        <a:buClrTx/>
        <a:buSzTx/>
        <a:buFont typeface="Arial" panose="020B0604020202020204" pitchFamily="34" charset="0"/>
        <a:buChar char="•"/>
        <a:tabLst/>
        <a:defRPr sz="667" b="0" i="0" kern="1200" spc="0" baseline="0">
          <a:solidFill>
            <a:schemeClr val="tx1"/>
          </a:solidFill>
          <a:latin typeface="CiscoSansTT Light" panose="020B0503020201020303" pitchFamily="34" charset="0"/>
          <a:ea typeface="+mn-ea"/>
          <a:cs typeface="+mn-cs"/>
        </a:defRPr>
      </a:lvl5pPr>
      <a:lvl6pPr marL="242597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867060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308145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74923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1pPr>
      <a:lvl2pPr marL="441088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2pPr>
      <a:lvl3pPr marL="882171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3pPr>
      <a:lvl4pPr marL="132325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4pPr>
      <a:lvl5pPr marL="1764344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5pPr>
      <a:lvl6pPr marL="2205432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646515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087603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52868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0">
          <p15:clr>
            <a:srgbClr val="F26B43"/>
          </p15:clr>
        </p15:guide>
        <p15:guide id="2" pos="5496">
          <p15:clr>
            <a:srgbClr val="F26B43"/>
          </p15:clr>
        </p15:guide>
        <p15:guide id="3" pos="264">
          <p15:clr>
            <a:srgbClr val="F26B43"/>
          </p15:clr>
        </p15:guide>
        <p15:guide id="4" orient="horz" pos="1620">
          <p15:clr>
            <a:srgbClr val="F26B43"/>
          </p15:clr>
        </p15:guide>
        <p15:guide id="5" orient="horz" pos="3060">
          <p15:clr>
            <a:srgbClr val="F26B43"/>
          </p15:clr>
        </p15:guide>
        <p15:guide id="6" orient="horz" pos="180">
          <p15:clr>
            <a:srgbClr val="F26B43"/>
          </p15:clr>
        </p15:guide>
        <p15:guide id="8" pos="2808">
          <p15:clr>
            <a:srgbClr val="F26B43"/>
          </p15:clr>
        </p15:guide>
        <p15:guide id="9" pos="2952">
          <p15:clr>
            <a:srgbClr val="F26B43"/>
          </p15:clr>
        </p15:guide>
      </p15:sldGuideLst>
    </p:ext>
  </p:extLst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47EC9D-596C-4E44-B83E-18AAA49AA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10287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E00F6-F701-4424-BC1C-C234A2D50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1905000"/>
            <a:ext cx="110490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1A5C3A6A-EFFD-5E00-2A1D-F802574F5FCE}"/>
              </a:ext>
            </a:extLst>
          </p:cNvPr>
          <p:cNvPicPr>
            <a:picLocks noChangeAspect="1"/>
          </p:cNvPicPr>
          <p:nvPr/>
        </p:nvPicPr>
        <p:blipFill>
          <a:blip r:embed="rId64">
            <a:extLst>
              <a:ext uri="{96DAC541-7B7A-43D3-8B79-37D633B846F1}">
                <asvg:svgBlip xmlns:asvg="http://schemas.microsoft.com/office/drawing/2016/SVG/main" r:embed="rId65"/>
              </a:ext>
            </a:extLst>
          </a:blip>
          <a:stretch>
            <a:fillRect/>
          </a:stretch>
        </p:blipFill>
        <p:spPr>
          <a:xfrm>
            <a:off x="516809" y="6364638"/>
            <a:ext cx="503671" cy="221124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A4F97810-94D6-8845-42E6-73B5E63BF808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385550" y="6672580"/>
            <a:ext cx="765175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16668713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4" r:id="rId1"/>
    <p:sldLayoutId id="2147484955" r:id="rId2"/>
    <p:sldLayoutId id="2147484956" r:id="rId3"/>
    <p:sldLayoutId id="2147484957" r:id="rId4"/>
    <p:sldLayoutId id="2147484958" r:id="rId5"/>
    <p:sldLayoutId id="2147484959" r:id="rId6"/>
    <p:sldLayoutId id="2147484960" r:id="rId7"/>
    <p:sldLayoutId id="2147484961" r:id="rId8"/>
    <p:sldLayoutId id="2147484962" r:id="rId9"/>
    <p:sldLayoutId id="2147484963" r:id="rId10"/>
    <p:sldLayoutId id="2147484964" r:id="rId11"/>
    <p:sldLayoutId id="2147484965" r:id="rId12"/>
    <p:sldLayoutId id="2147484966" r:id="rId13"/>
    <p:sldLayoutId id="2147484967" r:id="rId14"/>
    <p:sldLayoutId id="2147484968" r:id="rId15"/>
    <p:sldLayoutId id="2147484969" r:id="rId16"/>
    <p:sldLayoutId id="2147484970" r:id="rId17"/>
    <p:sldLayoutId id="2147484971" r:id="rId18"/>
    <p:sldLayoutId id="2147484972" r:id="rId19"/>
    <p:sldLayoutId id="2147484973" r:id="rId20"/>
    <p:sldLayoutId id="2147484974" r:id="rId21"/>
    <p:sldLayoutId id="2147484975" r:id="rId22"/>
    <p:sldLayoutId id="2147484976" r:id="rId23"/>
    <p:sldLayoutId id="2147484977" r:id="rId24"/>
    <p:sldLayoutId id="2147484978" r:id="rId25"/>
    <p:sldLayoutId id="2147484979" r:id="rId26"/>
    <p:sldLayoutId id="2147484980" r:id="rId27"/>
    <p:sldLayoutId id="2147484981" r:id="rId28"/>
    <p:sldLayoutId id="2147484982" r:id="rId29"/>
    <p:sldLayoutId id="2147484983" r:id="rId30"/>
    <p:sldLayoutId id="2147484984" r:id="rId31"/>
    <p:sldLayoutId id="2147484985" r:id="rId32"/>
    <p:sldLayoutId id="2147484986" r:id="rId33"/>
    <p:sldLayoutId id="2147484987" r:id="rId34"/>
    <p:sldLayoutId id="2147484988" r:id="rId35"/>
    <p:sldLayoutId id="2147484989" r:id="rId36"/>
    <p:sldLayoutId id="2147484990" r:id="rId37"/>
    <p:sldLayoutId id="2147484991" r:id="rId38"/>
    <p:sldLayoutId id="2147484992" r:id="rId39"/>
    <p:sldLayoutId id="2147484993" r:id="rId40"/>
    <p:sldLayoutId id="2147484994" r:id="rId41"/>
    <p:sldLayoutId id="2147484995" r:id="rId42"/>
    <p:sldLayoutId id="2147484996" r:id="rId43"/>
    <p:sldLayoutId id="2147484997" r:id="rId44"/>
    <p:sldLayoutId id="2147484998" r:id="rId45"/>
    <p:sldLayoutId id="2147484999" r:id="rId46"/>
    <p:sldLayoutId id="2147485000" r:id="rId47"/>
    <p:sldLayoutId id="2147485001" r:id="rId48"/>
    <p:sldLayoutId id="2147485002" r:id="rId49"/>
    <p:sldLayoutId id="2147485003" r:id="rId50"/>
    <p:sldLayoutId id="2147485004" r:id="rId51"/>
    <p:sldLayoutId id="2147485005" r:id="rId52"/>
    <p:sldLayoutId id="2147485006" r:id="rId53"/>
    <p:sldLayoutId id="2147485007" r:id="rId54"/>
    <p:sldLayoutId id="2147485008" r:id="rId55"/>
    <p:sldLayoutId id="2147485009" r:id="rId56"/>
    <p:sldLayoutId id="2147485010" r:id="rId57"/>
    <p:sldLayoutId id="2147485011" r:id="rId58"/>
    <p:sldLayoutId id="2147485012" r:id="rId59"/>
    <p:sldLayoutId id="2147485013" r:id="rId60"/>
    <p:sldLayoutId id="2147485014" r:id="rId61"/>
    <p:sldLayoutId id="2147485015" r:id="rId62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hdr="0" ftr="0" dt="0"/>
  <p:txStyles>
    <p:titleStyle>
      <a:lvl1pPr algn="l" defTabSz="882149" rtl="0" eaLnBrk="1" latinLnBrk="0" hangingPunct="1">
        <a:lnSpc>
          <a:spcPct val="90000"/>
        </a:lnSpc>
        <a:spcBef>
          <a:spcPct val="0"/>
        </a:spcBef>
        <a:buNone/>
        <a:defRPr lang="en-US" sz="4000" b="0" i="0" kern="100" spc="-133" baseline="0" dirty="0">
          <a:solidFill>
            <a:schemeClr val="tx1"/>
          </a:solidFill>
          <a:latin typeface="CiscoSansTT" panose="020B0503020201020303" pitchFamily="34" charset="0"/>
          <a:ea typeface="+mj-ea"/>
          <a:cs typeface="+mj-cs"/>
        </a:defRPr>
      </a:lvl1pPr>
    </p:titleStyle>
    <p:bodyStyle>
      <a:lvl1pPr marL="0" indent="0" algn="l" defTabSz="882149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600" b="0" i="0" kern="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174621" indent="-174621" algn="l" defTabSz="882149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2pPr>
      <a:lvl3pPr marL="342891" indent="-168270" algn="l" defTabSz="882149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2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3pPr>
      <a:lvl4pPr marL="512750" indent="-169858" algn="l" defTabSz="882149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0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4pPr>
      <a:lvl5pPr marL="571486" marR="0" indent="-114297" algn="l" defTabSz="882149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Tx/>
        <a:buSzTx/>
        <a:buFont typeface="Arial" panose="020B0604020202020204" pitchFamily="34" charset="0"/>
        <a:buChar char="•"/>
        <a:tabLst/>
        <a:defRPr sz="5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425913" indent="-220537" algn="l" defTabSz="882149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866988" indent="-220537" algn="l" defTabSz="882149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308063" indent="-220537" algn="l" defTabSz="882149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749140" indent="-220537" algn="l" defTabSz="882149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1pPr>
      <a:lvl2pPr marL="441077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2pPr>
      <a:lvl3pPr marL="882149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3pPr>
      <a:lvl4pPr marL="1323226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4pPr>
      <a:lvl5pPr marL="1764300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5pPr>
      <a:lvl6pPr marL="2205377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646449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087525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528601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5ACBF0"/>
          </p15:clr>
        </p15:guide>
        <p15:guide id="2" pos="7320">
          <p15:clr>
            <a:srgbClr val="F26B43"/>
          </p15:clr>
        </p15:guide>
        <p15:guide id="3" pos="360">
          <p15:clr>
            <a:srgbClr val="F26B43"/>
          </p15:clr>
        </p15:guide>
        <p15:guide id="4" orient="horz" pos="2160">
          <p15:clr>
            <a:srgbClr val="5ACBF0"/>
          </p15:clr>
        </p15:guide>
        <p15:guide id="5" orient="horz" pos="4104">
          <p15:clr>
            <a:srgbClr val="F26B43"/>
          </p15:clr>
        </p15:guide>
        <p15:guide id="8" pos="3744">
          <p15:clr>
            <a:srgbClr val="A4A3A4"/>
          </p15:clr>
        </p15:guide>
        <p15:guide id="9" pos="768">
          <p15:clr>
            <a:srgbClr val="A4A3A4"/>
          </p15:clr>
        </p15:guide>
        <p15:guide id="10" pos="192">
          <p15:clr>
            <a:srgbClr val="A4A3A4"/>
          </p15:clr>
        </p15:guide>
        <p15:guide id="11" pos="7488">
          <p15:clr>
            <a:srgbClr val="A4A3A4"/>
          </p15:clr>
        </p15:guide>
        <p15:guide id="16" orient="horz" pos="2064">
          <p15:clr>
            <a:srgbClr val="F26B43"/>
          </p15:clr>
        </p15:guide>
        <p15:guide id="17" pos="3936">
          <p15:clr>
            <a:srgbClr val="A4A3A4"/>
          </p15:clr>
        </p15:guide>
        <p15:guide id="18" pos="960">
          <p15:clr>
            <a:srgbClr val="A4A3A4"/>
          </p15:clr>
        </p15:guide>
        <p15:guide id="19" pos="1368">
          <p15:clr>
            <a:srgbClr val="A4A3A4"/>
          </p15:clr>
        </p15:guide>
        <p15:guide id="20" pos="1560">
          <p15:clr>
            <a:srgbClr val="A4A3A4"/>
          </p15:clr>
        </p15:guide>
        <p15:guide id="21" pos="1968">
          <p15:clr>
            <a:srgbClr val="A4A3A4"/>
          </p15:clr>
        </p15:guide>
        <p15:guide id="22" pos="2160">
          <p15:clr>
            <a:srgbClr val="A4A3A4"/>
          </p15:clr>
        </p15:guide>
        <p15:guide id="23" pos="2760">
          <p15:clr>
            <a:srgbClr val="A4A3A4"/>
          </p15:clr>
        </p15:guide>
        <p15:guide id="24" pos="3144">
          <p15:clr>
            <a:srgbClr val="A4A3A4"/>
          </p15:clr>
        </p15:guide>
        <p15:guide id="25" pos="2568">
          <p15:clr>
            <a:srgbClr val="A4A3A4"/>
          </p15:clr>
        </p15:guide>
        <p15:guide id="26" pos="3336">
          <p15:clr>
            <a:srgbClr val="A4A3A4"/>
          </p15:clr>
        </p15:guide>
        <p15:guide id="27" pos="4344">
          <p15:clr>
            <a:srgbClr val="A4A3A4"/>
          </p15:clr>
        </p15:guide>
        <p15:guide id="28" pos="5136">
          <p15:clr>
            <a:srgbClr val="A4A3A4"/>
          </p15:clr>
        </p15:guide>
        <p15:guide id="29" pos="4944">
          <p15:clr>
            <a:srgbClr val="A4A3A4"/>
          </p15:clr>
        </p15:guide>
        <p15:guide id="30" pos="4536">
          <p15:clr>
            <a:srgbClr val="A4A3A4"/>
          </p15:clr>
        </p15:guide>
        <p15:guide id="31" pos="6120">
          <p15:clr>
            <a:srgbClr val="A4A3A4"/>
          </p15:clr>
        </p15:guide>
        <p15:guide id="32" pos="5712">
          <p15:clr>
            <a:srgbClr val="A4A3A4"/>
          </p15:clr>
        </p15:guide>
        <p15:guide id="33" pos="5520">
          <p15:clr>
            <a:srgbClr val="A4A3A4"/>
          </p15:clr>
        </p15:guide>
        <p15:guide id="34" pos="6720">
          <p15:clr>
            <a:srgbClr val="A4A3A4"/>
          </p15:clr>
        </p15:guide>
        <p15:guide id="35" pos="6312">
          <p15:clr>
            <a:srgbClr val="A4A3A4"/>
          </p15:clr>
        </p15:guide>
        <p15:guide id="36" pos="6912">
          <p15:clr>
            <a:srgbClr val="A4A3A4"/>
          </p15:clr>
        </p15:guide>
        <p15:guide id="37" orient="horz" pos="2260">
          <p15:clr>
            <a:srgbClr val="F26B43"/>
          </p15:clr>
        </p15:guide>
        <p15:guide id="48" orient="horz" pos="3912">
          <p15:clr>
            <a:srgbClr val="F26B43"/>
          </p15:clr>
        </p15:guide>
        <p15:guide id="55" orient="horz" pos="192">
          <p15:clr>
            <a:srgbClr val="F26B43"/>
          </p15:clr>
        </p15:guide>
        <p15:guide id="57" orient="horz" pos="384">
          <p15:clr>
            <a:srgbClr val="5ACBF0"/>
          </p15:clr>
        </p15:guide>
        <p15:guide id="58" orient="horz" pos="288">
          <p15:clr>
            <a:srgbClr val="F26B43"/>
          </p15:clr>
        </p15:guide>
        <p15:guide id="59" orient="horz" pos="1200">
          <p15:clr>
            <a:srgbClr val="5ACBF0"/>
          </p15:clr>
        </p15:guide>
      </p15:sldGuideLst>
    </p:ext>
  </p:extLst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47EC9D-596C-4E44-B83E-18AAA49AA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10287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E00F6-F701-4424-BC1C-C234A2D50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1905000"/>
            <a:ext cx="110490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9" name="Graphic 98">
            <a:extLst>
              <a:ext uri="{FF2B5EF4-FFF2-40B4-BE49-F238E27FC236}">
                <a16:creationId xmlns:a16="http://schemas.microsoft.com/office/drawing/2014/main" id="{CC91285F-2BD9-4301-86D5-B8F24697FA1F}"/>
              </a:ext>
            </a:extLst>
          </p:cNvPr>
          <p:cNvPicPr>
            <a:picLocks noChangeAspect="1"/>
          </p:cNvPicPr>
          <p:nvPr/>
        </p:nvPicPr>
        <p:blipFill>
          <a:blip r:embed="rId59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516809" y="6364638"/>
            <a:ext cx="503671" cy="221124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50EDDB-BE28-44D4-9435-5B2F3C7B1FB0}"/>
              </a:ext>
            </a:extLst>
          </p:cNvPr>
          <p:cNvSpPr txBox="1">
            <a:spLocks/>
          </p:cNvSpPr>
          <p:nvPr/>
        </p:nvSpPr>
        <p:spPr>
          <a:xfrm>
            <a:off x="10020301" y="6401749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z="800" smtClean="0"/>
              <a:pPr/>
              <a:t>‹#›</a:t>
            </a:fld>
            <a:endParaRPr lang="en-US" sz="80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A7989B1-F877-9ED1-4537-FD628D15E543}"/>
              </a:ext>
            </a:extLst>
          </p:cNvPr>
          <p:cNvSpPr txBox="1"/>
          <p:nvPr>
            <p:extLst>
              <p:ext uri="{1162E1C5-73C7-4A58-AE30-91384D911F3F}">
                <p184:classification xmlns:p184="http://schemas.microsoft.com/office/powerpoint/2018/4/main" val="ftr"/>
              </p:ext>
            </p:extLst>
          </p:nvPr>
        </p:nvSpPr>
        <p:spPr>
          <a:xfrm>
            <a:off x="11385550" y="6672580"/>
            <a:ext cx="765175" cy="121920"/>
          </a:xfrm>
          <a:prstGeom prst="rect">
            <a:avLst/>
          </a:prstGeom>
        </p:spPr>
        <p:txBody>
          <a:bodyPr horzOverflow="overflow" lIns="0" tIns="0" rIns="0" bIns="0">
            <a:spAutoFit/>
          </a:bodyPr>
          <a:lstStyle/>
          <a:p>
            <a:pPr algn="l"/>
            <a:r>
              <a:rPr lang="en-US" sz="80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Cisco Confidential</a:t>
            </a:r>
          </a:p>
        </p:txBody>
      </p:sp>
    </p:spTree>
    <p:extLst>
      <p:ext uri="{BB962C8B-B14F-4D97-AF65-F5344CB8AC3E}">
        <p14:creationId xmlns:p14="http://schemas.microsoft.com/office/powerpoint/2010/main" val="35529464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7" r:id="rId1"/>
    <p:sldLayoutId id="2147485018" r:id="rId2"/>
    <p:sldLayoutId id="2147485019" r:id="rId3"/>
    <p:sldLayoutId id="2147485020" r:id="rId4"/>
    <p:sldLayoutId id="2147485021" r:id="rId5"/>
    <p:sldLayoutId id="2147485022" r:id="rId6"/>
    <p:sldLayoutId id="2147485023" r:id="rId7"/>
    <p:sldLayoutId id="2147485024" r:id="rId8"/>
    <p:sldLayoutId id="2147485025" r:id="rId9"/>
    <p:sldLayoutId id="2147485026" r:id="rId10"/>
    <p:sldLayoutId id="2147485027" r:id="rId11"/>
    <p:sldLayoutId id="2147485028" r:id="rId12"/>
    <p:sldLayoutId id="2147485029" r:id="rId13"/>
    <p:sldLayoutId id="2147485030" r:id="rId14"/>
    <p:sldLayoutId id="2147485031" r:id="rId15"/>
    <p:sldLayoutId id="2147485032" r:id="rId16"/>
    <p:sldLayoutId id="2147485033" r:id="rId17"/>
    <p:sldLayoutId id="2147485034" r:id="rId18"/>
    <p:sldLayoutId id="2147485035" r:id="rId19"/>
    <p:sldLayoutId id="2147485036" r:id="rId20"/>
    <p:sldLayoutId id="2147485037" r:id="rId21"/>
    <p:sldLayoutId id="2147485038" r:id="rId22"/>
    <p:sldLayoutId id="2147485039" r:id="rId23"/>
    <p:sldLayoutId id="2147485040" r:id="rId24"/>
    <p:sldLayoutId id="2147485041" r:id="rId25"/>
    <p:sldLayoutId id="2147485042" r:id="rId26"/>
    <p:sldLayoutId id="2147485043" r:id="rId27"/>
    <p:sldLayoutId id="2147485044" r:id="rId28"/>
    <p:sldLayoutId id="2147485045" r:id="rId29"/>
    <p:sldLayoutId id="2147485046" r:id="rId30"/>
    <p:sldLayoutId id="2147485047" r:id="rId31"/>
    <p:sldLayoutId id="2147485048" r:id="rId32"/>
    <p:sldLayoutId id="2147485049" r:id="rId33"/>
    <p:sldLayoutId id="2147485050" r:id="rId34"/>
    <p:sldLayoutId id="2147485051" r:id="rId35"/>
    <p:sldLayoutId id="2147485052" r:id="rId36"/>
    <p:sldLayoutId id="2147485053" r:id="rId37"/>
    <p:sldLayoutId id="2147485054" r:id="rId38"/>
    <p:sldLayoutId id="2147485055" r:id="rId39"/>
    <p:sldLayoutId id="2147485056" r:id="rId40"/>
    <p:sldLayoutId id="2147485057" r:id="rId41"/>
    <p:sldLayoutId id="2147485058" r:id="rId42"/>
    <p:sldLayoutId id="2147485059" r:id="rId43"/>
    <p:sldLayoutId id="2147485060" r:id="rId44"/>
    <p:sldLayoutId id="2147485061" r:id="rId45"/>
    <p:sldLayoutId id="2147485062" r:id="rId46"/>
    <p:sldLayoutId id="2147485063" r:id="rId47"/>
    <p:sldLayoutId id="2147485064" r:id="rId48"/>
    <p:sldLayoutId id="2147485065" r:id="rId49"/>
    <p:sldLayoutId id="2147485066" r:id="rId50"/>
    <p:sldLayoutId id="2147485067" r:id="rId51"/>
    <p:sldLayoutId id="2147485068" r:id="rId52"/>
    <p:sldLayoutId id="2147485069" r:id="rId53"/>
    <p:sldLayoutId id="2147485070" r:id="rId54"/>
    <p:sldLayoutId id="2147485071" r:id="rId55"/>
    <p:sldLayoutId id="2147485072" r:id="rId56"/>
    <p:sldLayoutId id="2147485073" r:id="rId57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hdr="0" ftr="0" dt="0"/>
  <p:txStyles>
    <p:titleStyle>
      <a:lvl1pPr algn="l" defTabSz="882149" rtl="0" eaLnBrk="1" latinLnBrk="0" hangingPunct="1">
        <a:lnSpc>
          <a:spcPct val="90000"/>
        </a:lnSpc>
        <a:spcBef>
          <a:spcPct val="0"/>
        </a:spcBef>
        <a:buNone/>
        <a:defRPr lang="en-US" sz="4000" b="0" i="0" kern="100" spc="-133" baseline="0" dirty="0">
          <a:solidFill>
            <a:schemeClr val="tx1"/>
          </a:solidFill>
          <a:latin typeface="CiscoSansTT" panose="020B0503020201020303" pitchFamily="34" charset="0"/>
          <a:ea typeface="+mj-ea"/>
          <a:cs typeface="+mj-cs"/>
        </a:defRPr>
      </a:lvl1pPr>
    </p:titleStyle>
    <p:bodyStyle>
      <a:lvl1pPr marL="0" indent="0" algn="l" defTabSz="882149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600" b="0" i="0" kern="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174621" indent="-174621" algn="l" defTabSz="882149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2pPr>
      <a:lvl3pPr marL="342891" indent="-168270" algn="l" defTabSz="882149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2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3pPr>
      <a:lvl4pPr marL="512750" indent="-169858" algn="l" defTabSz="882149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0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4pPr>
      <a:lvl5pPr marL="571486" marR="0" indent="-114297" algn="l" defTabSz="882149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Tx/>
        <a:buSzTx/>
        <a:buFont typeface="Arial" panose="020B0604020202020204" pitchFamily="34" charset="0"/>
        <a:buChar char="•"/>
        <a:tabLst/>
        <a:defRPr sz="5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425913" indent="-220537" algn="l" defTabSz="882149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866988" indent="-220537" algn="l" defTabSz="882149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308063" indent="-220537" algn="l" defTabSz="882149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749140" indent="-220537" algn="l" defTabSz="882149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1pPr>
      <a:lvl2pPr marL="441077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2pPr>
      <a:lvl3pPr marL="882149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3pPr>
      <a:lvl4pPr marL="1323226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4pPr>
      <a:lvl5pPr marL="1764300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5pPr>
      <a:lvl6pPr marL="2205377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646449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087525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528601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5ACBF0"/>
          </p15:clr>
        </p15:guide>
        <p15:guide id="2" pos="7320">
          <p15:clr>
            <a:srgbClr val="F26B43"/>
          </p15:clr>
        </p15:guide>
        <p15:guide id="3" pos="360">
          <p15:clr>
            <a:srgbClr val="F26B43"/>
          </p15:clr>
        </p15:guide>
        <p15:guide id="4" orient="horz" pos="2160">
          <p15:clr>
            <a:srgbClr val="5ACBF0"/>
          </p15:clr>
        </p15:guide>
        <p15:guide id="5" orient="horz" pos="4104">
          <p15:clr>
            <a:srgbClr val="F26B43"/>
          </p15:clr>
        </p15:guide>
        <p15:guide id="8" pos="3744">
          <p15:clr>
            <a:srgbClr val="A4A3A4"/>
          </p15:clr>
        </p15:guide>
        <p15:guide id="9" pos="768">
          <p15:clr>
            <a:srgbClr val="A4A3A4"/>
          </p15:clr>
        </p15:guide>
        <p15:guide id="10" pos="192">
          <p15:clr>
            <a:srgbClr val="A4A3A4"/>
          </p15:clr>
        </p15:guide>
        <p15:guide id="11" pos="7488">
          <p15:clr>
            <a:srgbClr val="A4A3A4"/>
          </p15:clr>
        </p15:guide>
        <p15:guide id="16" orient="horz" pos="2064">
          <p15:clr>
            <a:srgbClr val="F26B43"/>
          </p15:clr>
        </p15:guide>
        <p15:guide id="17" pos="3936">
          <p15:clr>
            <a:srgbClr val="A4A3A4"/>
          </p15:clr>
        </p15:guide>
        <p15:guide id="18" pos="960">
          <p15:clr>
            <a:srgbClr val="A4A3A4"/>
          </p15:clr>
        </p15:guide>
        <p15:guide id="19" pos="1368">
          <p15:clr>
            <a:srgbClr val="A4A3A4"/>
          </p15:clr>
        </p15:guide>
        <p15:guide id="20" pos="1560">
          <p15:clr>
            <a:srgbClr val="A4A3A4"/>
          </p15:clr>
        </p15:guide>
        <p15:guide id="21" pos="1968">
          <p15:clr>
            <a:srgbClr val="A4A3A4"/>
          </p15:clr>
        </p15:guide>
        <p15:guide id="22" pos="2160">
          <p15:clr>
            <a:srgbClr val="A4A3A4"/>
          </p15:clr>
        </p15:guide>
        <p15:guide id="23" pos="2760">
          <p15:clr>
            <a:srgbClr val="A4A3A4"/>
          </p15:clr>
        </p15:guide>
        <p15:guide id="24" pos="3144">
          <p15:clr>
            <a:srgbClr val="A4A3A4"/>
          </p15:clr>
        </p15:guide>
        <p15:guide id="25" pos="2568">
          <p15:clr>
            <a:srgbClr val="A4A3A4"/>
          </p15:clr>
        </p15:guide>
        <p15:guide id="26" pos="3336">
          <p15:clr>
            <a:srgbClr val="A4A3A4"/>
          </p15:clr>
        </p15:guide>
        <p15:guide id="27" pos="4344">
          <p15:clr>
            <a:srgbClr val="A4A3A4"/>
          </p15:clr>
        </p15:guide>
        <p15:guide id="28" pos="5136">
          <p15:clr>
            <a:srgbClr val="A4A3A4"/>
          </p15:clr>
        </p15:guide>
        <p15:guide id="29" pos="4944">
          <p15:clr>
            <a:srgbClr val="A4A3A4"/>
          </p15:clr>
        </p15:guide>
        <p15:guide id="30" pos="4536">
          <p15:clr>
            <a:srgbClr val="A4A3A4"/>
          </p15:clr>
        </p15:guide>
        <p15:guide id="31" pos="6120">
          <p15:clr>
            <a:srgbClr val="A4A3A4"/>
          </p15:clr>
        </p15:guide>
        <p15:guide id="32" pos="5712">
          <p15:clr>
            <a:srgbClr val="A4A3A4"/>
          </p15:clr>
        </p15:guide>
        <p15:guide id="33" pos="5520">
          <p15:clr>
            <a:srgbClr val="A4A3A4"/>
          </p15:clr>
        </p15:guide>
        <p15:guide id="34" pos="6720">
          <p15:clr>
            <a:srgbClr val="A4A3A4"/>
          </p15:clr>
        </p15:guide>
        <p15:guide id="35" pos="6312">
          <p15:clr>
            <a:srgbClr val="A4A3A4"/>
          </p15:clr>
        </p15:guide>
        <p15:guide id="36" pos="6912">
          <p15:clr>
            <a:srgbClr val="A4A3A4"/>
          </p15:clr>
        </p15:guide>
        <p15:guide id="37" orient="horz" pos="2260">
          <p15:clr>
            <a:srgbClr val="F26B43"/>
          </p15:clr>
        </p15:guide>
        <p15:guide id="48" orient="horz" pos="3912">
          <p15:clr>
            <a:srgbClr val="F26B43"/>
          </p15:clr>
        </p15:guide>
        <p15:guide id="55" orient="horz" pos="192">
          <p15:clr>
            <a:srgbClr val="F26B43"/>
          </p15:clr>
        </p15:guide>
        <p15:guide id="57" orient="horz" pos="384">
          <p15:clr>
            <a:srgbClr val="5ACBF0"/>
          </p15:clr>
        </p15:guide>
        <p15:guide id="58" orient="horz" pos="288">
          <p15:clr>
            <a:srgbClr val="F26B43"/>
          </p15:clr>
        </p15:guide>
        <p15:guide id="59" orient="horz" pos="1200">
          <p15:clr>
            <a:srgbClr val="5ACBF0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A0A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5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le Goes Her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B5208EA-DF77-5A47-88E8-3476828C1D2B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786132" y="6453822"/>
            <a:ext cx="5610304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ctr">
            <a:spAutoFit/>
          </a:bodyPr>
          <a:lstStyle/>
          <a:p>
            <a:pPr algn="l" defTabSz="81430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0" baseline="0">
                <a:solidFill>
                  <a:schemeClr val="tx1"/>
                </a:solidFill>
                <a:latin typeface="+mn-lt"/>
                <a:ea typeface="+mn-ea"/>
                <a:cs typeface="CiscoSans Thin"/>
              </a:rPr>
              <a:t>|        © 2021  Cisco and/or its affiliates. All rights reserved. Cisco Confidentia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D86987C-7B35-AA4E-B27F-43E9CC966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2" y="6376757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r>
              <a:rPr lang="en-US"/>
              <a:t>© 2021 Cisco and/or its affiliates. All rights reserved. Cisco Confidential.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FFCA6AB-3BDF-7E49-8404-01D8EFD13814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10425458" y="6448093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7299316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800" r:id="rId1"/>
    <p:sldLayoutId id="2147483801" r:id="rId2"/>
    <p:sldLayoutId id="2147483802" r:id="rId3"/>
    <p:sldLayoutId id="2147483803" r:id="rId4"/>
    <p:sldLayoutId id="2147483804" r:id="rId5"/>
    <p:sldLayoutId id="2147483805" r:id="rId6"/>
    <p:sldLayoutId id="2147483806" r:id="rId7"/>
    <p:sldLayoutId id="2147483807" r:id="rId8"/>
    <p:sldLayoutId id="2147483808" r:id="rId9"/>
    <p:sldLayoutId id="2147483809" r:id="rId10"/>
    <p:sldLayoutId id="2147483810" r:id="rId11"/>
    <p:sldLayoutId id="2147483811" r:id="rId12"/>
    <p:sldLayoutId id="2147483812" r:id="rId13"/>
    <p:sldLayoutId id="2147483813" r:id="rId14"/>
    <p:sldLayoutId id="2147483814" r:id="rId15"/>
    <p:sldLayoutId id="2147483815" r:id="rId16"/>
    <p:sldLayoutId id="2147483816" r:id="rId17"/>
    <p:sldLayoutId id="2147483817" r:id="rId18"/>
    <p:sldLayoutId id="2147483818" r:id="rId19"/>
    <p:sldLayoutId id="2147483819" r:id="rId20"/>
    <p:sldLayoutId id="2147483820" r:id="rId21"/>
    <p:sldLayoutId id="2147483821" r:id="rId22"/>
    <p:sldLayoutId id="2147483822" r:id="rId23"/>
    <p:sldLayoutId id="2147483823" r:id="rId24"/>
    <p:sldLayoutId id="2147483824" r:id="rId25"/>
    <p:sldLayoutId id="2147483825" r:id="rId26"/>
    <p:sldLayoutId id="2147483826" r:id="rId27"/>
    <p:sldLayoutId id="2147483827" r:id="rId28"/>
    <p:sldLayoutId id="2147483828" r:id="rId29"/>
    <p:sldLayoutId id="2147483829" r:id="rId30"/>
    <p:sldLayoutId id="2147483830" r:id="rId31"/>
    <p:sldLayoutId id="2147483831" r:id="rId32"/>
    <p:sldLayoutId id="2147483832" r:id="rId33"/>
    <p:sldLayoutId id="2147483833" r:id="rId34"/>
    <p:sldLayoutId id="2147483834" r:id="rId35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txStyles>
    <p:titleStyle>
      <a:lvl1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733" b="0" i="0" kern="1200" dirty="0">
          <a:solidFill>
            <a:schemeClr val="tx1"/>
          </a:solidFill>
          <a:latin typeface="+mj-lt"/>
          <a:ea typeface="CiscoSansTT Thin" charset="0"/>
          <a:cs typeface="CiscoSansTT Thin" charset="0"/>
        </a:defRPr>
      </a:lvl1pPr>
      <a:lvl2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5pPr>
      <a:lvl6pPr marL="609585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6pPr>
      <a:lvl7pPr marL="1219170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7pPr>
      <a:lvl8pPr marL="1828754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8pPr>
      <a:lvl9pPr marL="2438339" algn="l" defTabSz="912261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267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478" indent="-226478" algn="l" defTabSz="912261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355" indent="-287859" algn="l" defTabSz="912261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8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719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67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214" indent="-226478" algn="l" defTabSz="912261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467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79" indent="-228588" algn="l" defTabSz="914346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61" indent="-228557" algn="l" defTabSz="914346" rtl="0" eaLnBrk="1" latinLnBrk="0" hangingPunct="1">
        <a:spcBef>
          <a:spcPts val="800"/>
        </a:spcBef>
        <a:buFont typeface="Arial" pitchFamily="34" charset="0"/>
        <a:buChar char="•"/>
        <a:defRPr sz="1067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213" indent="0" algn="l" defTabSz="914346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974" indent="-228588" algn="l" defTabSz="914346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1pPr>
      <a:lvl2pPr marL="457170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914346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37151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182869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285864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6pPr>
      <a:lvl7pPr marL="2743041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7pPr>
      <a:lvl8pPr marL="3200213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8pPr>
      <a:lvl9pPr marL="3657389" algn="l" defTabSz="914346" rtl="0" eaLnBrk="1" latinLnBrk="0" hangingPunct="1">
        <a:defRPr sz="186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47EC9D-596C-4E44-B83E-18AAA49AA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904" y="990601"/>
            <a:ext cx="11077296" cy="126135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E00F6-F701-4424-BC1C-C234A2D50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352" y="2431880"/>
            <a:ext cx="11077296" cy="3744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DB9C2F-AEDD-46EC-AC15-828A57E3BB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33559E-7ED2-43CE-955D-B8AD83F21F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4371DB5-5CA4-4167-93C8-04C23C5C7740}"/>
              </a:ext>
            </a:extLst>
          </p:cNvPr>
          <p:cNvPicPr>
            <a:picLocks noChangeAspect="1"/>
          </p:cNvPicPr>
          <p:nvPr/>
        </p:nvPicPr>
        <p:blipFill>
          <a:blip r:embed="rId72">
            <a:extLst>
              <a:ext uri="{BEBA8EAE-BF5A-486C-A8C5-ECC9F3942E4B}">
                <a14:imgProps xmlns:a14="http://schemas.microsoft.com/office/drawing/2010/main">
                  <a14:imgLayer r:embed="rId73">
                    <a14:imgEffect>
                      <a14:brightnessContrast bright="100000"/>
                    </a14:imgEffect>
                  </a14:imgLayer>
                </a14:imgProps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976410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6" r:id="rId1"/>
    <p:sldLayoutId id="2147483837" r:id="rId2"/>
    <p:sldLayoutId id="2147483838" r:id="rId3"/>
    <p:sldLayoutId id="2147483839" r:id="rId4"/>
    <p:sldLayoutId id="2147483840" r:id="rId5"/>
    <p:sldLayoutId id="2147483841" r:id="rId6"/>
    <p:sldLayoutId id="2147483842" r:id="rId7"/>
    <p:sldLayoutId id="2147483843" r:id="rId8"/>
    <p:sldLayoutId id="2147483844" r:id="rId9"/>
    <p:sldLayoutId id="2147483845" r:id="rId10"/>
    <p:sldLayoutId id="2147483846" r:id="rId11"/>
    <p:sldLayoutId id="2147483847" r:id="rId12"/>
    <p:sldLayoutId id="2147483848" r:id="rId13"/>
    <p:sldLayoutId id="2147483849" r:id="rId14"/>
    <p:sldLayoutId id="2147483850" r:id="rId15"/>
    <p:sldLayoutId id="2147483851" r:id="rId16"/>
    <p:sldLayoutId id="2147483852" r:id="rId17"/>
    <p:sldLayoutId id="2147483853" r:id="rId18"/>
    <p:sldLayoutId id="2147483854" r:id="rId19"/>
    <p:sldLayoutId id="2147483855" r:id="rId20"/>
    <p:sldLayoutId id="2147483856" r:id="rId21"/>
    <p:sldLayoutId id="2147483857" r:id="rId22"/>
    <p:sldLayoutId id="2147483858" r:id="rId23"/>
    <p:sldLayoutId id="2147483859" r:id="rId24"/>
    <p:sldLayoutId id="2147483860" r:id="rId25"/>
    <p:sldLayoutId id="2147483861" r:id="rId26"/>
    <p:sldLayoutId id="2147483862" r:id="rId27"/>
    <p:sldLayoutId id="2147483863" r:id="rId28"/>
    <p:sldLayoutId id="2147483864" r:id="rId29"/>
    <p:sldLayoutId id="2147483865" r:id="rId30"/>
    <p:sldLayoutId id="2147483866" r:id="rId31"/>
    <p:sldLayoutId id="2147483867" r:id="rId32"/>
    <p:sldLayoutId id="2147483868" r:id="rId33"/>
    <p:sldLayoutId id="2147483869" r:id="rId34"/>
    <p:sldLayoutId id="2147483870" r:id="rId35"/>
    <p:sldLayoutId id="2147483871" r:id="rId36"/>
    <p:sldLayoutId id="2147483872" r:id="rId37"/>
    <p:sldLayoutId id="2147483873" r:id="rId38"/>
    <p:sldLayoutId id="2147483874" r:id="rId39"/>
    <p:sldLayoutId id="2147483875" r:id="rId40"/>
    <p:sldLayoutId id="2147483876" r:id="rId41"/>
    <p:sldLayoutId id="2147483877" r:id="rId42"/>
    <p:sldLayoutId id="2147483878" r:id="rId43"/>
    <p:sldLayoutId id="2147483879" r:id="rId44"/>
    <p:sldLayoutId id="2147483880" r:id="rId45"/>
    <p:sldLayoutId id="2147483881" r:id="rId46"/>
    <p:sldLayoutId id="2147483882" r:id="rId47"/>
    <p:sldLayoutId id="2147483883" r:id="rId48"/>
    <p:sldLayoutId id="2147483884" r:id="rId49"/>
    <p:sldLayoutId id="2147483885" r:id="rId50"/>
    <p:sldLayoutId id="2147483886" r:id="rId51"/>
    <p:sldLayoutId id="2147483887" r:id="rId52"/>
    <p:sldLayoutId id="2147483888" r:id="rId53"/>
    <p:sldLayoutId id="2147483889" r:id="rId54"/>
    <p:sldLayoutId id="2147483890" r:id="rId55"/>
    <p:sldLayoutId id="2147483891" r:id="rId56"/>
    <p:sldLayoutId id="2147483892" r:id="rId57"/>
    <p:sldLayoutId id="2147483893" r:id="rId58"/>
    <p:sldLayoutId id="2147483894" r:id="rId59"/>
    <p:sldLayoutId id="2147483895" r:id="rId60"/>
    <p:sldLayoutId id="2147483896" r:id="rId61"/>
    <p:sldLayoutId id="2147483897" r:id="rId62"/>
    <p:sldLayoutId id="2147483898" r:id="rId63"/>
    <p:sldLayoutId id="2147483899" r:id="rId64"/>
    <p:sldLayoutId id="2147483900" r:id="rId65"/>
    <p:sldLayoutId id="2147483901" r:id="rId66"/>
    <p:sldLayoutId id="2147483902" r:id="rId67"/>
    <p:sldLayoutId id="2147483903" r:id="rId68"/>
    <p:sldLayoutId id="2147483904" r:id="rId69"/>
    <p:sldLayoutId id="2147483905" r:id="rId70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txStyles>
    <p:titleStyle>
      <a:lvl1pPr algn="l" defTabSz="882171" rtl="0" eaLnBrk="1" latinLnBrk="0" hangingPunct="1">
        <a:lnSpc>
          <a:spcPct val="90000"/>
        </a:lnSpc>
        <a:spcBef>
          <a:spcPct val="0"/>
        </a:spcBef>
        <a:buNone/>
        <a:defRPr lang="en-US" sz="4300" b="0" i="0" kern="100" spc="-133" baseline="0" dirty="0">
          <a:solidFill>
            <a:schemeClr val="tx1"/>
          </a:solidFill>
          <a:latin typeface="CiscoSansTT" panose="020B0503020201020303" pitchFamily="34" charset="0"/>
          <a:ea typeface="+mj-ea"/>
          <a:cs typeface="+mj-cs"/>
        </a:defRPr>
      </a:lvl1pPr>
    </p:titleStyle>
    <p:bodyStyle>
      <a:lvl1pPr marL="0" indent="0" algn="l" defTabSz="882171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600" b="0" i="0" kern="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531271" indent="-228594" algn="l" defTabSz="882171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2pPr>
      <a:lvl3pPr marL="840296" indent="-232828" algn="l" defTabSz="882171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2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3pPr>
      <a:lvl4pPr marL="1142971" indent="-226478" algn="l" defTabSz="882171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800" b="0" i="0" kern="0" spc="0" baseline="0">
          <a:solidFill>
            <a:schemeClr val="tx1"/>
          </a:solidFill>
          <a:latin typeface="CiscoSansTT" panose="020B0503020201020303" pitchFamily="34" charset="0"/>
          <a:ea typeface="+mn-ea"/>
          <a:cs typeface="CiscoSansTT" panose="020B0503020201020303" pitchFamily="34" charset="0"/>
        </a:defRPr>
      </a:lvl4pPr>
      <a:lvl5pPr marL="1295368" marR="0" indent="-228594" algn="l" defTabSz="882171" rtl="0" eaLnBrk="1" fontAlgn="auto" latinLnBrk="0" hangingPunct="1">
        <a:lnSpc>
          <a:spcPct val="150000"/>
        </a:lnSpc>
        <a:spcBef>
          <a:spcPts val="0"/>
        </a:spcBef>
        <a:spcAft>
          <a:spcPts val="800"/>
        </a:spcAft>
        <a:buClrTx/>
        <a:buSzTx/>
        <a:buFont typeface="Arial" panose="020B0604020202020204" pitchFamily="34" charset="0"/>
        <a:buChar char="•"/>
        <a:tabLst/>
        <a:defRPr sz="700" b="0" i="0" kern="1200" spc="0" baseline="0">
          <a:solidFill>
            <a:schemeClr val="tx1"/>
          </a:solidFill>
          <a:latin typeface="CiscoSansTT Light" panose="020B0503020201020303" pitchFamily="34" charset="0"/>
          <a:ea typeface="+mn-ea"/>
          <a:cs typeface="+mn-cs"/>
        </a:defRPr>
      </a:lvl5pPr>
      <a:lvl6pPr marL="242597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867060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308145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74923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21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41088" algn="l" defTabSz="8821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82171" algn="l" defTabSz="8821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23259" algn="l" defTabSz="8821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64344" algn="l" defTabSz="8821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05432" algn="l" defTabSz="8821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46515" algn="l" defTabSz="8821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87603" algn="l" defTabSz="8821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28689" algn="l" defTabSz="8821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7328">
          <p15:clr>
            <a:srgbClr val="F26B43"/>
          </p15:clr>
        </p15:guide>
        <p15:guide id="3" pos="352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4080">
          <p15:clr>
            <a:srgbClr val="F26B43"/>
          </p15:clr>
        </p15:guide>
        <p15:guide id="6" orient="horz" pos="240">
          <p15:clr>
            <a:srgbClr val="F26B43"/>
          </p15:clr>
        </p15:guide>
        <p15:guide id="8" pos="3744">
          <p15:clr>
            <a:srgbClr val="F26B43"/>
          </p15:clr>
        </p15:guide>
        <p15:guide id="9" pos="3936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47EC9D-596C-4E44-B83E-18AAA49AA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55904" y="990601"/>
            <a:ext cx="11077296" cy="1261359"/>
          </a:xfrm>
          <a:prstGeom prst="rect">
            <a:avLst/>
          </a:prstGeom>
        </p:spPr>
        <p:txBody>
          <a:bodyPr vert="horz" lIns="0" tIns="45720" rIns="0" bIns="4572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E00F6-F701-4424-BC1C-C234A2D50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7352" y="2431880"/>
            <a:ext cx="11077296" cy="374455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EDB9C2F-AEDD-46EC-AC15-828A57E3BB4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46451" y="6375912"/>
            <a:ext cx="7363756" cy="12064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500">
                <a:solidFill>
                  <a:schemeClr val="tx1"/>
                </a:solidFill>
              </a:defRPr>
            </a:lvl1pPr>
          </a:lstStyle>
          <a:p>
            <a:r>
              <a:rPr lang="en-US"/>
              <a:t>© 2021 Cisco and/or its affiliates. All rights reserved. Cisco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33559E-7ED2-43CE-955D-B8AD83F21F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568019" y="361440"/>
            <a:ext cx="1065181" cy="245016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94371DB5-5CA4-4167-93C8-04C23C5C7740}"/>
              </a:ext>
            </a:extLst>
          </p:cNvPr>
          <p:cNvPicPr>
            <a:picLocks noChangeAspect="1"/>
          </p:cNvPicPr>
          <p:nvPr/>
        </p:nvPicPr>
        <p:blipFill>
          <a:blip r:embed="rId70" cstate="email">
            <a:extLst>
              <a:ext uri="{BEBA8EAE-BF5A-486C-A8C5-ECC9F3942E4B}">
                <a14:imgProps xmlns:a14="http://schemas.microsoft.com/office/drawing/2010/main">
                  <a14:imgLayer r:embed="rId7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262603" y="6390603"/>
            <a:ext cx="382947" cy="931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13542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08" r:id="rId2"/>
    <p:sldLayoutId id="2147483909" r:id="rId3"/>
    <p:sldLayoutId id="2147483910" r:id="rId4"/>
    <p:sldLayoutId id="2147483911" r:id="rId5"/>
    <p:sldLayoutId id="2147483912" r:id="rId6"/>
    <p:sldLayoutId id="2147483913" r:id="rId7"/>
    <p:sldLayoutId id="2147483914" r:id="rId8"/>
    <p:sldLayoutId id="2147483915" r:id="rId9"/>
    <p:sldLayoutId id="2147483916" r:id="rId10"/>
    <p:sldLayoutId id="2147483917" r:id="rId11"/>
    <p:sldLayoutId id="2147483918" r:id="rId12"/>
    <p:sldLayoutId id="2147483919" r:id="rId13"/>
    <p:sldLayoutId id="2147483920" r:id="rId14"/>
    <p:sldLayoutId id="2147483921" r:id="rId15"/>
    <p:sldLayoutId id="2147483922" r:id="rId16"/>
    <p:sldLayoutId id="2147483923" r:id="rId17"/>
    <p:sldLayoutId id="2147483924" r:id="rId18"/>
    <p:sldLayoutId id="2147483925" r:id="rId19"/>
    <p:sldLayoutId id="2147483926" r:id="rId20"/>
    <p:sldLayoutId id="2147483927" r:id="rId21"/>
    <p:sldLayoutId id="2147483928" r:id="rId22"/>
    <p:sldLayoutId id="2147483929" r:id="rId23"/>
    <p:sldLayoutId id="2147483930" r:id="rId24"/>
    <p:sldLayoutId id="2147483931" r:id="rId25"/>
    <p:sldLayoutId id="2147483932" r:id="rId26"/>
    <p:sldLayoutId id="2147483933" r:id="rId27"/>
    <p:sldLayoutId id="2147483934" r:id="rId28"/>
    <p:sldLayoutId id="2147483935" r:id="rId29"/>
    <p:sldLayoutId id="2147483936" r:id="rId30"/>
    <p:sldLayoutId id="2147483937" r:id="rId31"/>
    <p:sldLayoutId id="2147483938" r:id="rId32"/>
    <p:sldLayoutId id="2147483939" r:id="rId33"/>
    <p:sldLayoutId id="2147483940" r:id="rId34"/>
    <p:sldLayoutId id="2147483941" r:id="rId35"/>
    <p:sldLayoutId id="2147483942" r:id="rId36"/>
    <p:sldLayoutId id="2147483943" r:id="rId37"/>
    <p:sldLayoutId id="2147483944" r:id="rId38"/>
    <p:sldLayoutId id="2147483945" r:id="rId39"/>
    <p:sldLayoutId id="2147483946" r:id="rId40"/>
    <p:sldLayoutId id="2147483947" r:id="rId41"/>
    <p:sldLayoutId id="2147483948" r:id="rId42"/>
    <p:sldLayoutId id="2147483949" r:id="rId43"/>
    <p:sldLayoutId id="2147483950" r:id="rId44"/>
    <p:sldLayoutId id="2147483951" r:id="rId45"/>
    <p:sldLayoutId id="2147483952" r:id="rId46"/>
    <p:sldLayoutId id="2147483953" r:id="rId47"/>
    <p:sldLayoutId id="2147483954" r:id="rId48"/>
    <p:sldLayoutId id="2147483955" r:id="rId49"/>
    <p:sldLayoutId id="2147483956" r:id="rId50"/>
    <p:sldLayoutId id="2147483957" r:id="rId51"/>
    <p:sldLayoutId id="2147483958" r:id="rId52"/>
    <p:sldLayoutId id="2147483959" r:id="rId53"/>
    <p:sldLayoutId id="2147483960" r:id="rId54"/>
    <p:sldLayoutId id="2147483961" r:id="rId55"/>
    <p:sldLayoutId id="2147483962" r:id="rId56"/>
    <p:sldLayoutId id="2147483963" r:id="rId57"/>
    <p:sldLayoutId id="2147483964" r:id="rId58"/>
    <p:sldLayoutId id="2147483965" r:id="rId59"/>
    <p:sldLayoutId id="2147483966" r:id="rId60"/>
    <p:sldLayoutId id="2147483967" r:id="rId61"/>
    <p:sldLayoutId id="2147483968" r:id="rId62"/>
    <p:sldLayoutId id="2147483969" r:id="rId63"/>
    <p:sldLayoutId id="2147483970" r:id="rId64"/>
    <p:sldLayoutId id="2147483971" r:id="rId65"/>
    <p:sldLayoutId id="2147483972" r:id="rId66"/>
    <p:sldLayoutId id="2147483973" r:id="rId67"/>
    <p:sldLayoutId id="2147483974" r:id="rId68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txStyles>
    <p:titleStyle>
      <a:lvl1pPr algn="l" defTabSz="882171" rtl="0" eaLnBrk="1" latinLnBrk="0" hangingPunct="1">
        <a:lnSpc>
          <a:spcPct val="90000"/>
        </a:lnSpc>
        <a:spcBef>
          <a:spcPct val="0"/>
        </a:spcBef>
        <a:buNone/>
        <a:defRPr lang="en-US" sz="4300" b="0" i="0" kern="100" spc="-133" baseline="0" dirty="0">
          <a:solidFill>
            <a:schemeClr val="tx1"/>
          </a:solidFill>
          <a:latin typeface="CiscoSansTT" panose="020B0503020201020303" pitchFamily="34" charset="0"/>
          <a:ea typeface="+mj-ea"/>
          <a:cs typeface="+mj-cs"/>
        </a:defRPr>
      </a:lvl1pPr>
    </p:titleStyle>
    <p:bodyStyle>
      <a:lvl1pPr marL="0" indent="0" algn="l" defTabSz="882171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None/>
        <a:defRPr sz="1600" b="0" i="0" kern="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531271" indent="-228594" algn="l" defTabSz="882171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4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2pPr>
      <a:lvl3pPr marL="840296" indent="-232828" algn="l" defTabSz="882171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12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3pPr>
      <a:lvl4pPr marL="1142971" indent="-226478" algn="l" defTabSz="882171" rtl="0" eaLnBrk="1" latinLnBrk="0" hangingPunct="1">
        <a:lnSpc>
          <a:spcPct val="120000"/>
        </a:lnSpc>
        <a:spcBef>
          <a:spcPts val="0"/>
        </a:spcBef>
        <a:spcAft>
          <a:spcPts val="800"/>
        </a:spcAft>
        <a:buFont typeface="Arial" panose="020B0604020202020204" pitchFamily="34" charset="0"/>
        <a:buChar char="•"/>
        <a:defRPr sz="800" b="0" i="0" kern="0" spc="0" baseline="0">
          <a:solidFill>
            <a:schemeClr val="tx1"/>
          </a:solidFill>
          <a:latin typeface="CiscoSansTT" panose="020B0503020201020303" pitchFamily="34" charset="0"/>
          <a:ea typeface="+mn-ea"/>
          <a:cs typeface="CiscoSansTT" panose="020B0503020201020303" pitchFamily="34" charset="0"/>
        </a:defRPr>
      </a:lvl4pPr>
      <a:lvl5pPr marL="1295368" marR="0" indent="-228594" algn="l" defTabSz="882171" rtl="0" eaLnBrk="1" fontAlgn="auto" latinLnBrk="0" hangingPunct="1">
        <a:lnSpc>
          <a:spcPct val="150000"/>
        </a:lnSpc>
        <a:spcBef>
          <a:spcPts val="0"/>
        </a:spcBef>
        <a:spcAft>
          <a:spcPts val="800"/>
        </a:spcAft>
        <a:buClrTx/>
        <a:buSzTx/>
        <a:buFont typeface="Arial" panose="020B0604020202020204" pitchFamily="34" charset="0"/>
        <a:buChar char="•"/>
        <a:tabLst/>
        <a:defRPr sz="700" b="0" i="0" kern="1200" spc="0" baseline="0">
          <a:solidFill>
            <a:schemeClr val="tx1"/>
          </a:solidFill>
          <a:latin typeface="CiscoSansTT Light" panose="020B0503020201020303" pitchFamily="34" charset="0"/>
          <a:ea typeface="+mn-ea"/>
          <a:cs typeface="+mn-cs"/>
        </a:defRPr>
      </a:lvl5pPr>
      <a:lvl6pPr marL="242597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867060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308145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74923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21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1pPr>
      <a:lvl2pPr marL="441088" algn="l" defTabSz="8821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2pPr>
      <a:lvl3pPr marL="882171" algn="l" defTabSz="8821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3pPr>
      <a:lvl4pPr marL="1323259" algn="l" defTabSz="8821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4pPr>
      <a:lvl5pPr marL="1764344" algn="l" defTabSz="8821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2205432" algn="l" defTabSz="8821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6pPr>
      <a:lvl7pPr marL="2646515" algn="l" defTabSz="8821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7pPr>
      <a:lvl8pPr marL="3087603" algn="l" defTabSz="8821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8pPr>
      <a:lvl9pPr marL="3528689" algn="l" defTabSz="882171" rtl="0" eaLnBrk="1" latinLnBrk="0" hangingPunct="1">
        <a:defRPr sz="17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7328">
          <p15:clr>
            <a:srgbClr val="F26B43"/>
          </p15:clr>
        </p15:guide>
        <p15:guide id="3" pos="352">
          <p15:clr>
            <a:srgbClr val="F26B43"/>
          </p15:clr>
        </p15:guide>
        <p15:guide id="4" orient="horz" pos="2160">
          <p15:clr>
            <a:srgbClr val="F26B43"/>
          </p15:clr>
        </p15:guide>
        <p15:guide id="5" orient="horz" pos="4080">
          <p15:clr>
            <a:srgbClr val="F26B43"/>
          </p15:clr>
        </p15:guide>
        <p15:guide id="6" orient="horz" pos="240">
          <p15:clr>
            <a:srgbClr val="F26B43"/>
          </p15:clr>
        </p15:guide>
        <p15:guide id="8" pos="3744">
          <p15:clr>
            <a:srgbClr val="F26B43"/>
          </p15:clr>
        </p15:guide>
        <p15:guide id="9" pos="3936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0A0A0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5"/>
          <p:cNvSpPr>
            <a:spLocks noGrp="1"/>
          </p:cNvSpPr>
          <p:nvPr>
            <p:ph type="title"/>
          </p:nvPr>
        </p:nvSpPr>
        <p:spPr bwMode="auto">
          <a:xfrm>
            <a:off x="583688" y="455086"/>
            <a:ext cx="11127317" cy="97578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 vert="horz" wrap="square" lIns="91440" tIns="45712" rIns="91424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Title Goes Her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FB5208EA-DF77-5A47-88E8-3476828C1D2B}"/>
              </a:ext>
            </a:extLst>
          </p:cNvPr>
          <p:cNvSpPr>
            <a:spLocks noChangeArrowheads="1"/>
          </p:cNvSpPr>
          <p:nvPr/>
        </p:nvSpPr>
        <p:spPr bwMode="ltGray">
          <a:xfrm>
            <a:off x="786132" y="6453824"/>
            <a:ext cx="5610304" cy="206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82115" tIns="41056" rIns="82115" bIns="41056" anchor="ctr">
            <a:spAutoFit/>
          </a:bodyPr>
          <a:lstStyle/>
          <a:p>
            <a:pPr algn="l" defTabSz="814285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00" spc="0" baseline="0">
                <a:solidFill>
                  <a:schemeClr val="tx1"/>
                </a:solidFill>
                <a:latin typeface="+mn-lt"/>
                <a:ea typeface="+mn-ea"/>
                <a:cs typeface="CiscoSans Thin"/>
              </a:rPr>
              <a:t>|        © 2021  Cisco and/or its affiliates. All rights reserved. Cisco Confidentia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D86987C-7B35-AA4E-B27F-43E9CC96669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94944" y="6376758"/>
            <a:ext cx="543689" cy="36618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800">
                <a:solidFill>
                  <a:schemeClr val="bg2">
                    <a:lumMod val="75000"/>
                  </a:schemeClr>
                </a:solidFill>
                <a:latin typeface="+mj-lt"/>
              </a:defRPr>
            </a:lvl1pPr>
          </a:lstStyle>
          <a:p>
            <a:pPr algn="l"/>
            <a:fld id="{07AB022D-6AB5-0742-A695-7213B7438632}" type="slidenum">
              <a:rPr lang="en-US" smtClean="0"/>
              <a:pPr algn="l"/>
              <a:t>‹#›</a:t>
            </a:fld>
            <a:endParaRPr lang="en-US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FFCA6AB-3BDF-7E49-8404-01D8EFD13814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10425459" y="6448094"/>
            <a:ext cx="1371600" cy="1691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3455853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  <p:sldLayoutId id="2147483984" r:id="rId9"/>
    <p:sldLayoutId id="2147483985" r:id="rId10"/>
    <p:sldLayoutId id="2147483986" r:id="rId11"/>
    <p:sldLayoutId id="2147483987" r:id="rId12"/>
    <p:sldLayoutId id="2147483988" r:id="rId13"/>
    <p:sldLayoutId id="2147483989" r:id="rId14"/>
    <p:sldLayoutId id="2147483990" r:id="rId15"/>
    <p:sldLayoutId id="2147483991" r:id="rId16"/>
    <p:sldLayoutId id="2147483992" r:id="rId17"/>
    <p:sldLayoutId id="2147483993" r:id="rId18"/>
    <p:sldLayoutId id="2147483994" r:id="rId19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hdr="0" dt="0"/>
  <p:txStyles>
    <p:titleStyle>
      <a:lvl1pPr algn="l" defTabSz="9122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lang="en-US" sz="3700" b="0" i="0" kern="1200" dirty="0">
          <a:solidFill>
            <a:schemeClr val="tx1"/>
          </a:solidFill>
          <a:latin typeface="+mj-lt"/>
          <a:ea typeface="CiscoSansTT Thin" charset="0"/>
          <a:cs typeface="CiscoSansTT Thin" charset="0"/>
        </a:defRPr>
      </a:lvl1pPr>
      <a:lvl2pPr algn="l" defTabSz="9122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2pPr>
      <a:lvl3pPr algn="l" defTabSz="9122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3pPr>
      <a:lvl4pPr algn="l" defTabSz="9122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4pPr>
      <a:lvl5pPr algn="l" defTabSz="9122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5pPr>
      <a:lvl6pPr marL="609570" algn="l" defTabSz="9122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6pPr>
      <a:lvl7pPr marL="1219140" algn="l" defTabSz="9122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7pPr>
      <a:lvl8pPr marL="1828709" algn="l" defTabSz="9122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8pPr>
      <a:lvl9pPr marL="2438278" algn="l" defTabSz="912239" rtl="0" eaLnBrk="1" fontAlgn="base" hangingPunct="1">
        <a:lnSpc>
          <a:spcPct val="80000"/>
        </a:lnSpc>
        <a:spcBef>
          <a:spcPct val="0"/>
        </a:spcBef>
        <a:spcAft>
          <a:spcPct val="0"/>
        </a:spcAft>
        <a:defRPr sz="4300">
          <a:solidFill>
            <a:srgbClr val="676767"/>
          </a:solidFill>
          <a:latin typeface="Arial" charset="0"/>
          <a:ea typeface="ＭＳ Ｐゴシック" charset="0"/>
        </a:defRPr>
      </a:lvl9pPr>
    </p:titleStyle>
    <p:bodyStyle>
      <a:lvl1pPr marL="226473" indent="-226473" algn="l" defTabSz="912239" rtl="0" eaLnBrk="1" fontAlgn="base" hangingPunct="1">
        <a:lnSpc>
          <a:spcPct val="95000"/>
        </a:lnSpc>
        <a:spcBef>
          <a:spcPts val="1433"/>
        </a:spcBef>
        <a:spcAft>
          <a:spcPct val="0"/>
        </a:spcAft>
        <a:buClr>
          <a:schemeClr val="tx2"/>
        </a:buClr>
        <a:buSzPct val="90000"/>
        <a:buFont typeface="Arial" charset="0"/>
        <a:buChar char="•"/>
        <a:defRPr lang="en-US" sz="20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1pPr>
      <a:lvl2pPr marL="478343" indent="-287851" algn="l" defTabSz="912239" rtl="0" eaLnBrk="1" fontAlgn="base" hangingPunct="1">
        <a:lnSpc>
          <a:spcPct val="95000"/>
        </a:lnSpc>
        <a:spcBef>
          <a:spcPts val="800"/>
        </a:spcBef>
        <a:spcAft>
          <a:spcPct val="0"/>
        </a:spcAft>
        <a:buClr>
          <a:schemeClr val="tx2"/>
        </a:buClr>
        <a:buFont typeface="Arial" charset="0"/>
        <a:buChar char="•"/>
        <a:defRPr lang="en-US" sz="19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2pPr>
      <a:lvl3pPr marL="575704" indent="-226473" algn="l" defTabSz="912239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6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3pPr>
      <a:lvl4pPr marL="670950" indent="-226473" algn="l" defTabSz="912239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4pPr>
      <a:lvl5pPr marL="766196" indent="-226473" algn="l" defTabSz="912239" rtl="0" eaLnBrk="1" fontAlgn="base" hangingPunct="1">
        <a:lnSpc>
          <a:spcPct val="95000"/>
        </a:lnSpc>
        <a:spcBef>
          <a:spcPts val="833"/>
        </a:spcBef>
        <a:spcAft>
          <a:spcPct val="0"/>
        </a:spcAft>
        <a:buFont typeface="Arial" charset="0"/>
        <a:buChar char="•"/>
        <a:defRPr lang="en-US" sz="1500" kern="1200" dirty="0">
          <a:solidFill>
            <a:schemeClr val="tx1"/>
          </a:solidFill>
          <a:latin typeface="+mn-lt"/>
          <a:ea typeface="ＭＳ Ｐゴシック" charset="0"/>
          <a:cs typeface="CiscoSans"/>
        </a:defRPr>
      </a:lvl5pPr>
      <a:lvl6pPr marL="1151750" indent="-228582" algn="l" defTabSz="914324" rtl="0" eaLnBrk="1" latinLnBrk="0" hangingPunct="1">
        <a:spcBef>
          <a:spcPts val="800"/>
        </a:spcBef>
        <a:buFont typeface="Arial" pitchFamily="34" charset="0"/>
        <a:buChar char="•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1247730" indent="-228552" algn="l" defTabSz="914324" rtl="0" eaLnBrk="1" latinLnBrk="0" hangingPunct="1">
        <a:spcBef>
          <a:spcPts val="800"/>
        </a:spcBef>
        <a:buFont typeface="Arial" pitchFamily="34" charset="0"/>
        <a:buChar char="•"/>
        <a:defRPr sz="1100" kern="1200" baseline="0">
          <a:solidFill>
            <a:schemeClr val="tx1"/>
          </a:solidFill>
          <a:latin typeface="+mn-lt"/>
          <a:ea typeface="+mn-ea"/>
          <a:cs typeface="+mn-cs"/>
        </a:defRPr>
      </a:lvl7pPr>
      <a:lvl8pPr marL="3200133" indent="0" algn="l" defTabSz="914324" rtl="0" eaLnBrk="1" latinLnBrk="0" hangingPunct="1">
        <a:spcBef>
          <a:spcPct val="20000"/>
        </a:spcBef>
        <a:buFont typeface="Arial" pitchFamily="34" charset="0"/>
        <a:buNone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878" indent="-228582" algn="l" defTabSz="914324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2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9" algn="l" defTabSz="91432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24" algn="l" defTabSz="91432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84" algn="l" defTabSz="91432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49" algn="l" defTabSz="91432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07" algn="l" defTabSz="91432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73" algn="l" defTabSz="91432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33" algn="l" defTabSz="91432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98" algn="l" defTabSz="91432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892">
          <p15:clr>
            <a:srgbClr val="F26B43"/>
          </p15:clr>
        </p15:guide>
        <p15:guide id="2" pos="336">
          <p15:clr>
            <a:srgbClr val="F26B43"/>
          </p15:clr>
        </p15:guide>
        <p15:guide id="3" pos="5448">
          <p15:clr>
            <a:srgbClr val="F26B43"/>
          </p15:clr>
        </p15:guide>
        <p15:guide id="4" orient="horz" pos="757">
          <p15:clr>
            <a:srgbClr val="F26B43"/>
          </p15:clr>
        </p15:guide>
        <p15:guide id="5" orient="horz" pos="335">
          <p15:clr>
            <a:srgbClr val="F26B43"/>
          </p15:clr>
        </p15:guide>
        <p15:guide id="6" pos="2876">
          <p15:clr>
            <a:srgbClr val="F26B43"/>
          </p15:clr>
        </p15:guide>
        <p15:guide id="7" orient="horz" pos="104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7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47EC9D-596C-4E44-B83E-18AAA49AA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1"/>
            <a:ext cx="11049000" cy="1285169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E00F6-F701-4424-BC1C-C234A2D50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2057400"/>
            <a:ext cx="11049000" cy="41529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733559E-7ED2-43CE-955D-B8AD83F21F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972800" y="6401750"/>
            <a:ext cx="633984" cy="123111"/>
          </a:xfrm>
          <a:prstGeom prst="rect">
            <a:avLst/>
          </a:prstGeom>
        </p:spPr>
        <p:txBody>
          <a:bodyPr vert="horz" lIns="0" tIns="0" rIns="0" bIns="0" rtlCol="0" anchor="t" anchorCtr="0">
            <a:spAutoFit/>
          </a:bodyPr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36F82149-F45F-43B8-A3A4-A806FF41D823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99" name="Graphic 98">
            <a:extLst>
              <a:ext uri="{FF2B5EF4-FFF2-40B4-BE49-F238E27FC236}">
                <a16:creationId xmlns:a16="http://schemas.microsoft.com/office/drawing/2014/main" id="{CC91285F-2BD9-4301-86D5-B8F24697FA1F}"/>
              </a:ext>
            </a:extLst>
          </p:cNvPr>
          <p:cNvPicPr>
            <a:picLocks noChangeAspect="1"/>
          </p:cNvPicPr>
          <p:nvPr/>
        </p:nvPicPr>
        <p:blipFill>
          <a:blip r:embed="rId71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516809" y="6364638"/>
            <a:ext cx="503671" cy="2211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0069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6" r:id="rId1"/>
    <p:sldLayoutId id="2147483997" r:id="rId2"/>
    <p:sldLayoutId id="2147483998" r:id="rId3"/>
    <p:sldLayoutId id="2147483999" r:id="rId4"/>
    <p:sldLayoutId id="2147484000" r:id="rId5"/>
    <p:sldLayoutId id="2147484001" r:id="rId6"/>
    <p:sldLayoutId id="2147484002" r:id="rId7"/>
    <p:sldLayoutId id="2147484003" r:id="rId8"/>
    <p:sldLayoutId id="2147484004" r:id="rId9"/>
    <p:sldLayoutId id="2147484005" r:id="rId10"/>
    <p:sldLayoutId id="2147484006" r:id="rId11"/>
    <p:sldLayoutId id="2147484007" r:id="rId12"/>
    <p:sldLayoutId id="2147484008" r:id="rId13"/>
    <p:sldLayoutId id="2147484009" r:id="rId14"/>
    <p:sldLayoutId id="2147484010" r:id="rId15"/>
    <p:sldLayoutId id="2147484011" r:id="rId16"/>
    <p:sldLayoutId id="2147484012" r:id="rId17"/>
    <p:sldLayoutId id="2147484013" r:id="rId18"/>
    <p:sldLayoutId id="2147484014" r:id="rId19"/>
    <p:sldLayoutId id="2147484015" r:id="rId20"/>
    <p:sldLayoutId id="2147484016" r:id="rId21"/>
    <p:sldLayoutId id="2147484017" r:id="rId22"/>
    <p:sldLayoutId id="2147484018" r:id="rId23"/>
    <p:sldLayoutId id="2147484019" r:id="rId24"/>
    <p:sldLayoutId id="2147484020" r:id="rId25"/>
    <p:sldLayoutId id="2147484021" r:id="rId26"/>
    <p:sldLayoutId id="2147484022" r:id="rId27"/>
    <p:sldLayoutId id="2147484023" r:id="rId28"/>
    <p:sldLayoutId id="2147484024" r:id="rId29"/>
    <p:sldLayoutId id="2147484025" r:id="rId30"/>
    <p:sldLayoutId id="2147484026" r:id="rId31"/>
    <p:sldLayoutId id="2147484027" r:id="rId32"/>
    <p:sldLayoutId id="2147484028" r:id="rId33"/>
    <p:sldLayoutId id="2147484029" r:id="rId34"/>
    <p:sldLayoutId id="2147484030" r:id="rId35"/>
    <p:sldLayoutId id="2147484031" r:id="rId36"/>
    <p:sldLayoutId id="2147484032" r:id="rId37"/>
    <p:sldLayoutId id="2147484033" r:id="rId38"/>
    <p:sldLayoutId id="2147484034" r:id="rId39"/>
    <p:sldLayoutId id="2147484035" r:id="rId40"/>
    <p:sldLayoutId id="2147484036" r:id="rId41"/>
    <p:sldLayoutId id="2147484037" r:id="rId42"/>
    <p:sldLayoutId id="2147484038" r:id="rId43"/>
    <p:sldLayoutId id="2147484039" r:id="rId44"/>
    <p:sldLayoutId id="2147484040" r:id="rId45"/>
    <p:sldLayoutId id="2147484041" r:id="rId46"/>
    <p:sldLayoutId id="2147484042" r:id="rId47"/>
    <p:sldLayoutId id="2147484043" r:id="rId48"/>
    <p:sldLayoutId id="2147484044" r:id="rId49"/>
    <p:sldLayoutId id="2147484045" r:id="rId50"/>
    <p:sldLayoutId id="2147484046" r:id="rId51"/>
    <p:sldLayoutId id="2147484047" r:id="rId52"/>
    <p:sldLayoutId id="2147484048" r:id="rId53"/>
    <p:sldLayoutId id="2147484049" r:id="rId54"/>
    <p:sldLayoutId id="2147484050" r:id="rId55"/>
    <p:sldLayoutId id="2147484051" r:id="rId56"/>
    <p:sldLayoutId id="2147484052" r:id="rId57"/>
    <p:sldLayoutId id="2147484053" r:id="rId58"/>
    <p:sldLayoutId id="2147484054" r:id="rId59"/>
    <p:sldLayoutId id="2147484055" r:id="rId60"/>
    <p:sldLayoutId id="2147484056" r:id="rId61"/>
    <p:sldLayoutId id="2147484057" r:id="rId62"/>
    <p:sldLayoutId id="2147484058" r:id="rId63"/>
    <p:sldLayoutId id="2147484059" r:id="rId64"/>
    <p:sldLayoutId id="2147484060" r:id="rId65"/>
    <p:sldLayoutId id="2147484061" r:id="rId66"/>
    <p:sldLayoutId id="2147484062" r:id="rId67"/>
    <p:sldLayoutId id="2147484063" r:id="rId68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sldNum="0" hdr="0" dt="0"/>
  <p:txStyles>
    <p:titleStyle>
      <a:lvl1pPr algn="l" defTabSz="882149" rtl="0" eaLnBrk="1" latinLnBrk="0" hangingPunct="1">
        <a:lnSpc>
          <a:spcPct val="90000"/>
        </a:lnSpc>
        <a:spcBef>
          <a:spcPct val="0"/>
        </a:spcBef>
        <a:buNone/>
        <a:defRPr lang="en-US" sz="3600" b="0" i="0" kern="100" spc="-133" baseline="0" dirty="0">
          <a:solidFill>
            <a:schemeClr val="tx1"/>
          </a:solidFill>
          <a:latin typeface="CiscoSansTT" panose="020B0503020201020303" pitchFamily="34" charset="0"/>
          <a:ea typeface="+mj-ea"/>
          <a:cs typeface="+mj-cs"/>
        </a:defRPr>
      </a:lvl1pPr>
    </p:titleStyle>
    <p:bodyStyle>
      <a:lvl1pPr marL="0" indent="0" algn="l" defTabSz="882149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600" b="0" i="0" kern="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228594" indent="-228594" algn="l" defTabSz="882149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2pPr>
      <a:lvl3pPr marL="406390" indent="-177796" algn="l" defTabSz="882149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2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3pPr>
      <a:lvl4pPr marL="571486" indent="-165096" algn="l" defTabSz="882149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8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4pPr>
      <a:lvl5pPr marL="746107" marR="0" indent="-174621" algn="l" defTabSz="882149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Tx/>
        <a:buSzTx/>
        <a:buFont typeface="Arial" panose="020B0604020202020204" pitchFamily="34" charset="0"/>
        <a:buChar char="•"/>
        <a:tabLst/>
        <a:defRPr sz="6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425913" indent="-220537" algn="l" defTabSz="882149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866988" indent="-220537" algn="l" defTabSz="882149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308063" indent="-220537" algn="l" defTabSz="882149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749140" indent="-220537" algn="l" defTabSz="882149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1pPr>
      <a:lvl2pPr marL="441077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2pPr>
      <a:lvl3pPr marL="882149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3pPr>
      <a:lvl4pPr marL="1323226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4pPr>
      <a:lvl5pPr marL="1764300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5pPr>
      <a:lvl6pPr marL="2205377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646449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087525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528601" algn="l" defTabSz="882149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5ACBF0"/>
          </p15:clr>
        </p15:guide>
        <p15:guide id="2" pos="7320">
          <p15:clr>
            <a:srgbClr val="F26B43"/>
          </p15:clr>
        </p15:guide>
        <p15:guide id="3" pos="360">
          <p15:clr>
            <a:srgbClr val="F26B43"/>
          </p15:clr>
        </p15:guide>
        <p15:guide id="4" orient="horz" pos="2160">
          <p15:clr>
            <a:srgbClr val="5ACBF0"/>
          </p15:clr>
        </p15:guide>
        <p15:guide id="5" orient="horz" pos="4104">
          <p15:clr>
            <a:srgbClr val="F26B43"/>
          </p15:clr>
        </p15:guide>
        <p15:guide id="8" pos="3744">
          <p15:clr>
            <a:srgbClr val="A4A3A4"/>
          </p15:clr>
        </p15:guide>
        <p15:guide id="9" pos="768">
          <p15:clr>
            <a:srgbClr val="A4A3A4"/>
          </p15:clr>
        </p15:guide>
        <p15:guide id="10" pos="192">
          <p15:clr>
            <a:srgbClr val="A4A3A4"/>
          </p15:clr>
        </p15:guide>
        <p15:guide id="11" pos="7488">
          <p15:clr>
            <a:srgbClr val="A4A3A4"/>
          </p15:clr>
        </p15:guide>
        <p15:guide id="16" orient="horz" pos="2064">
          <p15:clr>
            <a:srgbClr val="F26B43"/>
          </p15:clr>
        </p15:guide>
        <p15:guide id="17" pos="3936">
          <p15:clr>
            <a:srgbClr val="A4A3A4"/>
          </p15:clr>
        </p15:guide>
        <p15:guide id="18" pos="960">
          <p15:clr>
            <a:srgbClr val="A4A3A4"/>
          </p15:clr>
        </p15:guide>
        <p15:guide id="19" pos="1368">
          <p15:clr>
            <a:srgbClr val="A4A3A4"/>
          </p15:clr>
        </p15:guide>
        <p15:guide id="20" pos="1560">
          <p15:clr>
            <a:srgbClr val="A4A3A4"/>
          </p15:clr>
        </p15:guide>
        <p15:guide id="21" pos="1968">
          <p15:clr>
            <a:srgbClr val="A4A3A4"/>
          </p15:clr>
        </p15:guide>
        <p15:guide id="22" pos="2160">
          <p15:clr>
            <a:srgbClr val="A4A3A4"/>
          </p15:clr>
        </p15:guide>
        <p15:guide id="23" pos="2760">
          <p15:clr>
            <a:srgbClr val="A4A3A4"/>
          </p15:clr>
        </p15:guide>
        <p15:guide id="24" pos="3144">
          <p15:clr>
            <a:srgbClr val="A4A3A4"/>
          </p15:clr>
        </p15:guide>
        <p15:guide id="25" pos="2568">
          <p15:clr>
            <a:srgbClr val="A4A3A4"/>
          </p15:clr>
        </p15:guide>
        <p15:guide id="26" pos="3336">
          <p15:clr>
            <a:srgbClr val="A4A3A4"/>
          </p15:clr>
        </p15:guide>
        <p15:guide id="27" pos="4344">
          <p15:clr>
            <a:srgbClr val="A4A3A4"/>
          </p15:clr>
        </p15:guide>
        <p15:guide id="28" pos="5136">
          <p15:clr>
            <a:srgbClr val="A4A3A4"/>
          </p15:clr>
        </p15:guide>
        <p15:guide id="29" pos="4944">
          <p15:clr>
            <a:srgbClr val="A4A3A4"/>
          </p15:clr>
        </p15:guide>
        <p15:guide id="30" pos="4536">
          <p15:clr>
            <a:srgbClr val="A4A3A4"/>
          </p15:clr>
        </p15:guide>
        <p15:guide id="31" pos="6120">
          <p15:clr>
            <a:srgbClr val="A4A3A4"/>
          </p15:clr>
        </p15:guide>
        <p15:guide id="32" pos="5712">
          <p15:clr>
            <a:srgbClr val="A4A3A4"/>
          </p15:clr>
        </p15:guide>
        <p15:guide id="33" pos="5520">
          <p15:clr>
            <a:srgbClr val="A4A3A4"/>
          </p15:clr>
        </p15:guide>
        <p15:guide id="34" pos="6720">
          <p15:clr>
            <a:srgbClr val="A4A3A4"/>
          </p15:clr>
        </p15:guide>
        <p15:guide id="35" pos="6312">
          <p15:clr>
            <a:srgbClr val="A4A3A4"/>
          </p15:clr>
        </p15:guide>
        <p15:guide id="36" pos="6912">
          <p15:clr>
            <a:srgbClr val="A4A3A4"/>
          </p15:clr>
        </p15:guide>
        <p15:guide id="37" orient="horz" pos="2260">
          <p15:clr>
            <a:srgbClr val="F26B43"/>
          </p15:clr>
        </p15:guide>
        <p15:guide id="48" orient="horz" pos="3912">
          <p15:clr>
            <a:srgbClr val="F26B43"/>
          </p15:clr>
        </p15:guide>
        <p15:guide id="55" orient="horz" pos="192">
          <p15:clr>
            <a:srgbClr val="F26B43"/>
          </p15:clr>
        </p15:guide>
        <p15:guide id="57" orient="horz" pos="384">
          <p15:clr>
            <a:srgbClr val="5ACBF0"/>
          </p15:clr>
        </p15:guide>
        <p15:guide id="58" orient="horz" pos="288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47EC9D-596C-4E44-B83E-18AAA49AA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0287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E00F6-F701-4424-BC1C-C234A2D50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1905000"/>
            <a:ext cx="110490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9" name="Graphic 98">
            <a:extLst>
              <a:ext uri="{FF2B5EF4-FFF2-40B4-BE49-F238E27FC236}">
                <a16:creationId xmlns:a16="http://schemas.microsoft.com/office/drawing/2014/main" id="{CC91285F-2BD9-4301-86D5-B8F24697FA1F}"/>
              </a:ext>
            </a:extLst>
          </p:cNvPr>
          <p:cNvPicPr>
            <a:picLocks noChangeAspect="1"/>
          </p:cNvPicPr>
          <p:nvPr/>
        </p:nvPicPr>
        <p:blipFill>
          <a:blip r:embed="rId56">
            <a:extLst>
              <a:ext uri="{96DAC541-7B7A-43D3-8B79-37D633B846F1}">
                <asvg:svgBlip xmlns:asvg="http://schemas.microsoft.com/office/drawing/2016/SVG/main" r:embed="rId57"/>
              </a:ext>
            </a:extLst>
          </a:blip>
          <a:stretch>
            <a:fillRect/>
          </a:stretch>
        </p:blipFill>
        <p:spPr>
          <a:xfrm>
            <a:off x="516807" y="6364637"/>
            <a:ext cx="503671" cy="221124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50EDDB-BE28-44D4-9435-5B2F3C7B1FB0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84475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6" r:id="rId1"/>
    <p:sldLayoutId id="2147484067" r:id="rId2"/>
    <p:sldLayoutId id="2147484068" r:id="rId3"/>
    <p:sldLayoutId id="2147484069" r:id="rId4"/>
    <p:sldLayoutId id="2147484070" r:id="rId5"/>
    <p:sldLayoutId id="2147484071" r:id="rId6"/>
    <p:sldLayoutId id="2147484072" r:id="rId7"/>
    <p:sldLayoutId id="2147484073" r:id="rId8"/>
    <p:sldLayoutId id="2147484074" r:id="rId9"/>
    <p:sldLayoutId id="2147484075" r:id="rId10"/>
    <p:sldLayoutId id="2147484076" r:id="rId11"/>
    <p:sldLayoutId id="2147484077" r:id="rId12"/>
    <p:sldLayoutId id="2147484078" r:id="rId13"/>
    <p:sldLayoutId id="2147484079" r:id="rId14"/>
    <p:sldLayoutId id="2147484080" r:id="rId15"/>
    <p:sldLayoutId id="2147484081" r:id="rId16"/>
    <p:sldLayoutId id="2147484082" r:id="rId17"/>
    <p:sldLayoutId id="2147484083" r:id="rId18"/>
    <p:sldLayoutId id="2147484084" r:id="rId19"/>
    <p:sldLayoutId id="2147484085" r:id="rId20"/>
    <p:sldLayoutId id="2147484086" r:id="rId21"/>
    <p:sldLayoutId id="2147484087" r:id="rId22"/>
    <p:sldLayoutId id="2147484088" r:id="rId23"/>
    <p:sldLayoutId id="2147484089" r:id="rId24"/>
    <p:sldLayoutId id="2147484090" r:id="rId25"/>
    <p:sldLayoutId id="2147484091" r:id="rId26"/>
    <p:sldLayoutId id="2147484092" r:id="rId27"/>
    <p:sldLayoutId id="2147484093" r:id="rId28"/>
    <p:sldLayoutId id="2147484094" r:id="rId29"/>
    <p:sldLayoutId id="2147484095" r:id="rId30"/>
    <p:sldLayoutId id="2147484096" r:id="rId31"/>
    <p:sldLayoutId id="2147484097" r:id="rId32"/>
    <p:sldLayoutId id="2147484098" r:id="rId33"/>
    <p:sldLayoutId id="2147484099" r:id="rId34"/>
    <p:sldLayoutId id="2147484100" r:id="rId35"/>
    <p:sldLayoutId id="2147484101" r:id="rId36"/>
    <p:sldLayoutId id="2147484102" r:id="rId37"/>
    <p:sldLayoutId id="2147484103" r:id="rId38"/>
    <p:sldLayoutId id="2147484104" r:id="rId39"/>
    <p:sldLayoutId id="2147484105" r:id="rId40"/>
    <p:sldLayoutId id="2147484106" r:id="rId41"/>
    <p:sldLayoutId id="2147484107" r:id="rId42"/>
    <p:sldLayoutId id="2147484108" r:id="rId43"/>
    <p:sldLayoutId id="2147484109" r:id="rId44"/>
    <p:sldLayoutId id="2147484110" r:id="rId45"/>
    <p:sldLayoutId id="2147484111" r:id="rId46"/>
    <p:sldLayoutId id="2147484112" r:id="rId47"/>
    <p:sldLayoutId id="2147484113" r:id="rId48"/>
    <p:sldLayoutId id="2147484114" r:id="rId49"/>
    <p:sldLayoutId id="2147484115" r:id="rId50"/>
    <p:sldLayoutId id="2147484116" r:id="rId51"/>
    <p:sldLayoutId id="2147484117" r:id="rId52"/>
    <p:sldLayoutId id="2147484118" r:id="rId53"/>
    <p:sldLayoutId id="2147484119" r:id="rId54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hdr="0" ftr="0" dt="0"/>
  <p:txStyles>
    <p:titleStyle>
      <a:lvl1pPr algn="l" defTabSz="882171" rtl="0" eaLnBrk="1" latinLnBrk="0" hangingPunct="1">
        <a:lnSpc>
          <a:spcPct val="90000"/>
        </a:lnSpc>
        <a:spcBef>
          <a:spcPct val="0"/>
        </a:spcBef>
        <a:buNone/>
        <a:defRPr lang="en-US" sz="4000" b="0" i="0" kern="100" spc="-133" baseline="0" dirty="0">
          <a:solidFill>
            <a:schemeClr val="tx1"/>
          </a:solidFill>
          <a:latin typeface="CiscoSansTT" panose="020B0503020201020303" pitchFamily="34" charset="0"/>
          <a:ea typeface="+mj-ea"/>
          <a:cs typeface="+mj-cs"/>
        </a:defRPr>
      </a:lvl1pPr>
    </p:titleStyle>
    <p:bodyStyle>
      <a:lvl1pPr marL="0" indent="0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600" b="0" i="0" kern="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2pPr>
      <a:lvl3pPr marL="342900" indent="-168275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2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3pPr>
      <a:lvl4pPr marL="512763" indent="-169863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0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4pPr>
      <a:lvl5pPr marL="571500" marR="0" indent="-114300" algn="l" defTabSz="882171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Tx/>
        <a:buSzTx/>
        <a:buFont typeface="Arial" panose="020B0604020202020204" pitchFamily="34" charset="0"/>
        <a:buChar char="•"/>
        <a:tabLst/>
        <a:defRPr sz="5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42597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867060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308145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74923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1pPr>
      <a:lvl2pPr marL="441088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2pPr>
      <a:lvl3pPr marL="882171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3pPr>
      <a:lvl4pPr marL="132325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4pPr>
      <a:lvl5pPr marL="1764344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5pPr>
      <a:lvl6pPr marL="2205432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646515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087603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52868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5ACBF0"/>
          </p15:clr>
        </p15:guide>
        <p15:guide id="2" pos="7320">
          <p15:clr>
            <a:srgbClr val="F26B43"/>
          </p15:clr>
        </p15:guide>
        <p15:guide id="3" pos="360">
          <p15:clr>
            <a:srgbClr val="F26B43"/>
          </p15:clr>
        </p15:guide>
        <p15:guide id="4" orient="horz" pos="2160">
          <p15:clr>
            <a:srgbClr val="5ACBF0"/>
          </p15:clr>
        </p15:guide>
        <p15:guide id="5" orient="horz" pos="4104">
          <p15:clr>
            <a:srgbClr val="F26B43"/>
          </p15:clr>
        </p15:guide>
        <p15:guide id="8" pos="3744">
          <p15:clr>
            <a:srgbClr val="A4A3A4"/>
          </p15:clr>
        </p15:guide>
        <p15:guide id="9" pos="768">
          <p15:clr>
            <a:srgbClr val="A4A3A4"/>
          </p15:clr>
        </p15:guide>
        <p15:guide id="10" pos="192">
          <p15:clr>
            <a:srgbClr val="A4A3A4"/>
          </p15:clr>
        </p15:guide>
        <p15:guide id="11" pos="7488">
          <p15:clr>
            <a:srgbClr val="A4A3A4"/>
          </p15:clr>
        </p15:guide>
        <p15:guide id="16" orient="horz" pos="2064">
          <p15:clr>
            <a:srgbClr val="F26B43"/>
          </p15:clr>
        </p15:guide>
        <p15:guide id="17" pos="3936">
          <p15:clr>
            <a:srgbClr val="A4A3A4"/>
          </p15:clr>
        </p15:guide>
        <p15:guide id="18" pos="960">
          <p15:clr>
            <a:srgbClr val="A4A3A4"/>
          </p15:clr>
        </p15:guide>
        <p15:guide id="19" pos="1368">
          <p15:clr>
            <a:srgbClr val="A4A3A4"/>
          </p15:clr>
        </p15:guide>
        <p15:guide id="20" pos="1560">
          <p15:clr>
            <a:srgbClr val="A4A3A4"/>
          </p15:clr>
        </p15:guide>
        <p15:guide id="21" pos="1968">
          <p15:clr>
            <a:srgbClr val="A4A3A4"/>
          </p15:clr>
        </p15:guide>
        <p15:guide id="22" pos="2160">
          <p15:clr>
            <a:srgbClr val="A4A3A4"/>
          </p15:clr>
        </p15:guide>
        <p15:guide id="23" pos="2760">
          <p15:clr>
            <a:srgbClr val="A4A3A4"/>
          </p15:clr>
        </p15:guide>
        <p15:guide id="24" pos="3144">
          <p15:clr>
            <a:srgbClr val="A4A3A4"/>
          </p15:clr>
        </p15:guide>
        <p15:guide id="25" pos="2568">
          <p15:clr>
            <a:srgbClr val="A4A3A4"/>
          </p15:clr>
        </p15:guide>
        <p15:guide id="26" pos="3336">
          <p15:clr>
            <a:srgbClr val="A4A3A4"/>
          </p15:clr>
        </p15:guide>
        <p15:guide id="27" pos="4344">
          <p15:clr>
            <a:srgbClr val="A4A3A4"/>
          </p15:clr>
        </p15:guide>
        <p15:guide id="28" pos="5136">
          <p15:clr>
            <a:srgbClr val="A4A3A4"/>
          </p15:clr>
        </p15:guide>
        <p15:guide id="29" pos="4944">
          <p15:clr>
            <a:srgbClr val="A4A3A4"/>
          </p15:clr>
        </p15:guide>
        <p15:guide id="30" pos="4536">
          <p15:clr>
            <a:srgbClr val="A4A3A4"/>
          </p15:clr>
        </p15:guide>
        <p15:guide id="31" pos="6120">
          <p15:clr>
            <a:srgbClr val="A4A3A4"/>
          </p15:clr>
        </p15:guide>
        <p15:guide id="32" pos="5712">
          <p15:clr>
            <a:srgbClr val="A4A3A4"/>
          </p15:clr>
        </p15:guide>
        <p15:guide id="33" pos="5520">
          <p15:clr>
            <a:srgbClr val="A4A3A4"/>
          </p15:clr>
        </p15:guide>
        <p15:guide id="34" pos="6720">
          <p15:clr>
            <a:srgbClr val="A4A3A4"/>
          </p15:clr>
        </p15:guide>
        <p15:guide id="35" pos="6312">
          <p15:clr>
            <a:srgbClr val="A4A3A4"/>
          </p15:clr>
        </p15:guide>
        <p15:guide id="36" pos="6912">
          <p15:clr>
            <a:srgbClr val="A4A3A4"/>
          </p15:clr>
        </p15:guide>
        <p15:guide id="37" orient="horz" pos="2260">
          <p15:clr>
            <a:srgbClr val="F26B43"/>
          </p15:clr>
        </p15:guide>
        <p15:guide id="48" orient="horz" pos="3912">
          <p15:clr>
            <a:srgbClr val="F26B43"/>
          </p15:clr>
        </p15:guide>
        <p15:guide id="55" orient="horz" pos="192">
          <p15:clr>
            <a:srgbClr val="F26B43"/>
          </p15:clr>
        </p15:guide>
        <p15:guide id="57" orient="horz" pos="384">
          <p15:clr>
            <a:srgbClr val="5ACBF0"/>
          </p15:clr>
        </p15:guide>
        <p15:guide id="58" orient="horz" pos="288">
          <p15:clr>
            <a:srgbClr val="F26B43"/>
          </p15:clr>
        </p15:guide>
        <p15:guide id="59" orient="horz" pos="1200">
          <p15:clr>
            <a:srgbClr val="5ACBF0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12121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3847EC9D-596C-4E44-B83E-18AAA49AA7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71500" y="609600"/>
            <a:ext cx="11049000" cy="10287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7DE00F6-F701-4424-BC1C-C234A2D5015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71500" y="1905000"/>
            <a:ext cx="11049000" cy="43053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pic>
        <p:nvPicPr>
          <p:cNvPr id="99" name="Graphic 98">
            <a:extLst>
              <a:ext uri="{FF2B5EF4-FFF2-40B4-BE49-F238E27FC236}">
                <a16:creationId xmlns:a16="http://schemas.microsoft.com/office/drawing/2014/main" id="{CC91285F-2BD9-4301-86D5-B8F24697FA1F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516807" y="6364637"/>
            <a:ext cx="503671" cy="221124"/>
          </a:xfrm>
          <a:prstGeom prst="rect">
            <a:avLst/>
          </a:prstGeom>
        </p:spPr>
      </p:pic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3C50EDDB-BE28-44D4-9435-5B2F3C7B1FB0}"/>
              </a:ext>
            </a:extLst>
          </p:cNvPr>
          <p:cNvSpPr txBox="1">
            <a:spLocks/>
          </p:cNvSpPr>
          <p:nvPr/>
        </p:nvSpPr>
        <p:spPr>
          <a:xfrm>
            <a:off x="10020300" y="6401748"/>
            <a:ext cx="1586484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L="0" algn="r" defTabSz="926372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631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26372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89557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5274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31592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79113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42299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705486" algn="l" defTabSz="926372" rtl="0" eaLnBrk="1" latinLnBrk="0" hangingPunct="1">
              <a:defRPr sz="18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7D7A393-7AAB-4C35-B2E9-5B44BBD349B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156541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1" r:id="rId1"/>
    <p:sldLayoutId id="2147484122" r:id="rId2"/>
    <p:sldLayoutId id="2147484123" r:id="rId3"/>
    <p:sldLayoutId id="2147484124" r:id="rId4"/>
    <p:sldLayoutId id="2147484125" r:id="rId5"/>
    <p:sldLayoutId id="2147484126" r:id="rId6"/>
    <p:sldLayoutId id="2147484127" r:id="rId7"/>
    <p:sldLayoutId id="2147484128" r:id="rId8"/>
    <p:sldLayoutId id="2147484129" r:id="rId9"/>
    <p:sldLayoutId id="2147484130" r:id="rId10"/>
    <p:sldLayoutId id="2147484131" r:id="rId11"/>
    <p:sldLayoutId id="2147484132" r:id="rId12"/>
    <p:sldLayoutId id="2147484133" r:id="rId13"/>
    <p:sldLayoutId id="2147484134" r:id="rId14"/>
    <p:sldLayoutId id="2147484135" r:id="rId15"/>
    <p:sldLayoutId id="2147484136" r:id="rId16"/>
    <p:sldLayoutId id="2147484137" r:id="rId17"/>
    <p:sldLayoutId id="2147484138" r:id="rId18"/>
    <p:sldLayoutId id="2147484139" r:id="rId19"/>
    <p:sldLayoutId id="2147484140" r:id="rId20"/>
    <p:sldLayoutId id="2147484141" r:id="rId21"/>
    <p:sldLayoutId id="2147484142" r:id="rId22"/>
    <p:sldLayoutId id="2147484143" r:id="rId23"/>
    <p:sldLayoutId id="2147484144" r:id="rId24"/>
    <p:sldLayoutId id="2147484145" r:id="rId25"/>
    <p:sldLayoutId id="2147484146" r:id="rId26"/>
    <p:sldLayoutId id="2147484147" r:id="rId27"/>
    <p:sldLayoutId id="2147484148" r:id="rId28"/>
    <p:sldLayoutId id="2147484149" r:id="rId29"/>
    <p:sldLayoutId id="2147484150" r:id="rId30"/>
    <p:sldLayoutId id="2147484151" r:id="rId31"/>
    <p:sldLayoutId id="2147484152" r:id="rId32"/>
    <p:sldLayoutId id="2147484153" r:id="rId33"/>
    <p:sldLayoutId id="2147484154" r:id="rId34"/>
    <p:sldLayoutId id="2147484155" r:id="rId35"/>
    <p:sldLayoutId id="2147484156" r:id="rId36"/>
    <p:sldLayoutId id="2147484157" r:id="rId37"/>
    <p:sldLayoutId id="2147484158" r:id="rId38"/>
    <p:sldLayoutId id="2147484159" r:id="rId39"/>
    <p:sldLayoutId id="2147484160" r:id="rId40"/>
    <p:sldLayoutId id="2147484161" r:id="rId41"/>
    <p:sldLayoutId id="2147484162" r:id="rId42"/>
    <p:sldLayoutId id="2147484163" r:id="rId43"/>
    <p:sldLayoutId id="2147484164" r:id="rId44"/>
    <p:sldLayoutId id="2147484165" r:id="rId45"/>
    <p:sldLayoutId id="2147484166" r:id="rId46"/>
    <p:sldLayoutId id="2147484167" r:id="rId47"/>
    <p:sldLayoutId id="2147484168" r:id="rId48"/>
    <p:sldLayoutId id="2147484169" r:id="rId49"/>
    <p:sldLayoutId id="2147484170" r:id="rId50"/>
    <p:sldLayoutId id="2147484171" r:id="rId51"/>
    <p:sldLayoutId id="2147484172" r:id="rId52"/>
    <p:sldLayoutId id="2147484173" r:id="rId53"/>
  </p:sldLayoutIdLst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hf hdr="0" ftr="0" dt="0"/>
  <p:txStyles>
    <p:titleStyle>
      <a:lvl1pPr algn="l" defTabSz="882171" rtl="0" eaLnBrk="1" latinLnBrk="0" hangingPunct="1">
        <a:lnSpc>
          <a:spcPct val="90000"/>
        </a:lnSpc>
        <a:spcBef>
          <a:spcPct val="0"/>
        </a:spcBef>
        <a:buNone/>
        <a:defRPr lang="en-US" sz="4000" b="0" i="0" kern="100" spc="-133" baseline="0" dirty="0">
          <a:solidFill>
            <a:schemeClr val="tx1"/>
          </a:solidFill>
          <a:latin typeface="CiscoSansTT" panose="020B0503020201020303" pitchFamily="34" charset="0"/>
          <a:ea typeface="+mj-ea"/>
          <a:cs typeface="+mj-cs"/>
        </a:defRPr>
      </a:lvl1pPr>
    </p:titleStyle>
    <p:bodyStyle>
      <a:lvl1pPr marL="0" indent="0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None/>
        <a:defRPr sz="1600" b="0" i="0" kern="0" spc="0" baseline="0">
          <a:solidFill>
            <a:schemeClr val="tx1"/>
          </a:solidFill>
          <a:latin typeface="+mn-lt"/>
          <a:ea typeface="+mn-ea"/>
          <a:cs typeface="+mn-cs"/>
        </a:defRPr>
      </a:lvl1pPr>
      <a:lvl2pPr marL="174625" indent="-174625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4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2pPr>
      <a:lvl3pPr marL="342900" indent="-168275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2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3pPr>
      <a:lvl4pPr marL="512763" indent="-169863" algn="l" defTabSz="882171" rtl="0" eaLnBrk="1" latinLnBrk="0" hangingPunct="1">
        <a:lnSpc>
          <a:spcPct val="100000"/>
        </a:lnSpc>
        <a:spcBef>
          <a:spcPts val="0"/>
        </a:spcBef>
        <a:spcAft>
          <a:spcPts val="1000"/>
        </a:spcAft>
        <a:buFont typeface="Arial" panose="020B0604020202020204" pitchFamily="34" charset="0"/>
        <a:buChar char="•"/>
        <a:defRPr sz="1000" b="0" i="0" kern="0" spc="0" baseline="0">
          <a:solidFill>
            <a:schemeClr val="tx1"/>
          </a:solidFill>
          <a:latin typeface="+mn-lt"/>
          <a:ea typeface="+mn-ea"/>
          <a:cs typeface="CiscoSansTT" panose="020B0503020201020303" pitchFamily="34" charset="0"/>
        </a:defRPr>
      </a:lvl4pPr>
      <a:lvl5pPr marL="571500" marR="0" indent="-114300" algn="l" defTabSz="882171" rtl="0" eaLnBrk="1" fontAlgn="auto" latinLnBrk="0" hangingPunct="1">
        <a:lnSpc>
          <a:spcPct val="100000"/>
        </a:lnSpc>
        <a:spcBef>
          <a:spcPts val="0"/>
        </a:spcBef>
        <a:spcAft>
          <a:spcPts val="1000"/>
        </a:spcAft>
        <a:buClrTx/>
        <a:buSzTx/>
        <a:buFont typeface="Arial" panose="020B0604020202020204" pitchFamily="34" charset="0"/>
        <a:buChar char="•"/>
        <a:tabLst/>
        <a:defRPr sz="500" b="0" i="0" kern="1200" spc="0" baseline="0">
          <a:solidFill>
            <a:schemeClr val="tx1"/>
          </a:solidFill>
          <a:latin typeface="+mn-lt"/>
          <a:ea typeface="+mn-ea"/>
          <a:cs typeface="+mn-cs"/>
        </a:defRPr>
      </a:lvl5pPr>
      <a:lvl6pPr marL="242597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867060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308145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749233" indent="-220542" algn="l" defTabSz="882171" rtl="0" eaLnBrk="1" latinLnBrk="0" hangingPunct="1">
        <a:lnSpc>
          <a:spcPct val="90000"/>
        </a:lnSpc>
        <a:spcBef>
          <a:spcPts val="483"/>
        </a:spcBef>
        <a:buFont typeface="Arial" panose="020B0604020202020204" pitchFamily="34" charset="0"/>
        <a:buChar char="•"/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1pPr>
      <a:lvl2pPr marL="441088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2pPr>
      <a:lvl3pPr marL="882171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3pPr>
      <a:lvl4pPr marL="132325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4pPr>
      <a:lvl5pPr marL="1764344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5pPr>
      <a:lvl6pPr marL="2205432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6pPr>
      <a:lvl7pPr marL="2646515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7pPr>
      <a:lvl8pPr marL="3087603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8pPr>
      <a:lvl9pPr marL="3528689" algn="l" defTabSz="882171" rtl="0" eaLnBrk="1" latinLnBrk="0" hangingPunct="1">
        <a:defRPr sz="17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5ACBF0"/>
          </p15:clr>
        </p15:guide>
        <p15:guide id="2" pos="7320">
          <p15:clr>
            <a:srgbClr val="F26B43"/>
          </p15:clr>
        </p15:guide>
        <p15:guide id="3" pos="360">
          <p15:clr>
            <a:srgbClr val="F26B43"/>
          </p15:clr>
        </p15:guide>
        <p15:guide id="4" orient="horz" pos="2160">
          <p15:clr>
            <a:srgbClr val="5ACBF0"/>
          </p15:clr>
        </p15:guide>
        <p15:guide id="5" orient="horz" pos="4104">
          <p15:clr>
            <a:srgbClr val="F26B43"/>
          </p15:clr>
        </p15:guide>
        <p15:guide id="8" pos="3744">
          <p15:clr>
            <a:srgbClr val="A4A3A4"/>
          </p15:clr>
        </p15:guide>
        <p15:guide id="9" pos="768">
          <p15:clr>
            <a:srgbClr val="A4A3A4"/>
          </p15:clr>
        </p15:guide>
        <p15:guide id="10" pos="192">
          <p15:clr>
            <a:srgbClr val="A4A3A4"/>
          </p15:clr>
        </p15:guide>
        <p15:guide id="11" pos="7488">
          <p15:clr>
            <a:srgbClr val="A4A3A4"/>
          </p15:clr>
        </p15:guide>
        <p15:guide id="16" orient="horz" pos="2064">
          <p15:clr>
            <a:srgbClr val="F26B43"/>
          </p15:clr>
        </p15:guide>
        <p15:guide id="17" pos="3936">
          <p15:clr>
            <a:srgbClr val="A4A3A4"/>
          </p15:clr>
        </p15:guide>
        <p15:guide id="18" pos="960">
          <p15:clr>
            <a:srgbClr val="A4A3A4"/>
          </p15:clr>
        </p15:guide>
        <p15:guide id="19" pos="1368">
          <p15:clr>
            <a:srgbClr val="A4A3A4"/>
          </p15:clr>
        </p15:guide>
        <p15:guide id="20" pos="1560">
          <p15:clr>
            <a:srgbClr val="A4A3A4"/>
          </p15:clr>
        </p15:guide>
        <p15:guide id="21" pos="1968">
          <p15:clr>
            <a:srgbClr val="A4A3A4"/>
          </p15:clr>
        </p15:guide>
        <p15:guide id="22" pos="2160">
          <p15:clr>
            <a:srgbClr val="A4A3A4"/>
          </p15:clr>
        </p15:guide>
        <p15:guide id="23" pos="2760">
          <p15:clr>
            <a:srgbClr val="A4A3A4"/>
          </p15:clr>
        </p15:guide>
        <p15:guide id="24" pos="3144">
          <p15:clr>
            <a:srgbClr val="A4A3A4"/>
          </p15:clr>
        </p15:guide>
        <p15:guide id="25" pos="2568">
          <p15:clr>
            <a:srgbClr val="A4A3A4"/>
          </p15:clr>
        </p15:guide>
        <p15:guide id="26" pos="3336">
          <p15:clr>
            <a:srgbClr val="A4A3A4"/>
          </p15:clr>
        </p15:guide>
        <p15:guide id="27" pos="4344">
          <p15:clr>
            <a:srgbClr val="A4A3A4"/>
          </p15:clr>
        </p15:guide>
        <p15:guide id="28" pos="5136">
          <p15:clr>
            <a:srgbClr val="A4A3A4"/>
          </p15:clr>
        </p15:guide>
        <p15:guide id="29" pos="4944">
          <p15:clr>
            <a:srgbClr val="A4A3A4"/>
          </p15:clr>
        </p15:guide>
        <p15:guide id="30" pos="4536">
          <p15:clr>
            <a:srgbClr val="A4A3A4"/>
          </p15:clr>
        </p15:guide>
        <p15:guide id="31" pos="6120">
          <p15:clr>
            <a:srgbClr val="A4A3A4"/>
          </p15:clr>
        </p15:guide>
        <p15:guide id="32" pos="5712">
          <p15:clr>
            <a:srgbClr val="A4A3A4"/>
          </p15:clr>
        </p15:guide>
        <p15:guide id="33" pos="5520">
          <p15:clr>
            <a:srgbClr val="A4A3A4"/>
          </p15:clr>
        </p15:guide>
        <p15:guide id="34" pos="6720">
          <p15:clr>
            <a:srgbClr val="A4A3A4"/>
          </p15:clr>
        </p15:guide>
        <p15:guide id="35" pos="6312">
          <p15:clr>
            <a:srgbClr val="A4A3A4"/>
          </p15:clr>
        </p15:guide>
        <p15:guide id="36" pos="6912">
          <p15:clr>
            <a:srgbClr val="A4A3A4"/>
          </p15:clr>
        </p15:guide>
        <p15:guide id="37" orient="horz" pos="2260">
          <p15:clr>
            <a:srgbClr val="F26B43"/>
          </p15:clr>
        </p15:guide>
        <p15:guide id="48" orient="horz" pos="3912">
          <p15:clr>
            <a:srgbClr val="F26B43"/>
          </p15:clr>
        </p15:guide>
        <p15:guide id="55" orient="horz" pos="192">
          <p15:clr>
            <a:srgbClr val="F26B43"/>
          </p15:clr>
        </p15:guide>
        <p15:guide id="57" orient="horz" pos="384">
          <p15:clr>
            <a:srgbClr val="5ACBF0"/>
          </p15:clr>
        </p15:guide>
        <p15:guide id="58" orient="horz" pos="288">
          <p15:clr>
            <a:srgbClr val="F26B43"/>
          </p15:clr>
        </p15:guide>
        <p15:guide id="59" orient="horz" pos="1200">
          <p15:clr>
            <a:srgbClr val="5ACBF0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41.xml"/><Relationship Id="rId4" Type="http://schemas.openxmlformats.org/officeDocument/2006/relationships/image" Target="../media/image237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4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4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4C8B04F7-08F8-A906-C50D-BBB54D56F2F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832082" y="2184207"/>
            <a:ext cx="5586312" cy="2503825"/>
          </a:xfrm>
          <a:prstGeom prst="rect">
            <a:avLst/>
          </a:prstGeom>
        </p:spPr>
      </p:pic>
      <p:pic>
        <p:nvPicPr>
          <p:cNvPr id="1028" name="Picture 4" descr="Cisco Logo PNG Transparent &amp; SVG Vector - Freebie Supply">
            <a:extLst>
              <a:ext uri="{FF2B5EF4-FFF2-40B4-BE49-F238E27FC236}">
                <a16:creationId xmlns:a16="http://schemas.microsoft.com/office/drawing/2014/main" id="{00A52AB8-DD73-51BF-C036-793DBC12A4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07817" y="2691915"/>
            <a:ext cx="2784000" cy="14741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7AD8B3C0-1709-CB5E-9EB7-722A7A32D604}"/>
              </a:ext>
            </a:extLst>
          </p:cNvPr>
          <p:cNvCxnSpPr/>
          <p:nvPr/>
        </p:nvCxnSpPr>
        <p:spPr>
          <a:xfrm>
            <a:off x="5774932" y="2265218"/>
            <a:ext cx="0" cy="2327564"/>
          </a:xfrm>
          <a:prstGeom prst="line">
            <a:avLst/>
          </a:prstGeom>
          <a:ln w="12700">
            <a:solidFill>
              <a:schemeClr val="tx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1A631CB8-15EF-02E0-B858-F02A70E5652C}"/>
              </a:ext>
            </a:extLst>
          </p:cNvPr>
          <p:cNvSpPr txBox="1">
            <a:spLocks/>
          </p:cNvSpPr>
          <p:nvPr/>
        </p:nvSpPr>
        <p:spPr>
          <a:xfrm>
            <a:off x="571499" y="390144"/>
            <a:ext cx="11184467" cy="498598"/>
          </a:xfrm>
          <a:prstGeom prst="rect">
            <a:avLst/>
          </a:prstGeom>
        </p:spPr>
        <p:txBody>
          <a:bodyPr/>
          <a:lstStyle>
            <a:lvl1pPr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r>
              <a:rPr lang="en-US"/>
              <a:t>A perfect match for Federal agencies </a:t>
            </a:r>
          </a:p>
        </p:txBody>
      </p:sp>
    </p:spTree>
    <p:extLst>
      <p:ext uri="{BB962C8B-B14F-4D97-AF65-F5344CB8AC3E}">
        <p14:creationId xmlns:p14="http://schemas.microsoft.com/office/powerpoint/2010/main" val="373064863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6" presetClass="entr" presetSubtype="4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outHorizontal)">
                                      <p:cBhvr>
                                        <p:cTn id="7" dur="25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.02552 -2.96296E-6 L -8.33333E-7 -2.96296E-6 " pathEditMode="relative" rAng="0" ptsTypes="AA">
                                      <p:cBhvr>
                                        <p:cTn id="12" dur="6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76" y="0"/>
                                    </p:animMotion>
                                  </p:childTnLst>
                                </p:cTn>
                              </p:par>
                              <p:par>
                                <p:cTn id="13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5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6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-0.03034 7.40741E-7 L -6.25E-7 7.40741E-7 " pathEditMode="relative" rAng="0" ptsTypes="AA">
                                      <p:cBhvr>
                                        <p:cTn id="17" dur="6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1510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8" name="Picture 4" descr="Cisco Logo PNG Transparent &amp; SVG Vector - Freebie Supply">
            <a:extLst>
              <a:ext uri="{FF2B5EF4-FFF2-40B4-BE49-F238E27FC236}">
                <a16:creationId xmlns:a16="http://schemas.microsoft.com/office/drawing/2014/main" id="{00A52AB8-DD73-51BF-C036-793DBC12A40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218448" y="1171460"/>
            <a:ext cx="8229189" cy="4357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36392168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0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42" presetClass="path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animMotion origin="layout" path="M 0.02552 -2.96296E-6 L -8.33333E-7 -2.96296E-6 " pathEditMode="relative" rAng="0" ptsTypes="AA">
                                      <p:cBhvr>
                                        <p:cTn id="9" dur="600" fill="hold"/>
                                        <p:tgtEl>
                                          <p:spTgt spid="102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276" y="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3">
            <a:extLst>
              <a:ext uri="{FF2B5EF4-FFF2-40B4-BE49-F238E27FC236}">
                <a16:creationId xmlns:a16="http://schemas.microsoft.com/office/drawing/2014/main" id="{0E58C24E-2F71-2F34-AE1D-DB02F2CDCAEA}"/>
              </a:ext>
            </a:extLst>
          </p:cNvPr>
          <p:cNvSpPr txBox="1">
            <a:spLocks/>
          </p:cNvSpPr>
          <p:nvPr/>
        </p:nvSpPr>
        <p:spPr>
          <a:xfrm>
            <a:off x="571500" y="609601"/>
            <a:ext cx="11049000" cy="594945"/>
          </a:xfrm>
          <a:prstGeom prst="rect">
            <a:avLst/>
          </a:prstGeom>
        </p:spPr>
        <p:txBody>
          <a:bodyPr/>
          <a:lstStyle>
            <a:lvl1pPr algn="l" defTabSz="88214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600" b="0" i="0" kern="100" spc="-133" baseline="0" dirty="0">
                <a:solidFill>
                  <a:schemeClr val="tx1"/>
                </a:solidFill>
                <a:latin typeface="CiscoSansTT" panose="020B0503020201020303" pitchFamily="34" charset="0"/>
                <a:ea typeface="+mj-ea"/>
                <a:cs typeface="+mj-cs"/>
              </a:defRPr>
            </a:lvl1pPr>
          </a:lstStyle>
          <a:p>
            <a:pPr>
              <a:tabLst>
                <a:tab pos="10966450" algn="r"/>
              </a:tabLst>
            </a:pPr>
            <a:r>
              <a:rPr lang="en-US"/>
              <a:t>Event Agenda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B1453475-54A0-D348-6CBF-B98A420A7EE4}"/>
              </a:ext>
            </a:extLst>
          </p:cNvPr>
          <p:cNvGraphicFramePr>
            <a:graphicFrameLocks noGrp="1"/>
          </p:cNvGraphicFramePr>
          <p:nvPr/>
        </p:nvGraphicFramePr>
        <p:xfrm>
          <a:off x="571500" y="1388046"/>
          <a:ext cx="10684763" cy="4641043"/>
        </p:xfrm>
        <a:graphic>
          <a:graphicData uri="http://schemas.openxmlformats.org/drawingml/2006/table">
            <a:tbl>
              <a:tblPr/>
              <a:tblGrid>
                <a:gridCol w="2482210">
                  <a:extLst>
                    <a:ext uri="{9D8B030D-6E8A-4147-A177-3AD203B41FA5}">
                      <a16:colId xmlns:a16="http://schemas.microsoft.com/office/drawing/2014/main" val="3172335497"/>
                    </a:ext>
                  </a:extLst>
                </a:gridCol>
                <a:gridCol w="4463499">
                  <a:extLst>
                    <a:ext uri="{9D8B030D-6E8A-4147-A177-3AD203B41FA5}">
                      <a16:colId xmlns:a16="http://schemas.microsoft.com/office/drawing/2014/main" val="700223639"/>
                    </a:ext>
                  </a:extLst>
                </a:gridCol>
                <a:gridCol w="1192305">
                  <a:extLst>
                    <a:ext uri="{9D8B030D-6E8A-4147-A177-3AD203B41FA5}">
                      <a16:colId xmlns:a16="http://schemas.microsoft.com/office/drawing/2014/main" val="513388927"/>
                    </a:ext>
                  </a:extLst>
                </a:gridCol>
                <a:gridCol w="672582">
                  <a:extLst>
                    <a:ext uri="{9D8B030D-6E8A-4147-A177-3AD203B41FA5}">
                      <a16:colId xmlns:a16="http://schemas.microsoft.com/office/drawing/2014/main" val="480407804"/>
                    </a:ext>
                  </a:extLst>
                </a:gridCol>
                <a:gridCol w="1874167">
                  <a:extLst>
                    <a:ext uri="{9D8B030D-6E8A-4147-A177-3AD203B41FA5}">
                      <a16:colId xmlns:a16="http://schemas.microsoft.com/office/drawing/2014/main" val="3420392727"/>
                    </a:ext>
                  </a:extLst>
                </a:gridCol>
              </a:tblGrid>
              <a:tr h="177318">
                <a:tc gridSpan="5">
                  <a:txBody>
                    <a:bodyPr/>
                    <a:lstStyle/>
                    <a:p>
                      <a:pPr algn="l" fontAlgn="b"/>
                      <a:r>
                        <a:rPr lang="en-US" sz="1400" b="1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Tuesday April 1st - Channel partners with Microsoft &amp; Cisco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6241143"/>
                  </a:ext>
                </a:extLst>
              </a:tr>
              <a:tr h="177318">
                <a:tc>
                  <a:txBody>
                    <a:bodyPr/>
                    <a:lstStyle/>
                    <a:p>
                      <a:pPr algn="ctr" fontAlgn="b"/>
                      <a:endParaRPr lang="en-US" sz="1100" b="1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1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56723450"/>
                  </a:ext>
                </a:extLst>
              </a:tr>
              <a:tr h="1773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Topic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Details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Time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Duration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1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Speakers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2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01807797"/>
                  </a:ext>
                </a:extLst>
              </a:tr>
              <a:tr h="177318"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Registration and coffee 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09.30-09.45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15 min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7504218"/>
                  </a:ext>
                </a:extLst>
              </a:tr>
              <a:tr h="177318"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 dirty="0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67148979"/>
                  </a:ext>
                </a:extLst>
              </a:tr>
              <a:tr h="328955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Kickoff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Welcome, Objectives, Agenda and Housekeeping rules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09.45-10.00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15 min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Jay Leask / Keith Hughes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6106076"/>
                  </a:ext>
                </a:extLst>
              </a:tr>
              <a:tr h="214610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Keynote</a:t>
                      </a:r>
                    </a:p>
                  </a:txBody>
                  <a:tcPr marL="6114" marR="6114" marT="61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882149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Cisco Collaboration for US Federal - Intro &amp; Vision</a:t>
                      </a:r>
                      <a:endParaRPr lang="en-US" sz="1100"/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10.00-10.15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15 min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Michael Tyron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29059963"/>
                  </a:ext>
                </a:extLst>
              </a:tr>
              <a:tr h="220172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Microsoft Teams for US Federal - Intro &amp; Vision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10.15-10.40</a:t>
                      </a:r>
                      <a:endParaRPr lang="en-US"/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25 min</a:t>
                      </a:r>
                      <a:endParaRPr lang="en-US"/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Jimmy Vaughan</a:t>
                      </a:r>
                      <a:endParaRPr lang="en-US"/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61318960"/>
                  </a:ext>
                </a:extLst>
              </a:tr>
              <a:tr h="220172">
                <a:tc vMerge="1">
                  <a:txBody>
                    <a:bodyPr/>
                    <a:lstStyle/>
                    <a:p>
                      <a:pPr algn="ctr" fontAlgn="ctr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Cisco Workspace Vision for US Federal 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Aptos Narrow" panose="020B0004020202020204" pitchFamily="34" charset="0"/>
                        </a:rPr>
                        <a:t>10.40-10.55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Aptos Narrow" panose="020B0004020202020204" pitchFamily="34" charset="0"/>
                        </a:rPr>
                        <a:t>15 min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Aptos Narrow" panose="020B0004020202020204" pitchFamily="34" charset="0"/>
                        </a:rPr>
                        <a:t>Tom Richards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6345332"/>
                  </a:ext>
                </a:extLst>
              </a:tr>
              <a:tr h="177318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328380042"/>
                  </a:ext>
                </a:extLst>
              </a:tr>
              <a:tr h="213008">
                <a:tc rowSpan="3"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Strategy &amp; Roadmap</a:t>
                      </a:r>
                    </a:p>
                  </a:txBody>
                  <a:tcPr marL="6114" marR="6114" marT="61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Microsoft Teams and Teams Rooms for GCC / GCC High / DoD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10.55-11.20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25 min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Doug Deitterick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466592059"/>
                  </a:ext>
                </a:extLst>
              </a:tr>
              <a:tr h="23774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Cisco Devices for MSFT teams for GCC / GCC High, including demos</a:t>
                      </a:r>
                      <a:endParaRPr lang="en-US"/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11.20-11.45</a:t>
                      </a:r>
                      <a:endParaRPr lang="en-US"/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25 min</a:t>
                      </a:r>
                      <a:endParaRPr lang="en-US"/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Finn Helge Lunde</a:t>
                      </a:r>
                      <a:endParaRPr lang="en-US"/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716892956"/>
                  </a:ext>
                </a:extLst>
              </a:tr>
              <a:tr h="76592">
                <a:tc vMerge="1"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Demos and Tour the Innovation Hub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11.45-12.10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25 min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Jeremy McDonald / Jay Leask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51913534"/>
                  </a:ext>
                </a:extLst>
              </a:tr>
              <a:tr h="76592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1292289"/>
                  </a:ext>
                </a:extLst>
              </a:tr>
              <a:tr h="177318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Networking lunch 35-min break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64462324"/>
                  </a:ext>
                </a:extLst>
              </a:tr>
              <a:tr h="177318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3973643"/>
                  </a:ext>
                </a:extLst>
              </a:tr>
              <a:tr h="1773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Strategy &amp; Roadmap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Phones roadmap – 9800 Series with </a:t>
                      </a:r>
                      <a:r>
                        <a:rPr lang="en-US" sz="1100" b="0" i="0" u="none" strike="noStrike" err="1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PhoneOS</a:t>
                      </a:r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12.45-01.05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20 min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Jerry Vander Voord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32142949"/>
                  </a:ext>
                </a:extLst>
              </a:tr>
              <a:tr h="135907">
                <a:tc rowSpan="3"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Customer success</a:t>
                      </a:r>
                    </a:p>
                  </a:txBody>
                  <a:tcPr marL="6114" marR="6114" marT="61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Workspace Designer, Installation, Adoption, Room Calculator 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01.05-01.30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25 min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Finn Helge Lunde / Joe Hughes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4363146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/>
                      <a:endParaRPr lang="en-US" sz="1100">
                        <a:latin typeface="Aptos Narrow" panose="020B0004020202020204" pitchFamily="34" charset="0"/>
                      </a:endParaRPr>
                    </a:p>
                  </a:txBody>
                  <a:tcPr anchor="ctr">
                    <a:lnT w="12700" cmpd="sng">
                      <a:noFill/>
                      <a:prstDash val="soli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Partner programs</a:t>
                      </a:r>
                      <a:endParaRPr lang="en-US"/>
                    </a:p>
                  </a:txBody>
                  <a:tcPr marL="6114" marR="6114" marT="6114" marB="0" anchor="ctr"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01.30-01.50</a:t>
                      </a:r>
                      <a:endParaRPr lang="en-US"/>
                    </a:p>
                  </a:txBody>
                  <a:tcPr marL="6114" marR="6114" marT="61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20 min</a:t>
                      </a:r>
                      <a:endParaRPr lang="en-US"/>
                    </a:p>
                  </a:txBody>
                  <a:tcPr marL="6114" marR="6114" marT="61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Keith Hughes</a:t>
                      </a:r>
                      <a:endParaRPr lang="en-US"/>
                    </a:p>
                  </a:txBody>
                  <a:tcPr marL="6114" marR="6114" marT="61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19716910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ctr"/>
                      <a:endParaRPr lang="en-US" sz="1100">
                        <a:latin typeface="Aptos Narrow" panose="020B000402020202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>
                          <a:latin typeface="Aptos Narrow" panose="020B0004020202020204" pitchFamily="34" charset="0"/>
                        </a:rPr>
                        <a:t>Customer case studies</a:t>
                      </a:r>
                    </a:p>
                  </a:txBody>
                  <a:tcPr marL="6114" marR="6114" marT="6114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Aptos Narrow" panose="020B0004020202020204" pitchFamily="34" charset="0"/>
                        </a:rPr>
                        <a:t>01.50-2.10</a:t>
                      </a:r>
                    </a:p>
                  </a:txBody>
                  <a:tcPr marL="6114" marR="6114" marT="61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>
                          <a:latin typeface="Aptos Narrow" panose="020B0004020202020204" pitchFamily="34" charset="0"/>
                        </a:rPr>
                        <a:t>20 min</a:t>
                      </a:r>
                    </a:p>
                  </a:txBody>
                  <a:tcPr marL="6114" marR="6114" marT="61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sz="1100" dirty="0">
                          <a:latin typeface="Aptos Narrow" panose="020B0004020202020204" pitchFamily="34" charset="0"/>
                        </a:rPr>
                        <a:t>Finn Helge Lunde / John Bowman/ Paul Ghattas</a:t>
                      </a:r>
                    </a:p>
                  </a:txBody>
                  <a:tcPr marL="6114" marR="6114" marT="6114" marB="0" anchor="ctr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46020504"/>
                  </a:ext>
                </a:extLst>
              </a:tr>
              <a:tr h="177318"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Q&amp;A Panel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Ask us Anything Panel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02.10-02.30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20 min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100" b="0" i="0" u="none" strike="noStrike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All presenters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806915388"/>
                  </a:ext>
                </a:extLst>
              </a:tr>
              <a:tr h="177318"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US" sz="1100" b="0" i="0" u="none" strike="noStrike">
                        <a:solidFill>
                          <a:schemeClr val="tx1"/>
                        </a:solidFill>
                        <a:effectLst/>
                        <a:latin typeface="Aptos Narrow" panose="020B0004020202020204" pitchFamily="34" charset="0"/>
                      </a:endParaRP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848586026"/>
                  </a:ext>
                </a:extLst>
              </a:tr>
              <a:tr h="177318">
                <a:tc gridSpan="5">
                  <a:txBody>
                    <a:bodyPr/>
                    <a:lstStyle/>
                    <a:p>
                      <a:pPr algn="ctr" fontAlgn="b"/>
                      <a:r>
                        <a:rPr lang="en-US" sz="1100" b="0" i="1" u="none" strike="noStrike" dirty="0">
                          <a:solidFill>
                            <a:schemeClr val="tx1"/>
                          </a:solidFill>
                          <a:effectLst/>
                          <a:latin typeface="Aptos Narrow" panose="020B0004020202020204" pitchFamily="34" charset="0"/>
                        </a:rPr>
                        <a:t>Networking / End of Event</a:t>
                      </a:r>
                    </a:p>
                  </a:txBody>
                  <a:tcPr marL="6114" marR="6114" marT="6114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5322230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76000901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 advClick="0" advTm="15000">
        <p:fade/>
      </p:transition>
    </mc:Choice>
    <mc:Fallback>
      <p:transition spd="med" advClick="0" advTm="15000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heme/theme1.xml><?xml version="1.0" encoding="utf-8"?>
<a:theme xmlns:a="http://schemas.openxmlformats.org/drawingml/2006/main" name="APO Theme">
  <a:themeElements>
    <a:clrScheme name="Webex Light">
      <a:dk1>
        <a:srgbClr val="121212"/>
      </a:dk1>
      <a:lt1>
        <a:srgbClr val="FFFFFF"/>
      </a:lt1>
      <a:dk2>
        <a:srgbClr val="282828"/>
      </a:dk2>
      <a:lt2>
        <a:srgbClr val="E5E5E5"/>
      </a:lt2>
      <a:accent1>
        <a:srgbClr val="82CF5F"/>
      </a:accent1>
      <a:accent2>
        <a:srgbClr val="00BCF5"/>
      </a:accent2>
      <a:accent3>
        <a:srgbClr val="FBBD23"/>
      </a:accent3>
      <a:accent4>
        <a:srgbClr val="FF793F"/>
      </a:accent4>
      <a:accent5>
        <a:srgbClr val="FF3A65"/>
      </a:accent5>
      <a:accent6>
        <a:srgbClr val="6B32CA"/>
      </a:accent6>
      <a:hlink>
        <a:srgbClr val="121212"/>
      </a:hlink>
      <a:folHlink>
        <a:srgbClr val="282828"/>
      </a:folHlink>
    </a:clrScheme>
    <a:fontScheme name="cisco reg and light">
      <a:majorFont>
        <a:latin typeface="CiscoSansT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APO Theme" id="{397DCA04-D30B-8146-8A44-DE5524176952}" vid="{8A13A6CB-42D8-CD48-9D92-98314673244D}"/>
    </a:ext>
  </a:extLst>
</a:theme>
</file>

<file path=ppt/theme/theme10.xml><?xml version="1.0" encoding="utf-8"?>
<a:theme xmlns:a="http://schemas.openxmlformats.org/drawingml/2006/main" name="4_Webex Dark Template_2022">
  <a:themeElements>
    <a:clrScheme name="Custom 5">
      <a:dk1>
        <a:srgbClr val="FFFFFF"/>
      </a:dk1>
      <a:lt1>
        <a:srgbClr val="121212"/>
      </a:lt1>
      <a:dk2>
        <a:srgbClr val="E5E5E5"/>
      </a:dk2>
      <a:lt2>
        <a:srgbClr val="282828"/>
      </a:lt2>
      <a:accent1>
        <a:srgbClr val="00BCF5"/>
      </a:accent1>
      <a:accent2>
        <a:srgbClr val="82CF5F"/>
      </a:accent2>
      <a:accent3>
        <a:srgbClr val="FBBD23"/>
      </a:accent3>
      <a:accent4>
        <a:srgbClr val="FF793F"/>
      </a:accent4>
      <a:accent5>
        <a:srgbClr val="FF3A65"/>
      </a:accent5>
      <a:accent6>
        <a:srgbClr val="6B32CA"/>
      </a:accent6>
      <a:hlink>
        <a:srgbClr val="00BCF5"/>
      </a:hlink>
      <a:folHlink>
        <a:srgbClr val="E5E5E5"/>
      </a:folHlink>
    </a:clrScheme>
    <a:fontScheme name="cisco reg and light">
      <a:majorFont>
        <a:latin typeface="CiscoSansT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>
              <a:lumMod val="75000"/>
              <a:lumOff val="2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algn="l">
          <a:lnSpc>
            <a:spcPct val="120000"/>
          </a:lnSpc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42C36F95-8431-E04A-9776-0AA454C2150D}" vid="{84B8B617-E3FE-6943-8ED7-A0B2EDDF44C3}"/>
    </a:ext>
  </a:extLst>
</a:theme>
</file>

<file path=ppt/theme/theme11.xml><?xml version="1.0" encoding="utf-8"?>
<a:theme xmlns:a="http://schemas.openxmlformats.org/drawingml/2006/main" name="3_Cover Master">
  <a:themeElements>
    <a:clrScheme name="webex-dark">
      <a:dk1>
        <a:srgbClr val="FFFFFF"/>
      </a:dk1>
      <a:lt1>
        <a:srgbClr val="121212"/>
      </a:lt1>
      <a:dk2>
        <a:srgbClr val="E5E5E5"/>
      </a:dk2>
      <a:lt2>
        <a:srgbClr val="282828"/>
      </a:lt2>
      <a:accent1>
        <a:srgbClr val="82CF5F"/>
      </a:accent1>
      <a:accent2>
        <a:srgbClr val="00BCF5"/>
      </a:accent2>
      <a:accent3>
        <a:srgbClr val="FBBD23"/>
      </a:accent3>
      <a:accent4>
        <a:srgbClr val="FF793F"/>
      </a:accent4>
      <a:accent5>
        <a:srgbClr val="FF3A65"/>
      </a:accent5>
      <a:accent6>
        <a:srgbClr val="6B32CA"/>
      </a:accent6>
      <a:hlink>
        <a:srgbClr val="FFFFFF"/>
      </a:hlink>
      <a:folHlink>
        <a:srgbClr val="FFFFFF"/>
      </a:folHlink>
    </a:clrScheme>
    <a:fontScheme name="cisco reg and light">
      <a:majorFont>
        <a:latin typeface="CiscoSansT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>
              <a:lumMod val="75000"/>
              <a:lumOff val="2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Webex_PPT_DARK-05.21" id="{7B4611A9-A344-7F43-B06D-E884EDDBE805}" vid="{C117B1F5-6073-004A-887A-385683A5F96E}"/>
    </a:ext>
  </a:extLst>
</a:theme>
</file>

<file path=ppt/theme/theme12.xml><?xml version="1.0" encoding="utf-8"?>
<a:theme xmlns:a="http://schemas.openxmlformats.org/drawingml/2006/main" name="20_Webex Dark Template_2022">
  <a:themeElements>
    <a:clrScheme name="Custom 5">
      <a:dk1>
        <a:srgbClr val="FFFFFF"/>
      </a:dk1>
      <a:lt1>
        <a:srgbClr val="121212"/>
      </a:lt1>
      <a:dk2>
        <a:srgbClr val="E5E5E5"/>
      </a:dk2>
      <a:lt2>
        <a:srgbClr val="282828"/>
      </a:lt2>
      <a:accent1>
        <a:srgbClr val="00BCF5"/>
      </a:accent1>
      <a:accent2>
        <a:srgbClr val="82CF5F"/>
      </a:accent2>
      <a:accent3>
        <a:srgbClr val="FBBD23"/>
      </a:accent3>
      <a:accent4>
        <a:srgbClr val="FF793F"/>
      </a:accent4>
      <a:accent5>
        <a:srgbClr val="FF3A65"/>
      </a:accent5>
      <a:accent6>
        <a:srgbClr val="6B32CA"/>
      </a:accent6>
      <a:hlink>
        <a:srgbClr val="00BCF5"/>
      </a:hlink>
      <a:folHlink>
        <a:srgbClr val="E5E5E5"/>
      </a:folHlink>
    </a:clrScheme>
    <a:fontScheme name="cisco reg and light">
      <a:majorFont>
        <a:latin typeface="CiscoSansT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>
              <a:lumMod val="75000"/>
              <a:lumOff val="2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algn="l">
          <a:lnSpc>
            <a:spcPct val="120000"/>
          </a:lnSpc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FY24 SKO Global Collab Sales Template.potx" id="{3E3066AE-2522-4CAA-8FA2-25914A1140DA}" vid="{64C65F02-E123-468F-BB92-3717151B2EE9}"/>
    </a:ext>
  </a:extLst>
</a:theme>
</file>

<file path=ppt/theme/theme13.xml><?xml version="1.0" encoding="utf-8"?>
<a:theme xmlns:a="http://schemas.openxmlformats.org/drawingml/2006/main" name="2_Global Collab Sales FY24 Dark Template_2024">
  <a:themeElements>
    <a:clrScheme name="Custom 5">
      <a:dk1>
        <a:srgbClr val="FFFFFF"/>
      </a:dk1>
      <a:lt1>
        <a:srgbClr val="121212"/>
      </a:lt1>
      <a:dk2>
        <a:srgbClr val="E5E5E5"/>
      </a:dk2>
      <a:lt2>
        <a:srgbClr val="282828"/>
      </a:lt2>
      <a:accent1>
        <a:srgbClr val="00BCF5"/>
      </a:accent1>
      <a:accent2>
        <a:srgbClr val="82CF5F"/>
      </a:accent2>
      <a:accent3>
        <a:srgbClr val="FBBD23"/>
      </a:accent3>
      <a:accent4>
        <a:srgbClr val="FF793F"/>
      </a:accent4>
      <a:accent5>
        <a:srgbClr val="FF3A65"/>
      </a:accent5>
      <a:accent6>
        <a:srgbClr val="6B32CA"/>
      </a:accent6>
      <a:hlink>
        <a:srgbClr val="00BCF5"/>
      </a:hlink>
      <a:folHlink>
        <a:srgbClr val="E5E5E5"/>
      </a:folHlink>
    </a:clrScheme>
    <a:fontScheme name="cisco reg and light">
      <a:majorFont>
        <a:latin typeface="CiscoSansT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>
              <a:lumMod val="75000"/>
              <a:lumOff val="2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algn="l">
          <a:lnSpc>
            <a:spcPct val="120000"/>
          </a:lnSpc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A57254C9-7F04-0944-B1AB-BD88FC021CAB}" vid="{9AED6524-CB95-B747-AF03-469983149B95}"/>
    </a:ext>
  </a:extLst>
</a:theme>
</file>

<file path=ppt/theme/theme14.xml><?xml version="1.0" encoding="utf-8"?>
<a:theme xmlns:a="http://schemas.openxmlformats.org/drawingml/2006/main" name="Webex Dark Template_2023">
  <a:themeElements>
    <a:clrScheme name="Custom 5">
      <a:dk1>
        <a:srgbClr val="FFFFFF"/>
      </a:dk1>
      <a:lt1>
        <a:srgbClr val="121212"/>
      </a:lt1>
      <a:dk2>
        <a:srgbClr val="E5E5E5"/>
      </a:dk2>
      <a:lt2>
        <a:srgbClr val="282828"/>
      </a:lt2>
      <a:accent1>
        <a:srgbClr val="00BCF5"/>
      </a:accent1>
      <a:accent2>
        <a:srgbClr val="82CF5F"/>
      </a:accent2>
      <a:accent3>
        <a:srgbClr val="FBBD23"/>
      </a:accent3>
      <a:accent4>
        <a:srgbClr val="FF793F"/>
      </a:accent4>
      <a:accent5>
        <a:srgbClr val="FF3A65"/>
      </a:accent5>
      <a:accent6>
        <a:srgbClr val="6B32CA"/>
      </a:accent6>
      <a:hlink>
        <a:srgbClr val="00BCF5"/>
      </a:hlink>
      <a:folHlink>
        <a:srgbClr val="E5E5E5"/>
      </a:folHlink>
    </a:clrScheme>
    <a:fontScheme name="cisco reg and light">
      <a:majorFont>
        <a:latin typeface="CiscoSansT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>
              <a:lumMod val="75000"/>
              <a:lumOff val="2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algn="l">
          <a:lnSpc>
            <a:spcPct val="120000"/>
          </a:lnSpc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11100852-DF8C-FF42-B287-E324F56C8077}" vid="{0D802980-5A07-844A-AF15-41F151E7CD56}"/>
    </a:ext>
  </a:extLst>
</a:theme>
</file>

<file path=ppt/theme/theme15.xml><?xml version="1.0" encoding="utf-8"?>
<a:theme xmlns:a="http://schemas.openxmlformats.org/drawingml/2006/main" name="17_Webex Dark Template_2022">
  <a:themeElements>
    <a:clrScheme name="Custom 5">
      <a:dk1>
        <a:srgbClr val="FFFFFF"/>
      </a:dk1>
      <a:lt1>
        <a:srgbClr val="121212"/>
      </a:lt1>
      <a:dk2>
        <a:srgbClr val="E5E5E5"/>
      </a:dk2>
      <a:lt2>
        <a:srgbClr val="282828"/>
      </a:lt2>
      <a:accent1>
        <a:srgbClr val="00BCF5"/>
      </a:accent1>
      <a:accent2>
        <a:srgbClr val="82CF5F"/>
      </a:accent2>
      <a:accent3>
        <a:srgbClr val="FBBD23"/>
      </a:accent3>
      <a:accent4>
        <a:srgbClr val="FF793F"/>
      </a:accent4>
      <a:accent5>
        <a:srgbClr val="FF3A65"/>
      </a:accent5>
      <a:accent6>
        <a:srgbClr val="6B32CA"/>
      </a:accent6>
      <a:hlink>
        <a:srgbClr val="00BCF5"/>
      </a:hlink>
      <a:folHlink>
        <a:srgbClr val="E5E5E5"/>
      </a:folHlink>
    </a:clrScheme>
    <a:fontScheme name="cisco reg and light">
      <a:majorFont>
        <a:latin typeface="CiscoSansT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>
              <a:lumMod val="75000"/>
              <a:lumOff val="2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algn="l">
          <a:lnSpc>
            <a:spcPct val="120000"/>
          </a:lnSpc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Webex PowerPoint Dark Template 2022.potx" id="{123AE5C9-4FA1-486B-BD1B-9476C18FE939}" vid="{9C91CD05-73DD-4DF9-8BA8-C7BB6C8E2285}"/>
    </a:ext>
  </a:extLst>
</a:theme>
</file>

<file path=ppt/theme/theme16.xml><?xml version="1.0" encoding="utf-8"?>
<a:theme xmlns:a="http://schemas.openxmlformats.org/drawingml/2006/main" name="5_Webex Dark Template_2022">
  <a:themeElements>
    <a:clrScheme name="Custom 5">
      <a:dk1>
        <a:srgbClr val="FFFFFF"/>
      </a:dk1>
      <a:lt1>
        <a:srgbClr val="121212"/>
      </a:lt1>
      <a:dk2>
        <a:srgbClr val="E5E5E5"/>
      </a:dk2>
      <a:lt2>
        <a:srgbClr val="282828"/>
      </a:lt2>
      <a:accent1>
        <a:srgbClr val="00BCF5"/>
      </a:accent1>
      <a:accent2>
        <a:srgbClr val="82CF5F"/>
      </a:accent2>
      <a:accent3>
        <a:srgbClr val="FBBD23"/>
      </a:accent3>
      <a:accent4>
        <a:srgbClr val="FF793F"/>
      </a:accent4>
      <a:accent5>
        <a:srgbClr val="FF3A65"/>
      </a:accent5>
      <a:accent6>
        <a:srgbClr val="6B32CA"/>
      </a:accent6>
      <a:hlink>
        <a:srgbClr val="00BCF5"/>
      </a:hlink>
      <a:folHlink>
        <a:srgbClr val="E5E5E5"/>
      </a:folHlink>
    </a:clrScheme>
    <a:fontScheme name="cisco reg and light">
      <a:majorFont>
        <a:latin typeface="CiscoSansT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>
              <a:lumMod val="75000"/>
              <a:lumOff val="2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algn="l">
          <a:lnSpc>
            <a:spcPct val="120000"/>
          </a:lnSpc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42C36F95-8431-E04A-9776-0AA454C2150D}" vid="{84B8B617-E3FE-6943-8ED7-A0B2EDDF44C3}"/>
    </a:ext>
  </a:extLst>
</a:theme>
</file>

<file path=ppt/theme/theme17.xml><?xml version="1.0" encoding="utf-8"?>
<a:theme xmlns:a="http://schemas.openxmlformats.org/drawingml/2006/main" name="2_Global Collab Sales Dark Template_2023">
  <a:themeElements>
    <a:clrScheme name="Custom 5">
      <a:dk1>
        <a:srgbClr val="FFFFFF"/>
      </a:dk1>
      <a:lt1>
        <a:srgbClr val="121212"/>
      </a:lt1>
      <a:dk2>
        <a:srgbClr val="E5E5E5"/>
      </a:dk2>
      <a:lt2>
        <a:srgbClr val="282828"/>
      </a:lt2>
      <a:accent1>
        <a:srgbClr val="00BCF5"/>
      </a:accent1>
      <a:accent2>
        <a:srgbClr val="82CF5F"/>
      </a:accent2>
      <a:accent3>
        <a:srgbClr val="FBBD23"/>
      </a:accent3>
      <a:accent4>
        <a:srgbClr val="FF793F"/>
      </a:accent4>
      <a:accent5>
        <a:srgbClr val="FF3A65"/>
      </a:accent5>
      <a:accent6>
        <a:srgbClr val="6B32CA"/>
      </a:accent6>
      <a:hlink>
        <a:srgbClr val="00BCF5"/>
      </a:hlink>
      <a:folHlink>
        <a:srgbClr val="E5E5E5"/>
      </a:folHlink>
    </a:clrScheme>
    <a:fontScheme name="cisco reg and light">
      <a:majorFont>
        <a:latin typeface="CiscoSansT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>
              <a:lumMod val="75000"/>
              <a:lumOff val="2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algn="l">
          <a:lnSpc>
            <a:spcPct val="120000"/>
          </a:lnSpc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Global Collab Sales 2H Event_Template_no text.potx" id="{2117DDCA-0611-4B40-9405-C856542631CE}" vid="{DC32099E-23A3-43EB-8C2D-93BFB578D221}"/>
    </a:ext>
  </a:extLst>
</a:theme>
</file>

<file path=ppt/theme/theme18.xml><?xml version="1.0" encoding="utf-8"?>
<a:theme xmlns:a="http://schemas.openxmlformats.org/drawingml/2006/main" name="Webex Dark Template_2022">
  <a:themeElements>
    <a:clrScheme name="Custom 5">
      <a:dk1>
        <a:srgbClr val="FFFFFF"/>
      </a:dk1>
      <a:lt1>
        <a:srgbClr val="121212"/>
      </a:lt1>
      <a:dk2>
        <a:srgbClr val="E5E5E5"/>
      </a:dk2>
      <a:lt2>
        <a:srgbClr val="282828"/>
      </a:lt2>
      <a:accent1>
        <a:srgbClr val="00BCF5"/>
      </a:accent1>
      <a:accent2>
        <a:srgbClr val="82CF5F"/>
      </a:accent2>
      <a:accent3>
        <a:srgbClr val="FBBD23"/>
      </a:accent3>
      <a:accent4>
        <a:srgbClr val="FF793F"/>
      </a:accent4>
      <a:accent5>
        <a:srgbClr val="FF3A65"/>
      </a:accent5>
      <a:accent6>
        <a:srgbClr val="6B32CA"/>
      </a:accent6>
      <a:hlink>
        <a:srgbClr val="00BCF5"/>
      </a:hlink>
      <a:folHlink>
        <a:srgbClr val="E5E5E5"/>
      </a:folHlink>
    </a:clrScheme>
    <a:fontScheme name="cisco reg and light">
      <a:majorFont>
        <a:latin typeface="CiscoSansT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>
              <a:lumMod val="75000"/>
              <a:lumOff val="2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algn="l">
          <a:lnSpc>
            <a:spcPct val="120000"/>
          </a:lnSpc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FY24 SKO Global Collab Sales Template.potx" id="{3E3066AE-2522-4CAA-8FA2-25914A1140DA}" vid="{64C65F02-E123-468F-BB92-3717151B2EE9}"/>
    </a:ext>
  </a:extLst>
</a:theme>
</file>

<file path=ppt/theme/theme19.xml><?xml version="1.0" encoding="utf-8"?>
<a:theme xmlns:a="http://schemas.openxmlformats.org/drawingml/2006/main" name="Webex PowerPoint Dark Template">
  <a:themeElements>
    <a:clrScheme name="Custom 5">
      <a:dk1>
        <a:srgbClr val="FFFFFF"/>
      </a:dk1>
      <a:lt1>
        <a:srgbClr val="121212"/>
      </a:lt1>
      <a:dk2>
        <a:srgbClr val="E5E5E5"/>
      </a:dk2>
      <a:lt2>
        <a:srgbClr val="282828"/>
      </a:lt2>
      <a:accent1>
        <a:srgbClr val="00BCF5"/>
      </a:accent1>
      <a:accent2>
        <a:srgbClr val="82CF5F"/>
      </a:accent2>
      <a:accent3>
        <a:srgbClr val="FBBD23"/>
      </a:accent3>
      <a:accent4>
        <a:srgbClr val="FF793F"/>
      </a:accent4>
      <a:accent5>
        <a:srgbClr val="FF3A65"/>
      </a:accent5>
      <a:accent6>
        <a:srgbClr val="6B32CA"/>
      </a:accent6>
      <a:hlink>
        <a:srgbClr val="00BCF5"/>
      </a:hlink>
      <a:folHlink>
        <a:srgbClr val="E5E5E5"/>
      </a:folHlink>
    </a:clrScheme>
    <a:fontScheme name="cisco reg and light">
      <a:majorFont>
        <a:latin typeface="CiscoSansT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>
              <a:lumMod val="75000"/>
              <a:lumOff val="2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algn="l">
          <a:lnSpc>
            <a:spcPct val="120000"/>
          </a:lnSpc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Webex PowerPoint Dark Template" id="{A249E5DD-1233-44CC-AD58-A288062145A9}" vid="{5E912488-D8A0-4EB1-9BDB-86ED40887AD9}"/>
    </a:ext>
  </a:extLst>
</a:theme>
</file>

<file path=ppt/theme/theme2.xml><?xml version="1.0" encoding="utf-8"?>
<a:theme xmlns:a="http://schemas.openxmlformats.org/drawingml/2006/main" name="2_Cover Master">
  <a:themeElements>
    <a:clrScheme name="Webex Light">
      <a:dk1>
        <a:srgbClr val="121212"/>
      </a:dk1>
      <a:lt1>
        <a:srgbClr val="FFFFFF"/>
      </a:lt1>
      <a:dk2>
        <a:srgbClr val="282828"/>
      </a:dk2>
      <a:lt2>
        <a:srgbClr val="E5E5E5"/>
      </a:lt2>
      <a:accent1>
        <a:srgbClr val="82CF5F"/>
      </a:accent1>
      <a:accent2>
        <a:srgbClr val="00BCF5"/>
      </a:accent2>
      <a:accent3>
        <a:srgbClr val="FBBD23"/>
      </a:accent3>
      <a:accent4>
        <a:srgbClr val="FF793F"/>
      </a:accent4>
      <a:accent5>
        <a:srgbClr val="FF3A65"/>
      </a:accent5>
      <a:accent6>
        <a:srgbClr val="6B32CA"/>
      </a:accent6>
      <a:hlink>
        <a:srgbClr val="121212"/>
      </a:hlink>
      <a:folHlink>
        <a:srgbClr val="282828"/>
      </a:folHlink>
    </a:clrScheme>
    <a:fontScheme name="cisco reg and light">
      <a:majorFont>
        <a:latin typeface="CiscoSansT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Webex_PPT_LIGHT-V41-jc.potx" id="{4FE813D2-8B51-4FAB-9362-7ECB5FF95F6E}" vid="{A5C40E6F-A1DE-42D1-BEB5-8C5AF20BF9F1}"/>
    </a:ext>
  </a:extLst>
</a:theme>
</file>

<file path=ppt/theme/theme20.xml><?xml version="1.0" encoding="utf-8"?>
<a:theme xmlns:a="http://schemas.openxmlformats.org/drawingml/2006/main" name="1_2023 Cisco Template Master">
  <a:themeElements>
    <a:clrScheme name="Custom 1">
      <a:dk1>
        <a:srgbClr val="0D274D"/>
      </a:dk1>
      <a:lt1>
        <a:srgbClr val="414244"/>
      </a:lt1>
      <a:dk2>
        <a:srgbClr val="FFFFFF"/>
      </a:dk2>
      <a:lt2>
        <a:srgbClr val="0051AF"/>
      </a:lt2>
      <a:accent1>
        <a:srgbClr val="00BCEB"/>
      </a:accent1>
      <a:accent2>
        <a:srgbClr val="74BF4B"/>
      </a:accent2>
      <a:accent3>
        <a:srgbClr val="0051AF"/>
      </a:accent3>
      <a:accent4>
        <a:srgbClr val="E2E2E2"/>
      </a:accent4>
      <a:accent5>
        <a:srgbClr val="FBAB2C"/>
      </a:accent5>
      <a:accent6>
        <a:srgbClr val="E3241B"/>
      </a:accent6>
      <a:hlink>
        <a:srgbClr val="0050AE"/>
      </a:hlink>
      <a:folHlink>
        <a:srgbClr val="00BCEB"/>
      </a:folHlink>
    </a:clrScheme>
    <a:fontScheme name="Custom 13">
      <a:majorFont>
        <a:latin typeface="CiscoSansTT ExtraLigh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lIns="45720" rIns="45720" rtlCol="0" anchor="ctr"/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 algn="l">
          <a:defRPr dirty="0" smtClean="0">
            <a:solidFill>
              <a:schemeClr val="bg2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2023 Cisco_PowerPoint_Template_Light_12-6-22 AE v5.potx" id="{02CFFE99-3FA0-4030-B4AB-C66403B6984A}" vid="{54E01BF6-73E5-488F-B288-8B939CB3D3E7}"/>
    </a:ext>
  </a:extLst>
</a:theme>
</file>

<file path=ppt/theme/theme21.xml><?xml version="1.0" encoding="utf-8"?>
<a:theme xmlns:a="http://schemas.openxmlformats.org/drawingml/2006/main" name="Webex Dark Template">
  <a:themeElements>
    <a:clrScheme name="Custom 5">
      <a:dk1>
        <a:srgbClr val="FFFFFF"/>
      </a:dk1>
      <a:lt1>
        <a:srgbClr val="121212"/>
      </a:lt1>
      <a:dk2>
        <a:srgbClr val="E5E5E5"/>
      </a:dk2>
      <a:lt2>
        <a:srgbClr val="282828"/>
      </a:lt2>
      <a:accent1>
        <a:srgbClr val="00BCF5"/>
      </a:accent1>
      <a:accent2>
        <a:srgbClr val="82CF5F"/>
      </a:accent2>
      <a:accent3>
        <a:srgbClr val="FBBD23"/>
      </a:accent3>
      <a:accent4>
        <a:srgbClr val="FF793F"/>
      </a:accent4>
      <a:accent5>
        <a:srgbClr val="FF3A65"/>
      </a:accent5>
      <a:accent6>
        <a:srgbClr val="6B32CA"/>
      </a:accent6>
      <a:hlink>
        <a:srgbClr val="00BCF5"/>
      </a:hlink>
      <a:folHlink>
        <a:srgbClr val="E5E5E5"/>
      </a:folHlink>
    </a:clrScheme>
    <a:fontScheme name="cisco reg and light">
      <a:majorFont>
        <a:latin typeface="CiscoSansT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>
              <a:lumMod val="75000"/>
              <a:lumOff val="2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algn="l">
          <a:lnSpc>
            <a:spcPct val="120000"/>
          </a:lnSpc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CD8E1CE4-FB86-364C-AF15-935EC5CD4EF4}" vid="{7AB69871-9218-3647-9A16-99F2D14545FD}"/>
    </a:ext>
  </a:extLst>
</a:theme>
</file>

<file path=ppt/theme/theme22.xml><?xml version="1.0" encoding="utf-8"?>
<a:theme xmlns:a="http://schemas.openxmlformats.org/drawingml/2006/main" name="2_Webex Dark Template_2022">
  <a:themeElements>
    <a:clrScheme name="Custom 5">
      <a:dk1>
        <a:srgbClr val="FFFFFF"/>
      </a:dk1>
      <a:lt1>
        <a:srgbClr val="121212"/>
      </a:lt1>
      <a:dk2>
        <a:srgbClr val="E5E5E5"/>
      </a:dk2>
      <a:lt2>
        <a:srgbClr val="282828"/>
      </a:lt2>
      <a:accent1>
        <a:srgbClr val="00BCF5"/>
      </a:accent1>
      <a:accent2>
        <a:srgbClr val="82CF5F"/>
      </a:accent2>
      <a:accent3>
        <a:srgbClr val="FBBD23"/>
      </a:accent3>
      <a:accent4>
        <a:srgbClr val="FF793F"/>
      </a:accent4>
      <a:accent5>
        <a:srgbClr val="FF3A65"/>
      </a:accent5>
      <a:accent6>
        <a:srgbClr val="6B32CA"/>
      </a:accent6>
      <a:hlink>
        <a:srgbClr val="00BCF5"/>
      </a:hlink>
      <a:folHlink>
        <a:srgbClr val="E5E5E5"/>
      </a:folHlink>
    </a:clrScheme>
    <a:fontScheme name="cisco reg and light">
      <a:majorFont>
        <a:latin typeface="CiscoSansT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>
              <a:lumMod val="75000"/>
              <a:lumOff val="2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algn="l">
          <a:lnSpc>
            <a:spcPct val="120000"/>
          </a:lnSpc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42C36F95-8431-E04A-9776-0AA454C2150D}" vid="{84B8B617-E3FE-6943-8ED7-A0B2EDDF44C3}"/>
    </a:ext>
  </a:extLst>
</a:theme>
</file>

<file path=ppt/theme/theme23.xml><?xml version="1.0" encoding="utf-8"?>
<a:theme xmlns:a="http://schemas.openxmlformats.org/drawingml/2006/main" name="3_Webex Dark Template_2022">
  <a:themeElements>
    <a:clrScheme name="Custom 5">
      <a:dk1>
        <a:srgbClr val="FFFFFF"/>
      </a:dk1>
      <a:lt1>
        <a:srgbClr val="121212"/>
      </a:lt1>
      <a:dk2>
        <a:srgbClr val="E5E5E5"/>
      </a:dk2>
      <a:lt2>
        <a:srgbClr val="282828"/>
      </a:lt2>
      <a:accent1>
        <a:srgbClr val="00BCF5"/>
      </a:accent1>
      <a:accent2>
        <a:srgbClr val="82CF5F"/>
      </a:accent2>
      <a:accent3>
        <a:srgbClr val="FBBD23"/>
      </a:accent3>
      <a:accent4>
        <a:srgbClr val="FF793F"/>
      </a:accent4>
      <a:accent5>
        <a:srgbClr val="FF3A65"/>
      </a:accent5>
      <a:accent6>
        <a:srgbClr val="6B32CA"/>
      </a:accent6>
      <a:hlink>
        <a:srgbClr val="00BCF5"/>
      </a:hlink>
      <a:folHlink>
        <a:srgbClr val="E5E5E5"/>
      </a:folHlink>
    </a:clrScheme>
    <a:fontScheme name="cisco reg and light">
      <a:majorFont>
        <a:latin typeface="CiscoSansT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>
              <a:lumMod val="75000"/>
              <a:lumOff val="2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algn="l">
          <a:lnSpc>
            <a:spcPct val="120000"/>
          </a:lnSpc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Webex PowerPoint Dark Template 2022.potx" id="{99AE419F-81E4-4EF7-B946-86B4BCA255BC}" vid="{16751E40-C9E6-4CFC-B31E-3CD832731B8B}"/>
    </a:ext>
  </a:extLst>
</a:theme>
</file>

<file path=ppt/theme/theme24.xml><?xml version="1.0" encoding="utf-8"?>
<a:theme xmlns:a="http://schemas.openxmlformats.org/drawingml/2006/main" name="2_Webex Dark Template_2023">
  <a:themeElements>
    <a:clrScheme name="Custom 5">
      <a:dk1>
        <a:srgbClr val="FFFFFF"/>
      </a:dk1>
      <a:lt1>
        <a:srgbClr val="121212"/>
      </a:lt1>
      <a:dk2>
        <a:srgbClr val="E5E5E5"/>
      </a:dk2>
      <a:lt2>
        <a:srgbClr val="282828"/>
      </a:lt2>
      <a:accent1>
        <a:srgbClr val="00BCF5"/>
      </a:accent1>
      <a:accent2>
        <a:srgbClr val="82CF5F"/>
      </a:accent2>
      <a:accent3>
        <a:srgbClr val="FBBD23"/>
      </a:accent3>
      <a:accent4>
        <a:srgbClr val="FF793F"/>
      </a:accent4>
      <a:accent5>
        <a:srgbClr val="FF3A65"/>
      </a:accent5>
      <a:accent6>
        <a:srgbClr val="6B32CA"/>
      </a:accent6>
      <a:hlink>
        <a:srgbClr val="00BCF5"/>
      </a:hlink>
      <a:folHlink>
        <a:srgbClr val="E5E5E5"/>
      </a:folHlink>
    </a:clrScheme>
    <a:fontScheme name="cisco reg and light">
      <a:majorFont>
        <a:latin typeface="CiscoSansT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>
              <a:lumMod val="75000"/>
              <a:lumOff val="2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algn="l">
          <a:lnSpc>
            <a:spcPct val="120000"/>
          </a:lnSpc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1" id="{E449C054-C34A-4302-B55C-1A7B03B44BFC}" vid="{05B46825-6FC4-411B-860E-C1B8EC751F19}"/>
    </a:ext>
  </a:extLst>
</a:theme>
</file>

<file path=ppt/theme/theme25.xml><?xml version="1.0" encoding="utf-8"?>
<a:theme xmlns:a="http://schemas.openxmlformats.org/drawingml/2006/main" name="4_Cover Master">
  <a:themeElements>
    <a:clrScheme name="webex-dark">
      <a:dk1>
        <a:srgbClr val="FFFFFF"/>
      </a:dk1>
      <a:lt1>
        <a:srgbClr val="121212"/>
      </a:lt1>
      <a:dk2>
        <a:srgbClr val="E5E5E5"/>
      </a:dk2>
      <a:lt2>
        <a:srgbClr val="282828"/>
      </a:lt2>
      <a:accent1>
        <a:srgbClr val="82CF5F"/>
      </a:accent1>
      <a:accent2>
        <a:srgbClr val="00BCF5"/>
      </a:accent2>
      <a:accent3>
        <a:srgbClr val="FBBD23"/>
      </a:accent3>
      <a:accent4>
        <a:srgbClr val="FF793F"/>
      </a:accent4>
      <a:accent5>
        <a:srgbClr val="FF3A65"/>
      </a:accent5>
      <a:accent6>
        <a:srgbClr val="6B32CA"/>
      </a:accent6>
      <a:hlink>
        <a:srgbClr val="FFFFFF"/>
      </a:hlink>
      <a:folHlink>
        <a:srgbClr val="FFFFFF"/>
      </a:folHlink>
    </a:clrScheme>
    <a:fontScheme name="cisco reg and light">
      <a:majorFont>
        <a:latin typeface="CiscoSansT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>
              <a:lumMod val="75000"/>
              <a:lumOff val="2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Webex_PPT_DARK-05.21" id="{7B4611A9-A344-7F43-B06D-E884EDDBE805}" vid="{C117B1F5-6073-004A-887A-385683A5F96E}"/>
    </a:ext>
  </a:extLst>
</a:theme>
</file>

<file path=ppt/theme/theme26.xml><?xml version="1.0" encoding="utf-8"?>
<a:theme xmlns:a="http://schemas.openxmlformats.org/drawingml/2006/main" name="WebexOne 2022 Template">
  <a:themeElements>
    <a:clrScheme name="Custom 5">
      <a:dk1>
        <a:srgbClr val="FFFFFF"/>
      </a:dk1>
      <a:lt1>
        <a:srgbClr val="121212"/>
      </a:lt1>
      <a:dk2>
        <a:srgbClr val="E5E5E5"/>
      </a:dk2>
      <a:lt2>
        <a:srgbClr val="282828"/>
      </a:lt2>
      <a:accent1>
        <a:srgbClr val="00BCF5"/>
      </a:accent1>
      <a:accent2>
        <a:srgbClr val="82CF5F"/>
      </a:accent2>
      <a:accent3>
        <a:srgbClr val="FBBD23"/>
      </a:accent3>
      <a:accent4>
        <a:srgbClr val="FF793F"/>
      </a:accent4>
      <a:accent5>
        <a:srgbClr val="FF3A65"/>
      </a:accent5>
      <a:accent6>
        <a:srgbClr val="6B32CA"/>
      </a:accent6>
      <a:hlink>
        <a:srgbClr val="00BCF5"/>
      </a:hlink>
      <a:folHlink>
        <a:srgbClr val="E5E5E5"/>
      </a:folHlink>
    </a:clrScheme>
    <a:fontScheme name="cisco reg and light">
      <a:majorFont>
        <a:latin typeface="CiscoSansT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>
              <a:lumMod val="75000"/>
              <a:lumOff val="2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algn="l">
          <a:lnSpc>
            <a:spcPct val="120000"/>
          </a:lnSpc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WebexOne_2022_Template" id="{3ED4F903-56EA-B348-BAED-825F371AB6DC}" vid="{76FB52B2-536B-624C-9183-CB1D433F3BBF}"/>
    </a:ext>
  </a:extLst>
</a:theme>
</file>

<file path=ppt/theme/theme27.xml><?xml version="1.0" encoding="utf-8"?>
<a:theme xmlns:a="http://schemas.openxmlformats.org/drawingml/2006/main" name="4_Global Collab Sales Dark Template_2023">
  <a:themeElements>
    <a:clrScheme name="Custom 5">
      <a:dk1>
        <a:srgbClr val="FFFFFF"/>
      </a:dk1>
      <a:lt1>
        <a:srgbClr val="121212"/>
      </a:lt1>
      <a:dk2>
        <a:srgbClr val="E5E5E5"/>
      </a:dk2>
      <a:lt2>
        <a:srgbClr val="282828"/>
      </a:lt2>
      <a:accent1>
        <a:srgbClr val="00BCF5"/>
      </a:accent1>
      <a:accent2>
        <a:srgbClr val="82CF5F"/>
      </a:accent2>
      <a:accent3>
        <a:srgbClr val="FBBD23"/>
      </a:accent3>
      <a:accent4>
        <a:srgbClr val="FF793F"/>
      </a:accent4>
      <a:accent5>
        <a:srgbClr val="FF3A65"/>
      </a:accent5>
      <a:accent6>
        <a:srgbClr val="6B32CA"/>
      </a:accent6>
      <a:hlink>
        <a:srgbClr val="00BCF5"/>
      </a:hlink>
      <a:folHlink>
        <a:srgbClr val="E5E5E5"/>
      </a:folHlink>
    </a:clrScheme>
    <a:fontScheme name="cisco reg and light">
      <a:majorFont>
        <a:latin typeface="CiscoSansT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>
              <a:lumMod val="75000"/>
              <a:lumOff val="2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algn="l">
          <a:lnSpc>
            <a:spcPct val="120000"/>
          </a:lnSpc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Global Collab Sales 2H Event_Template_no text.potx" id="{2117DDCA-0611-4B40-9405-C856542631CE}" vid="{DC32099E-23A3-43EB-8C2D-93BFB578D221}"/>
    </a:ext>
  </a:extLst>
</a:theme>
</file>

<file path=ppt/theme/theme2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3.xml><?xml version="1.0" encoding="utf-8"?>
<a:theme xmlns:a="http://schemas.openxmlformats.org/drawingml/2006/main" name="Theme1- Hybrid theme">
  <a:themeElements>
    <a:clrScheme name="Custom 9">
      <a:dk1>
        <a:srgbClr val="151826"/>
      </a:dk1>
      <a:lt1>
        <a:srgbClr val="EAE9EC"/>
      </a:lt1>
      <a:dk2>
        <a:srgbClr val="1B1F33"/>
      </a:dk2>
      <a:lt2>
        <a:srgbClr val="FFFFFF"/>
      </a:lt2>
      <a:accent1>
        <a:srgbClr val="0030FF"/>
      </a:accent1>
      <a:accent2>
        <a:srgbClr val="28CC69"/>
      </a:accent2>
      <a:accent3>
        <a:srgbClr val="387EFF"/>
      </a:accent3>
      <a:accent4>
        <a:srgbClr val="FFD938"/>
      </a:accent4>
      <a:accent5>
        <a:srgbClr val="5712B6"/>
      </a:accent5>
      <a:accent6>
        <a:srgbClr val="F83854"/>
      </a:accent6>
      <a:hlink>
        <a:srgbClr val="49DDFF"/>
      </a:hlink>
      <a:folHlink>
        <a:srgbClr val="387EFF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Theme1- Hybrid theme" id="{D47D407D-E72F-BE4E-A482-55C6971914F4}" vid="{3B8AC63B-D8EB-9F42-A2F9-25875D76FC18}"/>
    </a:ext>
  </a:extLst>
</a:theme>
</file>

<file path=ppt/theme/theme4.xml><?xml version="1.0" encoding="utf-8"?>
<a:theme xmlns:a="http://schemas.openxmlformats.org/drawingml/2006/main" name="Cover Master">
  <a:themeElements>
    <a:clrScheme name="webex-dark">
      <a:dk1>
        <a:srgbClr val="FFFFFF"/>
      </a:dk1>
      <a:lt1>
        <a:srgbClr val="121212"/>
      </a:lt1>
      <a:dk2>
        <a:srgbClr val="E5E5E5"/>
      </a:dk2>
      <a:lt2>
        <a:srgbClr val="282828"/>
      </a:lt2>
      <a:accent1>
        <a:srgbClr val="82CF5F"/>
      </a:accent1>
      <a:accent2>
        <a:srgbClr val="00BCF5"/>
      </a:accent2>
      <a:accent3>
        <a:srgbClr val="FBBD23"/>
      </a:accent3>
      <a:accent4>
        <a:srgbClr val="FF793F"/>
      </a:accent4>
      <a:accent5>
        <a:srgbClr val="FF3A65"/>
      </a:accent5>
      <a:accent6>
        <a:srgbClr val="6B32CA"/>
      </a:accent6>
      <a:hlink>
        <a:srgbClr val="FFFFFF"/>
      </a:hlink>
      <a:folHlink>
        <a:srgbClr val="FFFFFF"/>
      </a:folHlink>
    </a:clrScheme>
    <a:fontScheme name="cisco reg and light">
      <a:majorFont>
        <a:latin typeface="CiscoSansT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>
              <a:lumMod val="75000"/>
              <a:lumOff val="2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Webex_PPT_DARK-V41-jc.potx" id="{7B3D2D5B-DBDB-40F9-9B43-8ED8D2582FE7}" vid="{C804314B-E809-40FC-BE92-2015B7A726D1}"/>
    </a:ext>
  </a:extLst>
</a:theme>
</file>

<file path=ppt/theme/theme5.xml><?xml version="1.0" encoding="utf-8"?>
<a:theme xmlns:a="http://schemas.openxmlformats.org/drawingml/2006/main" name="1_Cover Master">
  <a:themeElements>
    <a:clrScheme name="webex-dark">
      <a:dk1>
        <a:srgbClr val="FFFFFF"/>
      </a:dk1>
      <a:lt1>
        <a:srgbClr val="121212"/>
      </a:lt1>
      <a:dk2>
        <a:srgbClr val="E5E5E5"/>
      </a:dk2>
      <a:lt2>
        <a:srgbClr val="282828"/>
      </a:lt2>
      <a:accent1>
        <a:srgbClr val="82CF5F"/>
      </a:accent1>
      <a:accent2>
        <a:srgbClr val="00BCF5"/>
      </a:accent2>
      <a:accent3>
        <a:srgbClr val="FBBD23"/>
      </a:accent3>
      <a:accent4>
        <a:srgbClr val="FF793F"/>
      </a:accent4>
      <a:accent5>
        <a:srgbClr val="FF3A65"/>
      </a:accent5>
      <a:accent6>
        <a:srgbClr val="6B32CA"/>
      </a:accent6>
      <a:hlink>
        <a:srgbClr val="FFFFFF"/>
      </a:hlink>
      <a:folHlink>
        <a:srgbClr val="FFFFFF"/>
      </a:folHlink>
    </a:clrScheme>
    <a:fontScheme name="cisco reg and light">
      <a:majorFont>
        <a:latin typeface="CiscoSansT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>
              <a:lumMod val="75000"/>
              <a:lumOff val="2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Webex_PPT_DARK-V41-jc.potx" id="{7B3D2D5B-DBDB-40F9-9B43-8ED8D2582FE7}" vid="{C804314B-E809-40FC-BE92-2015B7A726D1}"/>
    </a:ext>
  </a:extLst>
</a:theme>
</file>

<file path=ppt/theme/theme6.xml><?xml version="1.0" encoding="utf-8"?>
<a:theme xmlns:a="http://schemas.openxmlformats.org/drawingml/2006/main" name="Dark theme 16x9">
  <a:themeElements>
    <a:clrScheme name="Custom 9">
      <a:dk1>
        <a:srgbClr val="151826"/>
      </a:dk1>
      <a:lt1>
        <a:srgbClr val="EAE9EC"/>
      </a:lt1>
      <a:dk2>
        <a:srgbClr val="1B1F33"/>
      </a:dk2>
      <a:lt2>
        <a:srgbClr val="FFFFFF"/>
      </a:lt2>
      <a:accent1>
        <a:srgbClr val="0030FF"/>
      </a:accent1>
      <a:accent2>
        <a:srgbClr val="28CC69"/>
      </a:accent2>
      <a:accent3>
        <a:srgbClr val="387EFF"/>
      </a:accent3>
      <a:accent4>
        <a:srgbClr val="FFD938"/>
      </a:accent4>
      <a:accent5>
        <a:srgbClr val="5712B6"/>
      </a:accent5>
      <a:accent6>
        <a:srgbClr val="F83854"/>
      </a:accent6>
      <a:hlink>
        <a:srgbClr val="49DDFF"/>
      </a:hlink>
      <a:folHlink>
        <a:srgbClr val="387EFF"/>
      </a:folHlink>
    </a:clrScheme>
    <a:fontScheme name="CiscoSans True Type">
      <a:majorFont>
        <a:latin typeface="CiscoSansTT ExtraLight"/>
        <a:ea typeface=""/>
        <a:cs typeface=""/>
      </a:majorFont>
      <a:minorFont>
        <a:latin typeface="CiscoSansTT Extra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>
          <a:defRPr dirty="0" smtClean="0"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Cisco Presentation Toolkit" id="{BC8C7DDB-44FB-2940-A243-9712CFEFB50C}" vid="{7ED4973E-E1EC-664A-AE9D-A701F4124FF8}"/>
    </a:ext>
  </a:extLst>
</a:theme>
</file>

<file path=ppt/theme/theme7.xml><?xml version="1.0" encoding="utf-8"?>
<a:theme xmlns:a="http://schemas.openxmlformats.org/drawingml/2006/main" name="Webex dark theme Fy25">
  <a:themeElements>
    <a:clrScheme name="Custom 5">
      <a:dk1>
        <a:srgbClr val="FFFFFF"/>
      </a:dk1>
      <a:lt1>
        <a:srgbClr val="121212"/>
      </a:lt1>
      <a:dk2>
        <a:srgbClr val="E5E5E5"/>
      </a:dk2>
      <a:lt2>
        <a:srgbClr val="282828"/>
      </a:lt2>
      <a:accent1>
        <a:srgbClr val="00BCF5"/>
      </a:accent1>
      <a:accent2>
        <a:srgbClr val="82CF5F"/>
      </a:accent2>
      <a:accent3>
        <a:srgbClr val="FBBD23"/>
      </a:accent3>
      <a:accent4>
        <a:srgbClr val="FF793F"/>
      </a:accent4>
      <a:accent5>
        <a:srgbClr val="FF3A65"/>
      </a:accent5>
      <a:accent6>
        <a:srgbClr val="6B32CA"/>
      </a:accent6>
      <a:hlink>
        <a:srgbClr val="00BCF5"/>
      </a:hlink>
      <a:folHlink>
        <a:srgbClr val="E5E5E5"/>
      </a:folHlink>
    </a:clrScheme>
    <a:fontScheme name="cisco reg and light">
      <a:majorFont>
        <a:latin typeface="CiscoSansT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>
              <a:lumMod val="75000"/>
              <a:lumOff val="2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algn="l">
          <a:lnSpc>
            <a:spcPct val="120000"/>
          </a:lnSpc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Webex dark theme Fy25" id="{7A993D7C-1AF3-7744-B480-D37D5E7AF116}" vid="{99F1C921-299E-6045-A682-9965A0396203}"/>
    </a:ext>
  </a:extLst>
</a:theme>
</file>

<file path=ppt/theme/theme8.xml><?xml version="1.0" encoding="utf-8"?>
<a:theme xmlns:a="http://schemas.openxmlformats.org/drawingml/2006/main" name="1_Webex Dark Template_2022">
  <a:themeElements>
    <a:clrScheme name="Custom 5">
      <a:dk1>
        <a:srgbClr val="FFFFFF"/>
      </a:dk1>
      <a:lt1>
        <a:srgbClr val="121212"/>
      </a:lt1>
      <a:dk2>
        <a:srgbClr val="E5E5E5"/>
      </a:dk2>
      <a:lt2>
        <a:srgbClr val="282828"/>
      </a:lt2>
      <a:accent1>
        <a:srgbClr val="00BCF5"/>
      </a:accent1>
      <a:accent2>
        <a:srgbClr val="82CF5F"/>
      </a:accent2>
      <a:accent3>
        <a:srgbClr val="FBBD23"/>
      </a:accent3>
      <a:accent4>
        <a:srgbClr val="FF793F"/>
      </a:accent4>
      <a:accent5>
        <a:srgbClr val="FF3A65"/>
      </a:accent5>
      <a:accent6>
        <a:srgbClr val="6B32CA"/>
      </a:accent6>
      <a:hlink>
        <a:srgbClr val="00BCF5"/>
      </a:hlink>
      <a:folHlink>
        <a:srgbClr val="E5E5E5"/>
      </a:folHlink>
    </a:clrScheme>
    <a:fontScheme name="cisco reg and light">
      <a:majorFont>
        <a:latin typeface="CiscoSansT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>
              <a:lumMod val="75000"/>
              <a:lumOff val="2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algn="l">
          <a:lnSpc>
            <a:spcPct val="120000"/>
          </a:lnSpc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Webex PowerPoint Dark Template 2022.potx" id="{99AE419F-81E4-4EF7-B946-86B4BCA255BC}" vid="{16751E40-C9E6-4CFC-B31E-3CD832731B8B}"/>
    </a:ext>
  </a:extLst>
</a:theme>
</file>

<file path=ppt/theme/theme9.xml><?xml version="1.0" encoding="utf-8"?>
<a:theme xmlns:a="http://schemas.openxmlformats.org/drawingml/2006/main" name="Webex Dark Template_2024">
  <a:themeElements>
    <a:clrScheme name="Custom 5">
      <a:dk1>
        <a:srgbClr val="FFFFFF"/>
      </a:dk1>
      <a:lt1>
        <a:srgbClr val="121212"/>
      </a:lt1>
      <a:dk2>
        <a:srgbClr val="E5E5E5"/>
      </a:dk2>
      <a:lt2>
        <a:srgbClr val="282828"/>
      </a:lt2>
      <a:accent1>
        <a:srgbClr val="00BCF5"/>
      </a:accent1>
      <a:accent2>
        <a:srgbClr val="82CF5F"/>
      </a:accent2>
      <a:accent3>
        <a:srgbClr val="FBBD23"/>
      </a:accent3>
      <a:accent4>
        <a:srgbClr val="FF793F"/>
      </a:accent4>
      <a:accent5>
        <a:srgbClr val="FF3A65"/>
      </a:accent5>
      <a:accent6>
        <a:srgbClr val="6B32CA"/>
      </a:accent6>
      <a:hlink>
        <a:srgbClr val="00BCF5"/>
      </a:hlink>
      <a:folHlink>
        <a:srgbClr val="E5E5E5"/>
      </a:folHlink>
    </a:clrScheme>
    <a:fontScheme name="cisco reg and light">
      <a:majorFont>
        <a:latin typeface="CiscoSansTT"/>
        <a:ea typeface=""/>
        <a:cs typeface=""/>
      </a:majorFont>
      <a:minorFont>
        <a:latin typeface="CiscoSansTT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>
              <a:lumMod val="75000"/>
              <a:lumOff val="25000"/>
            </a:schemeClr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noAutofit/>
      </a:bodyPr>
      <a:lstStyle>
        <a:defPPr algn="l">
          <a:lnSpc>
            <a:spcPct val="120000"/>
          </a:lnSpc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Presentation2" id="{005E449E-1C87-417B-8891-8F858752B521}" vid="{D3072F6C-B28D-4B8A-B8A5-55F5E6295FCA}"/>
    </a:ext>
  </a:extLst>
</a:theme>
</file>

<file path=docMetadata/LabelInfo.xml><?xml version="1.0" encoding="utf-8"?>
<clbl:labelList xmlns:clbl="http://schemas.microsoft.com/office/2020/mipLabelMetadata">
  <clbl:label id="{f42aa342-8706-4288-bd11-ebb85995028c}" enabled="1" method="Standard" siteId="{72f988bf-86f1-41af-91ab-2d7cd011db47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APO Theme</Template>
  <TotalTime>23</TotalTime>
  <Words>425</Words>
  <Application>Microsoft Office PowerPoint</Application>
  <PresentationFormat>Widescreen</PresentationFormat>
  <Paragraphs>89</Paragraphs>
  <Slides>3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11</vt:i4>
      </vt:variant>
      <vt:variant>
        <vt:lpstr>Theme</vt:lpstr>
      </vt:variant>
      <vt:variant>
        <vt:i4>27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42" baseType="lpstr">
      <vt:lpstr>ＭＳ Ｐゴシック</vt:lpstr>
      <vt:lpstr>Aptos</vt:lpstr>
      <vt:lpstr>Aptos Narrow</vt:lpstr>
      <vt:lpstr>Arial</vt:lpstr>
      <vt:lpstr>Calibri</vt:lpstr>
      <vt:lpstr>CiscoSans</vt:lpstr>
      <vt:lpstr>CiscoSans Light</vt:lpstr>
      <vt:lpstr>CiscoSansTT</vt:lpstr>
      <vt:lpstr>CiscoSansTT ExtraLight</vt:lpstr>
      <vt:lpstr>CiscoSansTT Light</vt:lpstr>
      <vt:lpstr>CiscoSansTT Medium</vt:lpstr>
      <vt:lpstr>APO Theme</vt:lpstr>
      <vt:lpstr>2_Cover Master</vt:lpstr>
      <vt:lpstr>Theme1- Hybrid theme</vt:lpstr>
      <vt:lpstr>Cover Master</vt:lpstr>
      <vt:lpstr>1_Cover Master</vt:lpstr>
      <vt:lpstr>Dark theme 16x9</vt:lpstr>
      <vt:lpstr>Webex dark theme Fy25</vt:lpstr>
      <vt:lpstr>1_Webex Dark Template_2022</vt:lpstr>
      <vt:lpstr>Webex Dark Template_2024</vt:lpstr>
      <vt:lpstr>4_Webex Dark Template_2022</vt:lpstr>
      <vt:lpstr>3_Cover Master</vt:lpstr>
      <vt:lpstr>20_Webex Dark Template_2022</vt:lpstr>
      <vt:lpstr>2_Global Collab Sales FY24 Dark Template_2024</vt:lpstr>
      <vt:lpstr>Webex Dark Template_2023</vt:lpstr>
      <vt:lpstr>17_Webex Dark Template_2022</vt:lpstr>
      <vt:lpstr>5_Webex Dark Template_2022</vt:lpstr>
      <vt:lpstr>2_Global Collab Sales Dark Template_2023</vt:lpstr>
      <vt:lpstr>Webex Dark Template_2022</vt:lpstr>
      <vt:lpstr>Webex PowerPoint Dark Template</vt:lpstr>
      <vt:lpstr>1_2023 Cisco Template Master</vt:lpstr>
      <vt:lpstr>Webex Dark Template</vt:lpstr>
      <vt:lpstr>2_Webex Dark Template_2022</vt:lpstr>
      <vt:lpstr>3_Webex Dark Template_2022</vt:lpstr>
      <vt:lpstr>2_Webex Dark Template_2023</vt:lpstr>
      <vt:lpstr>4_Cover Master</vt:lpstr>
      <vt:lpstr>WebexOne 2022 Template</vt:lpstr>
      <vt:lpstr>4_Global Collab Sales Dark Template_2023</vt:lpstr>
      <vt:lpstr>think-cell Slide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Keith Hughes</dc:creator>
  <cp:lastModifiedBy>Sohan Tamang (WIPRO LIMITED)</cp:lastModifiedBy>
  <cp:revision>2</cp:revision>
  <dcterms:created xsi:type="dcterms:W3CDTF">2025-03-31T17:34:14Z</dcterms:created>
  <dcterms:modified xsi:type="dcterms:W3CDTF">2025-03-31T19:50:19Z</dcterms:modified>
</cp:coreProperties>
</file>